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entation.xml" ContentType="application/vnd.openxmlformats-officedocument.presentationml.presentation.main+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5.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5.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40.xml" ContentType="application/vnd.openxmlformats-officedocument.presentationml.tags+xml"/>
  <Override PartName="/ppt/tags/tag20.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customXml/itemProps1.xml" ContentType="application/vnd.openxmlformats-officedocument.customXmlProperties+xml"/>
  <Override PartName="/ppt/tags/tag1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5.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6.xml" ContentType="application/vnd.openxmlformats-officedocument.presentationml.tags+xml"/>
  <Override PartName="/ppt/tags/tag27.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ppt/tags/tag8.xml" ContentType="application/vnd.openxmlformats-officedocument.presentationml.tags+xml"/>
  <Override PartName="/ppt/tags/tag26.xml" ContentType="application/vnd.openxmlformats-officedocument.presentationml.tags+xml"/>
  <Override PartName="/ppt/tags/tag9.xml" ContentType="application/vnd.openxmlformats-officedocument.presentationml.tags+xml"/>
  <Override PartName="/customXml/itemProps4.xml" ContentType="application/vnd.openxmlformats-officedocument.customXmlProperties+xml"/>
  <Override PartName="/customXml/itemProps3.xml" ContentType="application/vnd.openxmlformats-officedocument.customXmlProperties+xml"/>
  <Override PartName="/customXml/itemProps5.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7" r:id="rId3"/>
  </p:sldMasterIdLst>
  <p:notesMasterIdLst>
    <p:notesMasterId r:id="rId20"/>
  </p:notesMasterIdLst>
  <p:handoutMasterIdLst>
    <p:handoutMasterId r:id="rId21"/>
  </p:handoutMasterIdLst>
  <p:sldIdLst>
    <p:sldId id="2145705907" r:id="rId4"/>
    <p:sldId id="2147471798" r:id="rId5"/>
    <p:sldId id="2145705904" r:id="rId6"/>
    <p:sldId id="2145705905" r:id="rId7"/>
    <p:sldId id="2145705908" r:id="rId8"/>
    <p:sldId id="2145705906" r:id="rId9"/>
    <p:sldId id="2147471802" r:id="rId10"/>
    <p:sldId id="315" r:id="rId11"/>
    <p:sldId id="2147471799" r:id="rId12"/>
    <p:sldId id="2147471803" r:id="rId13"/>
    <p:sldId id="2147471804" r:id="rId14"/>
    <p:sldId id="2147471805" r:id="rId15"/>
    <p:sldId id="2147471806" r:id="rId16"/>
    <p:sldId id="2147471807" r:id="rId17"/>
    <p:sldId id="2147471808" r:id="rId18"/>
    <p:sldId id="2145705909" r:id="rId19"/>
  </p:sldIdLst>
  <p:sldSz cx="12192000" cy="6858000"/>
  <p:notesSz cx="6858000" cy="9144000"/>
  <p:custDataLst>
    <p:tags r:id="rId22"/>
  </p:custDataLst>
  <p:defaultText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loos, Julia" initials="KJ" lastIdx="1" clrIdx="0">
    <p:extLst>
      <p:ext uri="{19B8F6BF-5375-455C-9EA6-DF929625EA0E}">
        <p15:presenceInfo xmlns:p15="http://schemas.microsoft.com/office/powerpoint/2012/main" userId="S::julia.kloos@trumpf.com::f46e977f-761b-4b16-a23f-5f9831c51c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BD03A"/>
    <a:srgbClr val="0D3174"/>
    <a:srgbClr val="575756"/>
    <a:srgbClr val="D0D0D0"/>
    <a:srgbClr val="8094AF"/>
    <a:srgbClr val="7F7F7F"/>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4" autoAdjust="0"/>
    <p:restoredTop sz="94730"/>
  </p:normalViewPr>
  <p:slideViewPr>
    <p:cSldViewPr snapToGrid="0" snapToObjects="1" showGuides="1">
      <p:cViewPr varScale="1">
        <p:scale>
          <a:sx n="162" d="100"/>
          <a:sy n="162" d="100"/>
        </p:scale>
        <p:origin x="186" y="14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87" d="100"/>
          <a:sy n="87" d="100"/>
        </p:scale>
        <p:origin x="363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notesMaster" Target="notesMasters/notesMaster1.xml"/><Relationship Id="rId29" Type="http://schemas.openxmlformats.org/officeDocument/2006/relationships/customXml" Target="../customXml/item4.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ommentAuthors" Target="commentAuthors.xml"/><Relationship Id="rId28" Type="http://schemas.openxmlformats.org/officeDocument/2006/relationships/customXml" Target="../customXml/item3.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gs" Target="tags/tag1.xml"/><Relationship Id="rId27" Type="http://schemas.openxmlformats.org/officeDocument/2006/relationships/tableStyles" Target="tableStyles.xml"/><Relationship Id="rId30" Type="http://schemas.openxmlformats.org/officeDocument/2006/relationships/customXml" Target="../customXml/item5.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1B810D8D-68EF-104F-897B-400E5A86AC0E}"/>
              </a:ext>
            </a:extLst>
          </p:cNvPr>
          <p:cNvSpPr>
            <a:spLocks noGrp="1"/>
          </p:cNvSpPr>
          <p:nvPr>
            <p:ph type="sldNum" sz="quarter" idx="3"/>
          </p:nvPr>
        </p:nvSpPr>
        <p:spPr>
          <a:xfrm>
            <a:off x="104400" y="8655069"/>
            <a:ext cx="432000" cy="306000"/>
          </a:xfrm>
          <a:prstGeom prst="rect">
            <a:avLst/>
          </a:prstGeom>
        </p:spPr>
        <p:txBody>
          <a:bodyPr vert="horz" lIns="0" tIns="0" rIns="0" bIns="0" rtlCol="0" anchor="ctr"/>
          <a:lstStyle/>
          <a:p>
            <a:pPr algn="r"/>
            <a:fld id="{17A3870A-23B3-8C42-9680-396FBEA6B6AD}" type="slidenum">
              <a:rPr lang="de-DE" sz="1000" b="1">
                <a:solidFill>
                  <a:schemeClr val="tx2"/>
                </a:solidFill>
                <a:cs typeface="Arial" panose="020B0604020202020204" pitchFamily="34" charset="0"/>
              </a:rPr>
              <a:pPr algn="r"/>
              <a:t>‹Nr.›</a:t>
            </a:fld>
            <a:endParaRPr lang="de-DE" sz="1000" b="1" dirty="0">
              <a:solidFill>
                <a:schemeClr val="tx2"/>
              </a:solidFill>
              <a:cs typeface="Arial" panose="020B0604020202020204" pitchFamily="34" charset="0"/>
            </a:endParaRPr>
          </a:p>
        </p:txBody>
      </p:sp>
      <p:pic>
        <p:nvPicPr>
          <p:cNvPr id="7" name="Grafik 6">
            <a:extLst>
              <a:ext uri="{FF2B5EF4-FFF2-40B4-BE49-F238E27FC236}">
                <a16:creationId xmlns:a16="http://schemas.microsoft.com/office/drawing/2014/main" id="{45305254-F1F9-7548-8E41-35654082BEAC}"/>
              </a:ext>
            </a:extLst>
          </p:cNvPr>
          <p:cNvPicPr>
            <a:picLocks noChangeAspect="1"/>
          </p:cNvPicPr>
          <p:nvPr/>
        </p:nvPicPr>
        <p:blipFill>
          <a:blip r:embed="rId2"/>
          <a:stretch>
            <a:fillRect/>
          </a:stretch>
        </p:blipFill>
        <p:spPr>
          <a:xfrm>
            <a:off x="6095800" y="8423318"/>
            <a:ext cx="432000" cy="432000"/>
          </a:xfrm>
          <a:prstGeom prst="rect">
            <a:avLst/>
          </a:prstGeom>
        </p:spPr>
      </p:pic>
      <p:sp>
        <p:nvSpPr>
          <p:cNvPr id="2" name="Fußzeilenplatzhalter 1"/>
          <p:cNvSpPr>
            <a:spLocks noGrp="1"/>
          </p:cNvSpPr>
          <p:nvPr>
            <p:ph type="ftr" sz="quarter" idx="2"/>
          </p:nvPr>
        </p:nvSpPr>
        <p:spPr>
          <a:xfrm>
            <a:off x="590400" y="8655069"/>
            <a:ext cx="2743200" cy="306000"/>
          </a:xfrm>
          <a:prstGeom prst="rect">
            <a:avLst/>
          </a:prstGeom>
        </p:spPr>
        <p:txBody>
          <a:bodyPr vert="horz" lIns="0" tIns="0" rIns="0" bIns="0" rtlCol="0" anchor="ctr"/>
          <a:lstStyle/>
          <a:p>
            <a:r>
              <a:rPr lang="de-DE" sz="1000" dirty="0">
                <a:solidFill>
                  <a:schemeClr val="accent1"/>
                </a:solidFill>
                <a:cs typeface="Arial" panose="020B0604020202020204" pitchFamily="34" charset="0"/>
              </a:rPr>
              <a:t>Name | Abteilung | 30. Januar 2019</a:t>
            </a:r>
          </a:p>
        </p:txBody>
      </p:sp>
    </p:spTree>
    <p:extLst>
      <p:ext uri="{BB962C8B-B14F-4D97-AF65-F5344CB8AC3E}">
        <p14:creationId xmlns:p14="http://schemas.microsoft.com/office/powerpoint/2010/main" val="140240739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2" pos="4112" userDrawn="1">
          <p15:clr>
            <a:srgbClr val="F26B43"/>
          </p15:clr>
        </p15:guide>
        <p15:guide id="3" pos="189" userDrawn="1">
          <p15:clr>
            <a:srgbClr val="F26B43"/>
          </p15:clr>
        </p15:guide>
        <p15:guide id="4" orient="horz" pos="187"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685800" y="26035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00038" y="3607358"/>
            <a:ext cx="6227762" cy="4515222"/>
          </a:xfrm>
          <a:prstGeom prst="rect">
            <a:avLst/>
          </a:prstGeom>
        </p:spPr>
        <p:txBody>
          <a:bodyPr vert="horz" lIns="0" tIns="0" rIns="0" bIns="0" rtlCol="0"/>
          <a:lstStyle/>
          <a:p>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104400" y="8654400"/>
            <a:ext cx="432000" cy="306000"/>
          </a:xfrm>
          <a:prstGeom prst="rect">
            <a:avLst/>
          </a:prstGeom>
        </p:spPr>
        <p:txBody>
          <a:bodyPr vert="horz" lIns="0" tIns="0" rIns="0" bIns="0" rtlCol="0" anchor="ctr"/>
          <a:lstStyle>
            <a:lvl1pPr>
              <a:defRPr lang="de-DE" sz="1000" b="1" smtClean="0">
                <a:solidFill>
                  <a:schemeClr val="tx2"/>
                </a:solidFill>
                <a:cs typeface="Arial" panose="020B0604020202020204" pitchFamily="34" charset="0"/>
              </a:defRPr>
            </a:lvl1pPr>
          </a:lstStyle>
          <a:p>
            <a:pPr algn="r"/>
            <a:fld id="{7D817C07-CE16-5C41-9ABD-94C73CEF6061}" type="slidenum">
              <a:rPr lang="de-DE" smtClean="0"/>
              <a:pPr algn="r"/>
              <a:t>‹Nr.›</a:t>
            </a:fld>
            <a:endParaRPr lang="de-DE"/>
          </a:p>
        </p:txBody>
      </p:sp>
      <p:sp>
        <p:nvSpPr>
          <p:cNvPr id="15" name="Fußzeilenplatzhalter 14"/>
          <p:cNvSpPr>
            <a:spLocks noGrp="1"/>
          </p:cNvSpPr>
          <p:nvPr>
            <p:ph type="ftr" sz="quarter" idx="4"/>
          </p:nvPr>
        </p:nvSpPr>
        <p:spPr>
          <a:xfrm>
            <a:off x="590400" y="8654400"/>
            <a:ext cx="2743200" cy="306000"/>
          </a:xfrm>
          <a:prstGeom prst="rect">
            <a:avLst/>
          </a:prstGeom>
        </p:spPr>
        <p:txBody>
          <a:bodyPr vert="horz" lIns="0" tIns="0" rIns="0" bIns="0" rtlCol="0" anchor="ctr"/>
          <a:lstStyle>
            <a:lvl1pPr>
              <a:defRPr lang="de-DE" sz="1000">
                <a:solidFill>
                  <a:schemeClr val="accent1"/>
                </a:solidFill>
                <a:cs typeface="Arial" panose="020B0604020202020204" pitchFamily="34" charset="0"/>
              </a:defRPr>
            </a:lvl1pPr>
          </a:lstStyle>
          <a:p>
            <a:r>
              <a:rPr lang="de-DE" dirty="0"/>
              <a:t>Name | Abteilung | 30. Januar 2019</a:t>
            </a:r>
          </a:p>
        </p:txBody>
      </p:sp>
      <p:pic>
        <p:nvPicPr>
          <p:cNvPr id="16" name="Grafik 15">
            <a:extLst>
              <a:ext uri="{FF2B5EF4-FFF2-40B4-BE49-F238E27FC236}">
                <a16:creationId xmlns:a16="http://schemas.microsoft.com/office/drawing/2014/main" id="{45305254-F1F9-7548-8E41-35654082BEAC}"/>
              </a:ext>
            </a:extLst>
          </p:cNvPr>
          <p:cNvPicPr>
            <a:picLocks noChangeAspect="1"/>
          </p:cNvPicPr>
          <p:nvPr/>
        </p:nvPicPr>
        <p:blipFill>
          <a:blip r:embed="rId2"/>
          <a:stretch>
            <a:fillRect/>
          </a:stretch>
        </p:blipFill>
        <p:spPr>
          <a:xfrm>
            <a:off x="6095800" y="8423318"/>
            <a:ext cx="432000" cy="432000"/>
          </a:xfrm>
          <a:prstGeom prst="rect">
            <a:avLst/>
          </a:prstGeom>
        </p:spPr>
      </p:pic>
    </p:spTree>
    <p:extLst>
      <p:ext uri="{BB962C8B-B14F-4D97-AF65-F5344CB8AC3E}">
        <p14:creationId xmlns:p14="http://schemas.microsoft.com/office/powerpoint/2010/main" val="3980741054"/>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spcAft>
        <a:spcPts val="600"/>
      </a:spcAft>
      <a:defRPr sz="1200" b="1" kern="1200">
        <a:solidFill>
          <a:schemeClr val="tx1"/>
        </a:solidFill>
        <a:latin typeface="+mn-lt"/>
        <a:ea typeface="+mn-ea"/>
        <a:cs typeface="+mn-cs"/>
      </a:defRPr>
    </a:lvl1pPr>
    <a:lvl2pPr marL="0" algn="l" defTabSz="914400" rtl="0" eaLnBrk="1" latinLnBrk="0" hangingPunct="1">
      <a:spcAft>
        <a:spcPts val="600"/>
      </a:spcAft>
      <a:defRPr sz="1200" kern="1200">
        <a:solidFill>
          <a:schemeClr val="tx1"/>
        </a:solidFill>
        <a:latin typeface="+mn-lt"/>
        <a:ea typeface="+mn-ea"/>
        <a:cs typeface="+mn-cs"/>
      </a:defRPr>
    </a:lvl2pPr>
    <a:lvl3pPr marL="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3pPr>
    <a:lvl4pPr marL="28800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4pPr>
    <a:lvl5pPr marL="43200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189" userDrawn="1">
          <p15:clr>
            <a:srgbClr val="F26B43"/>
          </p15:clr>
        </p15:guide>
        <p15:guide id="2" pos="4112" userDrawn="1">
          <p15:clr>
            <a:srgbClr val="F26B43"/>
          </p15:clr>
        </p15:guide>
        <p15:guide id="3" orient="horz" pos="16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273186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0</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32182492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1</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2400428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2</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12407263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3</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1936462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4</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570220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5</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2673087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6</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1254637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868863" rtl="0" eaLnBrk="1" fontAlgn="auto" latinLnBrk="0" hangingPunct="1">
              <a:lnSpc>
                <a:spcPct val="90000"/>
              </a:lnSpc>
              <a:spcBef>
                <a:spcPts val="0"/>
              </a:spcBef>
              <a:spcAft>
                <a:spcPts val="0"/>
              </a:spcAft>
              <a:buClrTx/>
              <a:buSzTx/>
              <a:buFontTx/>
              <a:buNone/>
              <a:tabLst/>
              <a:defRPr/>
            </a:pPr>
            <a:endParaRPr lang="de-DE" b="0" dirty="0">
              <a:solidFill>
                <a:schemeClr val="tx1"/>
              </a:solidFill>
            </a:endParaRPr>
          </a:p>
          <a:p>
            <a:pPr marL="0" marR="0" indent="0" algn="l" defTabSz="868863" rtl="0" eaLnBrk="1" fontAlgn="auto" latinLnBrk="0" hangingPunct="1">
              <a:lnSpc>
                <a:spcPct val="90000"/>
              </a:lnSpc>
              <a:spcBef>
                <a:spcPts val="0"/>
              </a:spcBef>
              <a:spcAft>
                <a:spcPts val="0"/>
              </a:spcAft>
              <a:buClrTx/>
              <a:buSzTx/>
              <a:buFontTx/>
              <a:buNone/>
              <a:tabLst/>
              <a:defRPr/>
            </a:pPr>
            <a:endParaRPr lang="de-DE" b="0" dirty="0">
              <a:solidFill>
                <a:schemeClr val="tx1"/>
              </a:solidFill>
            </a:endParaRPr>
          </a:p>
        </p:txBody>
      </p:sp>
      <p:sp>
        <p:nvSpPr>
          <p:cNvPr id="4" name="Foliennummernplatzhalter 3"/>
          <p:cNvSpPr>
            <a:spLocks noGrp="1"/>
          </p:cNvSpPr>
          <p:nvPr>
            <p:ph type="sldNum" sz="quarter" idx="10"/>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fld id="{62E0D92E-6BDB-4159-8B79-8C0BFBC84268}" type="slidenum">
              <a:rPr kumimoji="0" lang="de-DE" sz="1000" b="1" i="0" u="none" strike="noStrike" kern="1200" cap="none" spc="0" normalizeH="0" baseline="0" noProof="0" smtClean="0">
                <a:ln>
                  <a:noFill/>
                </a:ln>
                <a:solidFill>
                  <a:srgbClr val="204461"/>
                </a:solidFill>
                <a:effectLst/>
                <a:uLnTx/>
                <a:uFillTx/>
                <a:latin typeface="Arial"/>
                <a:ea typeface="+mn-ea"/>
                <a:cs typeface="Arial" panose="020B0604020202020204" pitchFamily="34" charset="0"/>
              </a:rPr>
              <a:pPr marL="0" marR="0" lvl="0" indent="0" algn="l" defTabSz="914355" rtl="0" eaLnBrk="1" fontAlgn="auto" latinLnBrk="0" hangingPunct="1">
                <a:lnSpc>
                  <a:spcPct val="100000"/>
                </a:lnSpc>
                <a:spcBef>
                  <a:spcPts val="0"/>
                </a:spcBef>
                <a:spcAft>
                  <a:spcPts val="0"/>
                </a:spcAft>
                <a:buClrTx/>
                <a:buSzTx/>
                <a:buFontTx/>
                <a:buNone/>
                <a:tabLst/>
                <a:defRPr/>
              </a:pPr>
              <a:t>2</a:t>
            </a:fld>
            <a:endParaRPr kumimoji="0" lang="de-DE" sz="1000" b="1" i="0" u="none" strike="noStrike" kern="1200" cap="none" spc="0" normalizeH="0" baseline="0" noProof="0" dirty="0">
              <a:ln>
                <a:noFill/>
              </a:ln>
              <a:solidFill>
                <a:srgbClr val="204461"/>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261556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868863" rtl="0" eaLnBrk="1" fontAlgn="auto" latinLnBrk="0" hangingPunct="1">
              <a:lnSpc>
                <a:spcPct val="90000"/>
              </a:lnSpc>
              <a:spcBef>
                <a:spcPts val="0"/>
              </a:spcBef>
              <a:spcAft>
                <a:spcPts val="0"/>
              </a:spcAft>
              <a:buClrTx/>
              <a:buSzTx/>
              <a:buFontTx/>
              <a:buNone/>
              <a:tabLst/>
              <a:defRPr/>
            </a:pPr>
            <a:endParaRPr lang="de-DE" b="0" dirty="0">
              <a:solidFill>
                <a:schemeClr val="tx1"/>
              </a:solidFill>
            </a:endParaRPr>
          </a:p>
          <a:p>
            <a:pPr marL="0" marR="0" indent="0" algn="l" defTabSz="868863" rtl="0" eaLnBrk="1" fontAlgn="auto" latinLnBrk="0" hangingPunct="1">
              <a:lnSpc>
                <a:spcPct val="90000"/>
              </a:lnSpc>
              <a:spcBef>
                <a:spcPts val="0"/>
              </a:spcBef>
              <a:spcAft>
                <a:spcPts val="0"/>
              </a:spcAft>
              <a:buClrTx/>
              <a:buSzTx/>
              <a:buFontTx/>
              <a:buNone/>
              <a:tabLst/>
              <a:defRPr/>
            </a:pPr>
            <a:endParaRPr lang="de-DE" b="0" dirty="0">
              <a:solidFill>
                <a:schemeClr val="tx1"/>
              </a:solidFill>
            </a:endParaRPr>
          </a:p>
        </p:txBody>
      </p:sp>
      <p:sp>
        <p:nvSpPr>
          <p:cNvPr id="4" name="Foliennummernplatzhalter 3"/>
          <p:cNvSpPr>
            <a:spLocks noGrp="1"/>
          </p:cNvSpPr>
          <p:nvPr>
            <p:ph type="sldNum" sz="quarter" idx="10"/>
          </p:nvPr>
        </p:nvSpPr>
        <p:spPr/>
        <p:txBody>
          <a:bodyPr/>
          <a:lstStyle/>
          <a:p>
            <a:pPr marL="0" marR="0" lvl="0" indent="0" algn="l" defTabSz="914355" rtl="0" eaLnBrk="1" fontAlgn="auto" latinLnBrk="0" hangingPunct="1">
              <a:lnSpc>
                <a:spcPct val="100000"/>
              </a:lnSpc>
              <a:spcBef>
                <a:spcPts val="0"/>
              </a:spcBef>
              <a:spcAft>
                <a:spcPts val="0"/>
              </a:spcAft>
              <a:buClrTx/>
              <a:buSzTx/>
              <a:buFontTx/>
              <a:buNone/>
              <a:tabLst/>
              <a:defRPr/>
            </a:pPr>
            <a:fld id="{62E0D92E-6BDB-4159-8B79-8C0BFBC84268}" type="slidenum">
              <a:rPr kumimoji="0" lang="de-DE" sz="1000" b="1" i="0" u="none" strike="noStrike" kern="1200" cap="none" spc="0" normalizeH="0" baseline="0" noProof="0" smtClean="0">
                <a:ln>
                  <a:noFill/>
                </a:ln>
                <a:solidFill>
                  <a:srgbClr val="204461"/>
                </a:solidFill>
                <a:effectLst/>
                <a:uLnTx/>
                <a:uFillTx/>
                <a:latin typeface="Arial"/>
                <a:ea typeface="+mn-ea"/>
                <a:cs typeface="Arial" panose="020B0604020202020204" pitchFamily="34" charset="0"/>
              </a:rPr>
              <a:pPr marL="0" marR="0" lvl="0" indent="0" algn="l" defTabSz="914355" rtl="0" eaLnBrk="1" fontAlgn="auto" latinLnBrk="0" hangingPunct="1">
                <a:lnSpc>
                  <a:spcPct val="100000"/>
                </a:lnSpc>
                <a:spcBef>
                  <a:spcPts val="0"/>
                </a:spcBef>
                <a:spcAft>
                  <a:spcPts val="0"/>
                </a:spcAft>
                <a:buClrTx/>
                <a:buSzTx/>
                <a:buFontTx/>
                <a:buNone/>
                <a:tabLst/>
                <a:defRPr/>
              </a:pPr>
              <a:t>3</a:t>
            </a:fld>
            <a:endParaRPr kumimoji="0" lang="de-DE" sz="1000" b="1" i="0" u="none" strike="noStrike" kern="1200" cap="none" spc="0" normalizeH="0" baseline="0" noProof="0" dirty="0">
              <a:ln>
                <a:noFill/>
              </a:ln>
              <a:solidFill>
                <a:srgbClr val="204461"/>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65324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4</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789260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5</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336244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6</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789918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algn="r"/>
            <a:fld id="{7D817C07-CE16-5C41-9ABD-94C73CEF6061}" type="slidenum">
              <a:rPr lang="de-DE"/>
              <a:pPr algn="r"/>
              <a:t>7</a:t>
            </a:fld>
            <a:endParaRPr lang="de-DE" dirty="0"/>
          </a:p>
        </p:txBody>
      </p:sp>
      <p:sp>
        <p:nvSpPr>
          <p:cNvPr id="5" name="Footer Placehold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327118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algn="r"/>
            <a:fld id="{7D817C07-CE16-5C41-9ABD-94C73CEF6061}" type="slidenum">
              <a:rPr lang="de-DE"/>
              <a:pPr algn="r"/>
              <a:t>8</a:t>
            </a:fld>
            <a:endParaRPr lang="de-DE" dirty="0"/>
          </a:p>
        </p:txBody>
      </p:sp>
      <p:sp>
        <p:nvSpPr>
          <p:cNvPr id="5" name="Footer Placehold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994852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9</a:t>
            </a:fld>
            <a:endParaRPr lang="de-DE" dirty="0"/>
          </a:p>
        </p:txBody>
      </p:sp>
      <p:sp>
        <p:nvSpPr>
          <p:cNvPr id="5" name="Fußzeilenplatzhalter 4"/>
          <p:cNvSpPr>
            <a:spLocks noGrp="1"/>
          </p:cNvSpPr>
          <p:nvPr>
            <p:ph type="ftr" sz="quarter" idx="4"/>
          </p:nvPr>
        </p:nvSpPr>
        <p:spPr/>
        <p:txBody>
          <a:bodyPr/>
          <a:lstStyle/>
          <a:p>
            <a:r>
              <a:rPr lang="de-DE" dirty="0"/>
              <a:t>Name | Abteilung | 30. Januar 2019</a:t>
            </a:r>
          </a:p>
        </p:txBody>
      </p:sp>
    </p:spTree>
    <p:extLst>
      <p:ext uri="{BB962C8B-B14F-4D97-AF65-F5344CB8AC3E}">
        <p14:creationId xmlns:p14="http://schemas.microsoft.com/office/powerpoint/2010/main" val="30107510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hyperlink" Target="http://www.trumpf.com/"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3.png"/><Relationship Id="rId4" Type="http://schemas.openxmlformats.org/officeDocument/2006/relationships/hyperlink" Target="http://www.trumpf.com/" TargetMode="Externa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I Title Slide 01">
    <p:spTree>
      <p:nvGrpSpPr>
        <p:cNvPr id="1" name=""/>
        <p:cNvGrpSpPr/>
        <p:nvPr/>
      </p:nvGrpSpPr>
      <p:grpSpPr>
        <a:xfrm>
          <a:off x="0" y="0"/>
          <a:ext cx="0" cy="0"/>
          <a:chOff x="0" y="0"/>
          <a:chExt cx="0" cy="0"/>
        </a:xfrm>
      </p:grpSpPr>
      <p:sp>
        <p:nvSpPr>
          <p:cNvPr id="35" name="Bildplatzhalter 34">
            <a:extLst>
              <a:ext uri="{FF2B5EF4-FFF2-40B4-BE49-F238E27FC236}">
                <a16:creationId xmlns:a16="http://schemas.microsoft.com/office/drawing/2014/main" id="{61F7B8DE-74C3-45A1-9176-E149ECFB2019}"/>
              </a:ext>
            </a:extLst>
          </p:cNvPr>
          <p:cNvSpPr>
            <a:spLocks noGrp="1"/>
          </p:cNvSpPr>
          <p:nvPr>
            <p:ph type="pic" sz="quarter" idx="11"/>
          </p:nvPr>
        </p:nvSpPr>
        <p:spPr>
          <a:xfrm>
            <a:off x="3174" y="0"/>
            <a:ext cx="12188825" cy="6858000"/>
          </a:xfrm>
          <a:custGeom>
            <a:avLst/>
            <a:gdLst>
              <a:gd name="connsiteX0" fmla="*/ 0 w 12188825"/>
              <a:gd name="connsiteY0" fmla="*/ 0 h 6858000"/>
              <a:gd name="connsiteX1" fmla="*/ 12188825 w 12188825"/>
              <a:gd name="connsiteY1" fmla="*/ 0 h 6858000"/>
              <a:gd name="connsiteX2" fmla="*/ 12188825 w 12188825"/>
              <a:gd name="connsiteY2" fmla="*/ 6858000 h 6858000"/>
              <a:gd name="connsiteX3" fmla="*/ 0 w 12188825"/>
              <a:gd name="connsiteY3" fmla="*/ 6858000 h 6858000"/>
              <a:gd name="connsiteX4" fmla="*/ 0 w 12188825"/>
              <a:gd name="connsiteY4" fmla="*/ 6262256 h 6858000"/>
              <a:gd name="connsiteX5" fmla="*/ 5387301 w 12188825"/>
              <a:gd name="connsiteY5" fmla="*/ 6262256 h 6858000"/>
              <a:gd name="connsiteX6" fmla="*/ 5387301 w 12188825"/>
              <a:gd name="connsiteY6" fmla="*/ 3043223 h 6858000"/>
              <a:gd name="connsiteX7" fmla="*/ 0 w 12188825"/>
              <a:gd name="connsiteY7" fmla="*/ 30432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6858000">
                <a:moveTo>
                  <a:pt x="0" y="0"/>
                </a:moveTo>
                <a:lnTo>
                  <a:pt x="12188825" y="0"/>
                </a:lnTo>
                <a:lnTo>
                  <a:pt x="12188825" y="6858000"/>
                </a:lnTo>
                <a:lnTo>
                  <a:pt x="0" y="6858000"/>
                </a:lnTo>
                <a:lnTo>
                  <a:pt x="0" y="6262256"/>
                </a:lnTo>
                <a:lnTo>
                  <a:pt x="5387301" y="6262256"/>
                </a:lnTo>
                <a:lnTo>
                  <a:pt x="5387301" y="3043223"/>
                </a:lnTo>
                <a:lnTo>
                  <a:pt x="0" y="3043223"/>
                </a:lnTo>
                <a:close/>
              </a:path>
            </a:pathLst>
          </a:custGeom>
          <a:solidFill>
            <a:schemeClr val="tx2"/>
          </a:solidFill>
          <a:ln>
            <a:noFill/>
          </a:ln>
        </p:spPr>
        <p:txBody>
          <a:bodyPr vert="horz" wrap="square" lIns="0" tIns="0" rIns="0" bIns="0" rtlCol="0" anchor="t">
            <a:noAutofit/>
          </a:bodyPr>
          <a:lstStyle>
            <a:lvl1pPr>
              <a:defRPr lang="en-US" sz="2000" b="0">
                <a:solidFill>
                  <a:schemeClr val="accent4"/>
                </a:solidFill>
                <a:latin typeface="+mn-lt"/>
              </a:defRPr>
            </a:lvl1pPr>
          </a:lstStyle>
          <a:p>
            <a:pPr lvl="0" algn="ctr"/>
            <a:r>
              <a:rPr lang="de-DE"/>
              <a:t>Bild durch Klicken auf Symbol hinzufügen</a:t>
            </a:r>
            <a:endParaRPr lang="en-US" dirty="0"/>
          </a:p>
        </p:txBody>
      </p:sp>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936805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4098351"/>
            <a:ext cx="4782950" cy="215444"/>
          </a:xfrm>
          <a:noFill/>
        </p:spPr>
        <p:txBody>
          <a:bodyPr wrap="square" lIns="216000" tIns="0" rIns="0" bIns="0" anchor="ctr">
            <a:spAutoFit/>
          </a:bodyPr>
          <a:lstStyle>
            <a:lvl1pPr marL="0" indent="0" algn="l">
              <a:buNone/>
              <a:defRPr lang="de-DE" sz="1400" b="0" kern="1200" dirty="0">
                <a:solidFill>
                  <a:srgbClr val="575756"/>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 I </a:t>
            </a:r>
            <a:r>
              <a:rPr lang="de-DE" dirty="0" err="1"/>
              <a:t>O</a:t>
            </a:r>
            <a:r>
              <a:rPr lang="de-DE" b="0" i="0" dirty="0" err="1">
                <a:solidFill>
                  <a:srgbClr val="242424"/>
                </a:solidFill>
                <a:effectLst/>
                <a:latin typeface="-apple-system"/>
              </a:rPr>
              <a:t>verline</a:t>
            </a:r>
            <a:endParaRPr lang="de-DE" dirty="0"/>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329257"/>
            <a:ext cx="4782951" cy="1064355"/>
          </a:xfrm>
          <a:noFill/>
          <a:effectLst/>
        </p:spPr>
        <p:txBody>
          <a:bodyPr vert="horz" lIns="198000" tIns="0" rIns="0" anchor="b" anchorCtr="0">
            <a:noAutofit/>
          </a:bodyPr>
          <a:lstStyle>
            <a:lvl1pPr marL="0" algn="l" defTabSz="914355" rtl="0" eaLnBrk="1" latinLnBrk="0" hangingPunct="1">
              <a:lnSpc>
                <a:spcPct val="90000"/>
              </a:lnSpc>
              <a:spcBef>
                <a:spcPct val="0"/>
              </a:spcBef>
              <a:buNone/>
              <a:defRPr lang="de-DE" sz="3600" b="0" kern="1200" cap="none" baseline="0" dirty="0">
                <a:solidFill>
                  <a:schemeClr val="tx1"/>
                </a:solidFill>
                <a:latin typeface="+mn-lt"/>
                <a:ea typeface="+mj-ea"/>
                <a:cs typeface="Arial" panose="020B0604020202020204" pitchFamily="34" charset="0"/>
              </a:defRPr>
            </a:lvl1pPr>
          </a:lstStyle>
          <a:p>
            <a:r>
              <a:rPr lang="de-DE" dirty="0"/>
              <a:t>Überschrift</a:t>
            </a:r>
            <a:br>
              <a:rPr lang="de-DE" dirty="0"/>
            </a:br>
            <a:r>
              <a:rPr lang="de-DE" dirty="0"/>
              <a:t>Headline</a:t>
            </a:r>
          </a:p>
        </p:txBody>
      </p:sp>
      <p:sp>
        <p:nvSpPr>
          <p:cNvPr id="5" name="Fußzeilenplatzhalter 4">
            <a:extLst>
              <a:ext uri="{FF2B5EF4-FFF2-40B4-BE49-F238E27FC236}">
                <a16:creationId xmlns:a16="http://schemas.microsoft.com/office/drawing/2014/main" id="{5E31E8C8-7C50-4010-8FA8-5E3FC76DB094}"/>
              </a:ext>
            </a:extLst>
          </p:cNvPr>
          <p:cNvSpPr>
            <a:spLocks noGrp="1"/>
          </p:cNvSpPr>
          <p:nvPr>
            <p:ph type="ftr" sz="quarter" idx="13"/>
          </p:nvPr>
        </p:nvSpPr>
        <p:spPr>
          <a:xfrm>
            <a:off x="300038" y="5824879"/>
            <a:ext cx="4782950" cy="215444"/>
          </a:xfrm>
        </p:spPr>
        <p:txBody>
          <a:bodyPr lIns="216000" tIns="0" rIns="0" bIns="0"/>
          <a:lstStyle>
            <a:lvl1pPr>
              <a:spcBef>
                <a:spcPts val="600"/>
              </a:spcBef>
              <a:spcAft>
                <a:spcPts val="600"/>
              </a:spcAft>
              <a:defRPr sz="1400">
                <a:solidFill>
                  <a:schemeClr val="tx1"/>
                </a:solidFill>
                <a:latin typeface="+mn-lt"/>
              </a:defRPr>
            </a:lvl1pPr>
          </a:lstStyle>
          <a:p>
            <a:r>
              <a:rPr lang="de-DE"/>
              <a:t>Technischer Kundendienst</a:t>
            </a:r>
            <a:endParaRPr lang="de-DE" dirty="0"/>
          </a:p>
        </p:txBody>
      </p:sp>
      <p:pic>
        <p:nvPicPr>
          <p:cNvPr id="36" name="Grafik 35">
            <a:extLst>
              <a:ext uri="{FF2B5EF4-FFF2-40B4-BE49-F238E27FC236}">
                <a16:creationId xmlns:a16="http://schemas.microsoft.com/office/drawing/2014/main" id="{62ED6E0A-5812-49BA-9B01-F8D9CF54412B}"/>
              </a:ext>
            </a:extLst>
          </p:cNvPr>
          <p:cNvPicPr>
            <a:picLocks noChangeAspect="1"/>
          </p:cNvPicPr>
          <p:nvPr userDrawn="1"/>
        </p:nvPicPr>
        <p:blipFill>
          <a:blip r:embed="rId5"/>
          <a:stretch>
            <a:fillRect/>
          </a:stretch>
        </p:blipFill>
        <p:spPr>
          <a:xfrm>
            <a:off x="407958" y="3174416"/>
            <a:ext cx="2346511" cy="790140"/>
          </a:xfrm>
          <a:prstGeom prst="rect">
            <a:avLst/>
          </a:prstGeom>
        </p:spPr>
      </p:pic>
    </p:spTree>
    <p:extLst>
      <p:ext uri="{BB962C8B-B14F-4D97-AF65-F5344CB8AC3E}">
        <p14:creationId xmlns:p14="http://schemas.microsoft.com/office/powerpoint/2010/main" val="459259589"/>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 Text ohne Hintergrund links + Bild">
    <p:spTree>
      <p:nvGrpSpPr>
        <p:cNvPr id="1" name=""/>
        <p:cNvGrpSpPr/>
        <p:nvPr/>
      </p:nvGrpSpPr>
      <p:grpSpPr>
        <a:xfrm>
          <a:off x="0" y="0"/>
          <a:ext cx="0" cy="0"/>
          <a:chOff x="0" y="0"/>
          <a:chExt cx="0" cy="0"/>
        </a:xfrm>
      </p:grpSpPr>
      <p:sp>
        <p:nvSpPr>
          <p:cNvPr id="31" name="Bildplatzhalter 5">
            <a:extLst>
              <a:ext uri="{FF2B5EF4-FFF2-40B4-BE49-F238E27FC236}">
                <a16:creationId xmlns:a16="http://schemas.microsoft.com/office/drawing/2014/main" id="{52966113-C76A-418D-A5A5-4F949147C155}"/>
              </a:ext>
            </a:extLst>
          </p:cNvPr>
          <p:cNvSpPr>
            <a:spLocks noGrp="1"/>
          </p:cNvSpPr>
          <p:nvPr>
            <p:ph type="pic" sz="quarter" idx="13"/>
          </p:nvPr>
        </p:nvSpPr>
        <p:spPr>
          <a:xfrm>
            <a:off x="6096000" y="3174"/>
            <a:ext cx="6096000" cy="6854821"/>
          </a:xfrm>
          <a:solidFill>
            <a:schemeClr val="accent2"/>
          </a:solidFill>
        </p:spPr>
        <p:txBody>
          <a:bodyPr anchor="ctr"/>
          <a:lstStyle>
            <a:lvl1pPr algn="ctr">
              <a:defRPr sz="2000" b="0">
                <a:solidFill>
                  <a:schemeClr val="bg1">
                    <a:lumMod val="65000"/>
                  </a:schemeClr>
                </a:solidFill>
                <a:latin typeface="+mn-lt"/>
              </a:defRPr>
            </a:lvl1pPr>
          </a:lstStyle>
          <a:p>
            <a:r>
              <a:rPr lang="de-DE"/>
              <a:t>Bild durch Klicken auf Symbol hinzufügen</a:t>
            </a:r>
            <a:endParaRPr lang="de-DE" dirty="0"/>
          </a:p>
        </p:txBody>
      </p:sp>
      <p:graphicFrame>
        <p:nvGraphicFramePr>
          <p:cNvPr id="3" name="Objekt 2" hidden="1">
            <a:extLst>
              <a:ext uri="{FF2B5EF4-FFF2-40B4-BE49-F238E27FC236}">
                <a16:creationId xmlns:a16="http://schemas.microsoft.com/office/drawing/2014/main" id="{6A2C08B9-AEF0-4978-B065-A228A3077D05}"/>
              </a:ext>
            </a:extLst>
          </p:cNvPr>
          <p:cNvGraphicFramePr>
            <a:graphicFrameLocks noChangeAspect="1"/>
          </p:cNvGraphicFramePr>
          <p:nvPr userDrawn="1">
            <p:custDataLst>
              <p:tags r:id="rId1"/>
            </p:custDataLst>
            <p:extLst>
              <p:ext uri="{D42A27DB-BD31-4B8C-83A1-F6EECF244321}">
                <p14:modId xmlns:p14="http://schemas.microsoft.com/office/powerpoint/2010/main" val="307595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3" name="Objekt 2" hidden="1">
                        <a:extLst>
                          <a:ext uri="{FF2B5EF4-FFF2-40B4-BE49-F238E27FC236}">
                            <a16:creationId xmlns:a16="http://schemas.microsoft.com/office/drawing/2014/main" id="{6A2C08B9-AEF0-4978-B065-A228A3077D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platzhalter 2">
            <a:extLst>
              <a:ext uri="{FF2B5EF4-FFF2-40B4-BE49-F238E27FC236}">
                <a16:creationId xmlns:a16="http://schemas.microsoft.com/office/drawing/2014/main" id="{648D76BE-D7BB-054B-939E-03F12B816684}"/>
              </a:ext>
            </a:extLst>
          </p:cNvPr>
          <p:cNvSpPr>
            <a:spLocks noGrp="1"/>
          </p:cNvSpPr>
          <p:nvPr>
            <p:ph type="body" idx="10"/>
          </p:nvPr>
        </p:nvSpPr>
        <p:spPr>
          <a:xfrm>
            <a:off x="528805" y="1490868"/>
            <a:ext cx="5164043" cy="498707"/>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2" name="Textplatzhalter 2">
            <a:extLst>
              <a:ext uri="{FF2B5EF4-FFF2-40B4-BE49-F238E27FC236}">
                <a16:creationId xmlns:a16="http://schemas.microsoft.com/office/drawing/2014/main" id="{77A6900E-2103-0E4A-BADA-73F03F00FA9E}"/>
              </a:ext>
            </a:extLst>
          </p:cNvPr>
          <p:cNvSpPr>
            <a:spLocks noGrp="1"/>
          </p:cNvSpPr>
          <p:nvPr>
            <p:ph type="body" idx="11"/>
          </p:nvPr>
        </p:nvSpPr>
        <p:spPr>
          <a:xfrm>
            <a:off x="528805" y="3775223"/>
            <a:ext cx="5164043" cy="498707"/>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6" name="Titel 1">
            <a:extLst>
              <a:ext uri="{FF2B5EF4-FFF2-40B4-BE49-F238E27FC236}">
                <a16:creationId xmlns:a16="http://schemas.microsoft.com/office/drawing/2014/main" id="{4B32E3D2-3756-DC48-AAD3-DC06050CE64B}"/>
              </a:ext>
            </a:extLst>
          </p:cNvPr>
          <p:cNvSpPr>
            <a:spLocks noGrp="1"/>
          </p:cNvSpPr>
          <p:nvPr>
            <p:ph type="ctrTitle" hasCustomPrompt="1"/>
          </p:nvPr>
        </p:nvSpPr>
        <p:spPr>
          <a:xfrm>
            <a:off x="515938" y="351928"/>
            <a:ext cx="5148262" cy="629148"/>
          </a:xfrm>
        </p:spPr>
        <p:txBody>
          <a:bodyPr vert="horz" anchor="t"/>
          <a:lstStyle>
            <a:lvl1pPr algn="l">
              <a:lnSpc>
                <a:spcPct val="100000"/>
              </a:lnSpc>
              <a:defRPr sz="2800" b="0">
                <a:solidFill>
                  <a:schemeClr val="tx1"/>
                </a:solidFill>
              </a:defRPr>
            </a:lvl1pPr>
          </a:lstStyle>
          <a:p>
            <a:r>
              <a:rPr lang="de-DE" dirty="0"/>
              <a:t>Überschrift I Headline</a:t>
            </a:r>
          </a:p>
        </p:txBody>
      </p:sp>
      <p:sp>
        <p:nvSpPr>
          <p:cNvPr id="12" name="Textplatzhalter 2">
            <a:extLst>
              <a:ext uri="{FF2B5EF4-FFF2-40B4-BE49-F238E27FC236}">
                <a16:creationId xmlns:a16="http://schemas.microsoft.com/office/drawing/2014/main" id="{C185099C-4D22-408C-B783-C83493FA5149}"/>
              </a:ext>
            </a:extLst>
          </p:cNvPr>
          <p:cNvSpPr>
            <a:spLocks noGrp="1"/>
          </p:cNvSpPr>
          <p:nvPr>
            <p:ph idx="1"/>
          </p:nvPr>
        </p:nvSpPr>
        <p:spPr>
          <a:xfrm>
            <a:off x="530624" y="2087363"/>
            <a:ext cx="5148262"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Textplatzhalter 2">
            <a:extLst>
              <a:ext uri="{FF2B5EF4-FFF2-40B4-BE49-F238E27FC236}">
                <a16:creationId xmlns:a16="http://schemas.microsoft.com/office/drawing/2014/main" id="{9B950335-33C7-4174-B814-7F1D09EB8FC1}"/>
              </a:ext>
            </a:extLst>
          </p:cNvPr>
          <p:cNvSpPr>
            <a:spLocks noGrp="1"/>
          </p:cNvSpPr>
          <p:nvPr>
            <p:ph idx="14"/>
          </p:nvPr>
        </p:nvSpPr>
        <p:spPr>
          <a:xfrm>
            <a:off x="535816" y="4400550"/>
            <a:ext cx="5148262"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0" name="Foliennummernplatzhalter 5">
            <a:extLst>
              <a:ext uri="{FF2B5EF4-FFF2-40B4-BE49-F238E27FC236}">
                <a16:creationId xmlns:a16="http://schemas.microsoft.com/office/drawing/2014/main" id="{EF47FE27-85AE-4D2E-970A-B8617AC37758}"/>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21" name="Fußzeilenplatzhalter 3">
            <a:extLst>
              <a:ext uri="{FF2B5EF4-FFF2-40B4-BE49-F238E27FC236}">
                <a16:creationId xmlns:a16="http://schemas.microsoft.com/office/drawing/2014/main" id="{ED3A61B7-AF6D-4802-9BC2-D6C1E0F850C4}"/>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23" name="Datumsplatzhalter 8">
            <a:extLst>
              <a:ext uri="{FF2B5EF4-FFF2-40B4-BE49-F238E27FC236}">
                <a16:creationId xmlns:a16="http://schemas.microsoft.com/office/drawing/2014/main" id="{981CBBCE-2F50-4DAA-8EEF-BE13E378945D}"/>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30541393-A7F6-4569-9F69-3DA046A784B7}" type="datetime1">
              <a:rPr lang="de-DE" smtClean="0"/>
              <a:pPr/>
              <a:t>20.04.2023</a:t>
            </a:fld>
            <a:endParaRPr lang="de-DE" dirty="0"/>
          </a:p>
        </p:txBody>
      </p:sp>
    </p:spTree>
    <p:extLst>
      <p:ext uri="{BB962C8B-B14F-4D97-AF65-F5344CB8AC3E}">
        <p14:creationId xmlns:p14="http://schemas.microsoft.com/office/powerpoint/2010/main" val="1816166890"/>
      </p:ext>
    </p:extLst>
  </p:cSld>
  <p:clrMapOvr>
    <a:masterClrMapping/>
  </p:clrMapOvr>
  <p:hf hdr="0"/>
  <p:extLst>
    <p:ext uri="{DCECCB84-F9BA-43D5-87BE-67443E8EF086}">
      <p15:sldGuideLst xmlns:p15="http://schemas.microsoft.com/office/powerpoint/2012/main">
        <p15:guide id="1" pos="356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1:1 Bild-Text ohne Hintergrun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A2C08B9-AEF0-4978-B065-A228A3077D05}"/>
              </a:ext>
            </a:extLst>
          </p:cNvPr>
          <p:cNvGraphicFramePr>
            <a:graphicFrameLocks noChangeAspect="1"/>
          </p:cNvGraphicFramePr>
          <p:nvPr userDrawn="1">
            <p:custDataLst>
              <p:tags r:id="rId1"/>
            </p:custDataLst>
            <p:extLst>
              <p:ext uri="{D42A27DB-BD31-4B8C-83A1-F6EECF244321}">
                <p14:modId xmlns:p14="http://schemas.microsoft.com/office/powerpoint/2010/main" val="357502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3" name="Objekt 2" hidden="1">
                        <a:extLst>
                          <a:ext uri="{FF2B5EF4-FFF2-40B4-BE49-F238E27FC236}">
                            <a16:creationId xmlns:a16="http://schemas.microsoft.com/office/drawing/2014/main" id="{6A2C08B9-AEF0-4978-B065-A228A3077D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Bildplatzhalter 2">
            <a:extLst>
              <a:ext uri="{FF2B5EF4-FFF2-40B4-BE49-F238E27FC236}">
                <a16:creationId xmlns:a16="http://schemas.microsoft.com/office/drawing/2014/main" id="{BE2BDB5E-62B9-D04A-B1DD-8A52A7DB93A2}"/>
              </a:ext>
            </a:extLst>
          </p:cNvPr>
          <p:cNvSpPr>
            <a:spLocks noGrp="1"/>
          </p:cNvSpPr>
          <p:nvPr>
            <p:ph type="pic" idx="20"/>
          </p:nvPr>
        </p:nvSpPr>
        <p:spPr>
          <a:xfrm>
            <a:off x="6096000" y="3429000"/>
            <a:ext cx="6096002" cy="3429000"/>
          </a:xfrm>
          <a:solidFill>
            <a:schemeClr val="accent2"/>
          </a:solidFill>
        </p:spPr>
        <p:txBody>
          <a:bodyPr anchor="ctr"/>
          <a:lstStyle>
            <a:lvl1pPr marL="0" indent="0" algn="ctr">
              <a:buNone/>
              <a:defRPr sz="2000" b="0">
                <a:solidFill>
                  <a:schemeClr val="bg1">
                    <a:lumMod val="65000"/>
                  </a:schemeClr>
                </a:solidFill>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DE" dirty="0"/>
          </a:p>
        </p:txBody>
      </p:sp>
      <p:sp>
        <p:nvSpPr>
          <p:cNvPr id="19" name="Bildplatzhalter 2">
            <a:extLst>
              <a:ext uri="{FF2B5EF4-FFF2-40B4-BE49-F238E27FC236}">
                <a16:creationId xmlns:a16="http://schemas.microsoft.com/office/drawing/2014/main" id="{333C2A2D-4CA3-DF47-8E60-5FF58CF3A733}"/>
              </a:ext>
            </a:extLst>
          </p:cNvPr>
          <p:cNvSpPr>
            <a:spLocks noGrp="1"/>
          </p:cNvSpPr>
          <p:nvPr>
            <p:ph type="pic" idx="19"/>
          </p:nvPr>
        </p:nvSpPr>
        <p:spPr>
          <a:xfrm>
            <a:off x="6096000" y="0"/>
            <a:ext cx="6096002" cy="3429000"/>
          </a:xfrm>
          <a:solidFill>
            <a:schemeClr val="accent2"/>
          </a:solidFill>
        </p:spPr>
        <p:txBody>
          <a:bodyPr anchor="ctr"/>
          <a:lstStyle>
            <a:lvl1pPr marL="0" indent="0" algn="ctr">
              <a:buNone/>
              <a:defRPr sz="2000" b="0">
                <a:solidFill>
                  <a:schemeClr val="bg1">
                    <a:lumMod val="65000"/>
                  </a:schemeClr>
                </a:solidFill>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DE" dirty="0"/>
          </a:p>
        </p:txBody>
      </p:sp>
      <p:cxnSp>
        <p:nvCxnSpPr>
          <p:cNvPr id="24" name="Gerade Verbindung 2">
            <a:extLst>
              <a:ext uri="{FF2B5EF4-FFF2-40B4-BE49-F238E27FC236}">
                <a16:creationId xmlns:a16="http://schemas.microsoft.com/office/drawing/2014/main" id="{3359F94B-516A-4AD9-887B-36C3FE5A9DC8}"/>
              </a:ext>
            </a:extLst>
          </p:cNvPr>
          <p:cNvCxnSpPr>
            <a:cxnSpLocks/>
          </p:cNvCxnSpPr>
          <p:nvPr userDrawn="1"/>
        </p:nvCxnSpPr>
        <p:spPr>
          <a:xfrm>
            <a:off x="6096000" y="3429000"/>
            <a:ext cx="6096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platzhalter 2">
            <a:extLst>
              <a:ext uri="{FF2B5EF4-FFF2-40B4-BE49-F238E27FC236}">
                <a16:creationId xmlns:a16="http://schemas.microsoft.com/office/drawing/2014/main" id="{330AF51F-D691-1542-9D10-302D5F405268}"/>
              </a:ext>
            </a:extLst>
          </p:cNvPr>
          <p:cNvSpPr>
            <a:spLocks noGrp="1"/>
          </p:cNvSpPr>
          <p:nvPr>
            <p:ph type="body" idx="10"/>
          </p:nvPr>
        </p:nvSpPr>
        <p:spPr>
          <a:xfrm>
            <a:off x="528806" y="1474163"/>
            <a:ext cx="5144104" cy="429133"/>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1" name="Textplatzhalter 2">
            <a:extLst>
              <a:ext uri="{FF2B5EF4-FFF2-40B4-BE49-F238E27FC236}">
                <a16:creationId xmlns:a16="http://schemas.microsoft.com/office/drawing/2014/main" id="{6A23CFF2-F559-F74E-8130-4F216473CC9A}"/>
              </a:ext>
            </a:extLst>
          </p:cNvPr>
          <p:cNvSpPr>
            <a:spLocks noGrp="1"/>
          </p:cNvSpPr>
          <p:nvPr>
            <p:ph type="body" idx="11"/>
          </p:nvPr>
        </p:nvSpPr>
        <p:spPr>
          <a:xfrm>
            <a:off x="528806" y="3758519"/>
            <a:ext cx="5144104" cy="429134"/>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2" name="Titel 1">
            <a:extLst>
              <a:ext uri="{FF2B5EF4-FFF2-40B4-BE49-F238E27FC236}">
                <a16:creationId xmlns:a16="http://schemas.microsoft.com/office/drawing/2014/main" id="{85A74C18-DD35-1E41-97BE-603FD5CB42BD}"/>
              </a:ext>
            </a:extLst>
          </p:cNvPr>
          <p:cNvSpPr>
            <a:spLocks noGrp="1"/>
          </p:cNvSpPr>
          <p:nvPr>
            <p:ph type="ctrTitle" hasCustomPrompt="1"/>
          </p:nvPr>
        </p:nvSpPr>
        <p:spPr>
          <a:xfrm>
            <a:off x="518531" y="333375"/>
            <a:ext cx="5145669" cy="647700"/>
          </a:xfrm>
        </p:spPr>
        <p:txBody>
          <a:bodyPr vert="horz" anchor="t"/>
          <a:lstStyle>
            <a:lvl1pPr algn="l">
              <a:lnSpc>
                <a:spcPct val="100000"/>
              </a:lnSpc>
              <a:defRPr sz="2800" b="0">
                <a:solidFill>
                  <a:schemeClr val="tx1"/>
                </a:solidFill>
              </a:defRPr>
            </a:lvl1pPr>
          </a:lstStyle>
          <a:p>
            <a:r>
              <a:rPr lang="de-DE" dirty="0"/>
              <a:t>Überschrift I Headline</a:t>
            </a:r>
          </a:p>
        </p:txBody>
      </p:sp>
      <p:sp>
        <p:nvSpPr>
          <p:cNvPr id="23" name="Textplatzhalter 2">
            <a:extLst>
              <a:ext uri="{FF2B5EF4-FFF2-40B4-BE49-F238E27FC236}">
                <a16:creationId xmlns:a16="http://schemas.microsoft.com/office/drawing/2014/main" id="{16377AD8-A9E5-4F78-921C-ECD8EB60350A}"/>
              </a:ext>
            </a:extLst>
          </p:cNvPr>
          <p:cNvSpPr>
            <a:spLocks noGrp="1"/>
          </p:cNvSpPr>
          <p:nvPr>
            <p:ph idx="1"/>
          </p:nvPr>
        </p:nvSpPr>
        <p:spPr>
          <a:xfrm>
            <a:off x="530624" y="2020961"/>
            <a:ext cx="5128384"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5" name="Textplatzhalter 2">
            <a:extLst>
              <a:ext uri="{FF2B5EF4-FFF2-40B4-BE49-F238E27FC236}">
                <a16:creationId xmlns:a16="http://schemas.microsoft.com/office/drawing/2014/main" id="{F813E7D0-3743-42F7-BD0B-0172EE571E32}"/>
              </a:ext>
            </a:extLst>
          </p:cNvPr>
          <p:cNvSpPr>
            <a:spLocks noGrp="1"/>
          </p:cNvSpPr>
          <p:nvPr>
            <p:ph idx="14"/>
          </p:nvPr>
        </p:nvSpPr>
        <p:spPr>
          <a:xfrm>
            <a:off x="535816" y="4400550"/>
            <a:ext cx="5128384"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8" name="Foliennummernplatzhalter 5">
            <a:extLst>
              <a:ext uri="{FF2B5EF4-FFF2-40B4-BE49-F238E27FC236}">
                <a16:creationId xmlns:a16="http://schemas.microsoft.com/office/drawing/2014/main" id="{E82BC249-56FB-4B16-99D0-ED022CE2D9A8}"/>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29" name="Fußzeilenplatzhalter 3">
            <a:extLst>
              <a:ext uri="{FF2B5EF4-FFF2-40B4-BE49-F238E27FC236}">
                <a16:creationId xmlns:a16="http://schemas.microsoft.com/office/drawing/2014/main" id="{BA60D1CF-87A2-4E5C-B614-BB50A6BB508D}"/>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30" name="Datumsplatzhalter 8">
            <a:extLst>
              <a:ext uri="{FF2B5EF4-FFF2-40B4-BE49-F238E27FC236}">
                <a16:creationId xmlns:a16="http://schemas.microsoft.com/office/drawing/2014/main" id="{8DF9F61A-EB57-4769-AE60-5C6DB24E57C2}"/>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2BE9C80C-1207-42EC-93BB-B9C71F41AF62}" type="datetime1">
              <a:rPr lang="de-DE" smtClean="0"/>
              <a:pPr/>
              <a:t>20.04.2023</a:t>
            </a:fld>
            <a:endParaRPr lang="de-DE" dirty="0"/>
          </a:p>
        </p:txBody>
      </p:sp>
    </p:spTree>
    <p:extLst>
      <p:ext uri="{BB962C8B-B14F-4D97-AF65-F5344CB8AC3E}">
        <p14:creationId xmlns:p14="http://schemas.microsoft.com/office/powerpoint/2010/main" val="2010355290"/>
      </p:ext>
    </p:extLst>
  </p:cSld>
  <p:clrMapOvr>
    <a:masterClrMapping/>
  </p:clrMapOvr>
  <p:hf hdr="0"/>
  <p:extLst>
    <p:ext uri="{DCECCB84-F9BA-43D5-87BE-67443E8EF086}">
      <p15:sldGuideLst xmlns:p15="http://schemas.microsoft.com/office/powerpoint/2012/main">
        <p15:guide id="1" pos="356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ilder links + Text + Navigatio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5BBCA1C-5361-4EFC-ADD1-319A28D03D0C}"/>
              </a:ext>
            </a:extLst>
          </p:cNvPr>
          <p:cNvGraphicFramePr>
            <a:graphicFrameLocks noChangeAspect="1"/>
          </p:cNvGraphicFramePr>
          <p:nvPr userDrawn="1">
            <p:custDataLst>
              <p:tags r:id="rId1"/>
            </p:custDataLst>
            <p:extLst>
              <p:ext uri="{D42A27DB-BD31-4B8C-83A1-F6EECF244321}">
                <p14:modId xmlns:p14="http://schemas.microsoft.com/office/powerpoint/2010/main" val="4160845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5" name="Objekt 4" hidden="1">
                        <a:extLst>
                          <a:ext uri="{FF2B5EF4-FFF2-40B4-BE49-F238E27FC236}">
                            <a16:creationId xmlns:a16="http://schemas.microsoft.com/office/drawing/2014/main" id="{55BBCA1C-5361-4EFC-ADD1-319A28D03D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Bildplatzhalter 31">
            <a:extLst>
              <a:ext uri="{FF2B5EF4-FFF2-40B4-BE49-F238E27FC236}">
                <a16:creationId xmlns:a16="http://schemas.microsoft.com/office/drawing/2014/main" id="{34189E02-004A-3B45-B64D-B17613D55308}"/>
              </a:ext>
            </a:extLst>
          </p:cNvPr>
          <p:cNvSpPr>
            <a:spLocks noGrp="1"/>
          </p:cNvSpPr>
          <p:nvPr>
            <p:ph type="pic" sz="quarter" idx="13"/>
          </p:nvPr>
        </p:nvSpPr>
        <p:spPr>
          <a:xfrm>
            <a:off x="0" y="0"/>
            <a:ext cx="3345700" cy="6839277"/>
          </a:xfrm>
          <a:solidFill>
            <a:schemeClr val="accent2"/>
          </a:solidFill>
        </p:spPr>
        <p:txBody>
          <a:bodyPr anchor="ctr"/>
          <a:lstStyle>
            <a:lvl1pPr algn="ctr">
              <a:defRPr sz="2000" b="0">
                <a:solidFill>
                  <a:schemeClr val="bg1">
                    <a:lumMod val="65000"/>
                  </a:schemeClr>
                </a:solidFill>
                <a:latin typeface="+mn-lt"/>
              </a:defRPr>
            </a:lvl1pPr>
          </a:lstStyle>
          <a:p>
            <a:r>
              <a:rPr lang="de-DE"/>
              <a:t>Bild durch Klicken auf Symbol hinzufügen</a:t>
            </a:r>
            <a:endParaRPr lang="de-DE" dirty="0"/>
          </a:p>
        </p:txBody>
      </p:sp>
      <p:sp>
        <p:nvSpPr>
          <p:cNvPr id="19" name="Textplatzhalter 2">
            <a:extLst>
              <a:ext uri="{FF2B5EF4-FFF2-40B4-BE49-F238E27FC236}">
                <a16:creationId xmlns:a16="http://schemas.microsoft.com/office/drawing/2014/main" id="{5A36E4C5-B34F-A34D-B704-44E7C5E02A00}"/>
              </a:ext>
            </a:extLst>
          </p:cNvPr>
          <p:cNvSpPr>
            <a:spLocks noGrp="1"/>
          </p:cNvSpPr>
          <p:nvPr>
            <p:ph type="body" idx="10"/>
          </p:nvPr>
        </p:nvSpPr>
        <p:spPr>
          <a:xfrm>
            <a:off x="3838273" y="1473639"/>
            <a:ext cx="7866365" cy="461325"/>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2" name="Textplatzhalter 2">
            <a:extLst>
              <a:ext uri="{FF2B5EF4-FFF2-40B4-BE49-F238E27FC236}">
                <a16:creationId xmlns:a16="http://schemas.microsoft.com/office/drawing/2014/main" id="{9A29746E-65FE-F542-B2CE-F671A8834222}"/>
              </a:ext>
            </a:extLst>
          </p:cNvPr>
          <p:cNvSpPr>
            <a:spLocks noGrp="1"/>
          </p:cNvSpPr>
          <p:nvPr>
            <p:ph type="body" idx="11"/>
          </p:nvPr>
        </p:nvSpPr>
        <p:spPr>
          <a:xfrm>
            <a:off x="3838274" y="3747051"/>
            <a:ext cx="7866365" cy="461325"/>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Titel 1">
            <a:extLst>
              <a:ext uri="{FF2B5EF4-FFF2-40B4-BE49-F238E27FC236}">
                <a16:creationId xmlns:a16="http://schemas.microsoft.com/office/drawing/2014/main" id="{EF23026A-C489-5144-8F71-E23153F1C269}"/>
              </a:ext>
            </a:extLst>
          </p:cNvPr>
          <p:cNvSpPr>
            <a:spLocks noGrp="1"/>
          </p:cNvSpPr>
          <p:nvPr>
            <p:ph type="ctrTitle" hasCustomPrompt="1"/>
          </p:nvPr>
        </p:nvSpPr>
        <p:spPr>
          <a:xfrm>
            <a:off x="3836733" y="333376"/>
            <a:ext cx="7901402" cy="647700"/>
          </a:xfrm>
        </p:spPr>
        <p:txBody>
          <a:bodyPr vert="horz" anchor="t"/>
          <a:lstStyle>
            <a:lvl1pPr algn="l">
              <a:lnSpc>
                <a:spcPct val="100000"/>
              </a:lnSpc>
              <a:defRPr sz="2800" b="0">
                <a:solidFill>
                  <a:schemeClr val="tx1"/>
                </a:solidFill>
              </a:defRPr>
            </a:lvl1pPr>
          </a:lstStyle>
          <a:p>
            <a:r>
              <a:rPr lang="de-DE" dirty="0"/>
              <a:t>Überschrift I Headline</a:t>
            </a:r>
          </a:p>
        </p:txBody>
      </p:sp>
      <p:sp>
        <p:nvSpPr>
          <p:cNvPr id="13" name="Textplatzhalter 2">
            <a:extLst>
              <a:ext uri="{FF2B5EF4-FFF2-40B4-BE49-F238E27FC236}">
                <a16:creationId xmlns:a16="http://schemas.microsoft.com/office/drawing/2014/main" id="{FBFA4FDA-F0D7-4446-89CE-C26F34C80047}"/>
              </a:ext>
            </a:extLst>
          </p:cNvPr>
          <p:cNvSpPr>
            <a:spLocks noGrp="1"/>
          </p:cNvSpPr>
          <p:nvPr>
            <p:ph idx="1"/>
          </p:nvPr>
        </p:nvSpPr>
        <p:spPr>
          <a:xfrm>
            <a:off x="3838273" y="2115232"/>
            <a:ext cx="7866365"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5" name="Textplatzhalter 2">
            <a:extLst>
              <a:ext uri="{FF2B5EF4-FFF2-40B4-BE49-F238E27FC236}">
                <a16:creationId xmlns:a16="http://schemas.microsoft.com/office/drawing/2014/main" id="{25D26A09-7D14-40D0-A365-2AEE6BBCCDCA}"/>
              </a:ext>
            </a:extLst>
          </p:cNvPr>
          <p:cNvSpPr>
            <a:spLocks noGrp="1"/>
          </p:cNvSpPr>
          <p:nvPr>
            <p:ph idx="14"/>
          </p:nvPr>
        </p:nvSpPr>
        <p:spPr>
          <a:xfrm>
            <a:off x="3836987" y="4394546"/>
            <a:ext cx="7866365"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6" name="Foliennummernplatzhalter 5">
            <a:extLst>
              <a:ext uri="{FF2B5EF4-FFF2-40B4-BE49-F238E27FC236}">
                <a16:creationId xmlns:a16="http://schemas.microsoft.com/office/drawing/2014/main" id="{7CF7466D-0F01-40F1-94E3-AF5BB86D8A08}"/>
              </a:ext>
            </a:extLst>
          </p:cNvPr>
          <p:cNvSpPr>
            <a:spLocks noGrp="1"/>
          </p:cNvSpPr>
          <p:nvPr>
            <p:ph type="sldNum" sz="quarter" idx="4"/>
          </p:nvPr>
        </p:nvSpPr>
        <p:spPr>
          <a:xfrm>
            <a:off x="3840163" y="6327352"/>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7" name="Fußzeilenplatzhalter 3">
            <a:extLst>
              <a:ext uri="{FF2B5EF4-FFF2-40B4-BE49-F238E27FC236}">
                <a16:creationId xmlns:a16="http://schemas.microsoft.com/office/drawing/2014/main" id="{4EAA6B20-26A8-45CC-9C95-68B14A328A83}"/>
              </a:ext>
            </a:extLst>
          </p:cNvPr>
          <p:cNvSpPr>
            <a:spLocks noGrp="1"/>
          </p:cNvSpPr>
          <p:nvPr>
            <p:ph type="ftr" sz="quarter" idx="3"/>
          </p:nvPr>
        </p:nvSpPr>
        <p:spPr>
          <a:xfrm>
            <a:off x="5020886" y="6327353"/>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20" name="Datumsplatzhalter 8">
            <a:extLst>
              <a:ext uri="{FF2B5EF4-FFF2-40B4-BE49-F238E27FC236}">
                <a16:creationId xmlns:a16="http://schemas.microsoft.com/office/drawing/2014/main" id="{2FF53B4A-334E-4924-BF1C-438DB6679D2B}"/>
              </a:ext>
            </a:extLst>
          </p:cNvPr>
          <p:cNvSpPr>
            <a:spLocks noGrp="1"/>
          </p:cNvSpPr>
          <p:nvPr>
            <p:ph type="dt" sz="half" idx="2"/>
          </p:nvPr>
        </p:nvSpPr>
        <p:spPr>
          <a:xfrm>
            <a:off x="4326699" y="6330528"/>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8189B495-C64C-4ACC-A37B-BD8AFD4F2ABD}" type="datetime1">
              <a:rPr lang="de-DE" smtClean="0"/>
              <a:pPr/>
              <a:t>20.04.2023</a:t>
            </a:fld>
            <a:endParaRPr lang="de-DE" dirty="0"/>
          </a:p>
        </p:txBody>
      </p:sp>
    </p:spTree>
    <p:extLst>
      <p:ext uri="{BB962C8B-B14F-4D97-AF65-F5344CB8AC3E}">
        <p14:creationId xmlns:p14="http://schemas.microsoft.com/office/powerpoint/2010/main" val="3069049701"/>
      </p:ext>
    </p:extLst>
  </p:cSld>
  <p:clrMapOvr>
    <a:masterClrMapping/>
  </p:clrMapOvr>
  <p:hf hdr="0"/>
  <p:extLst>
    <p:ext uri="{DCECCB84-F9BA-43D5-87BE-67443E8EF086}">
      <p15:sldGuideLst xmlns:p15="http://schemas.microsoft.com/office/powerpoint/2012/main">
        <p15:guide id="1" pos="2411">
          <p15:clr>
            <a:srgbClr val="FBAE40"/>
          </p15:clr>
        </p15:guide>
        <p15:guide id="2" orient="horz" pos="191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er links + Text + Navigation">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DDBA651D-E114-4607-9889-C311A3813174}"/>
              </a:ext>
            </a:extLst>
          </p:cNvPr>
          <p:cNvSpPr>
            <a:spLocks noGrp="1"/>
          </p:cNvSpPr>
          <p:nvPr>
            <p:ph type="pic" sz="quarter" idx="13"/>
          </p:nvPr>
        </p:nvSpPr>
        <p:spPr>
          <a:xfrm>
            <a:off x="-8225" y="-19051"/>
            <a:ext cx="3362151" cy="3448035"/>
          </a:xfrm>
          <a:solidFill>
            <a:schemeClr val="accent2"/>
          </a:solidFill>
        </p:spPr>
        <p:txBody>
          <a:bodyPr anchor="ctr"/>
          <a:lstStyle>
            <a:lvl1pPr algn="ctr">
              <a:defRPr sz="2000" b="0">
                <a:solidFill>
                  <a:schemeClr val="bg1">
                    <a:lumMod val="65000"/>
                  </a:schemeClr>
                </a:solidFill>
                <a:latin typeface="+mn-lt"/>
              </a:defRPr>
            </a:lvl1pPr>
          </a:lstStyle>
          <a:p>
            <a:r>
              <a:rPr lang="de-DE"/>
              <a:t>Bild durch Klicken auf Symbol hinzufügen</a:t>
            </a:r>
            <a:endParaRPr lang="de-DE" dirty="0"/>
          </a:p>
        </p:txBody>
      </p:sp>
      <p:sp>
        <p:nvSpPr>
          <p:cNvPr id="32" name="Bildplatzhalter 5">
            <a:extLst>
              <a:ext uri="{FF2B5EF4-FFF2-40B4-BE49-F238E27FC236}">
                <a16:creationId xmlns:a16="http://schemas.microsoft.com/office/drawing/2014/main" id="{61E63147-F22B-4A04-A594-4BBFA5D7C5B4}"/>
              </a:ext>
            </a:extLst>
          </p:cNvPr>
          <p:cNvSpPr>
            <a:spLocks noGrp="1"/>
          </p:cNvSpPr>
          <p:nvPr>
            <p:ph type="pic" sz="quarter" idx="14"/>
          </p:nvPr>
        </p:nvSpPr>
        <p:spPr>
          <a:xfrm>
            <a:off x="-8224" y="3428999"/>
            <a:ext cx="3362151" cy="3419475"/>
          </a:xfrm>
          <a:solidFill>
            <a:schemeClr val="accent2"/>
          </a:solidFill>
        </p:spPr>
        <p:txBody>
          <a:bodyPr anchor="ctr"/>
          <a:lstStyle>
            <a:lvl1pPr algn="ctr">
              <a:defRPr sz="2000" b="0">
                <a:solidFill>
                  <a:schemeClr val="bg1">
                    <a:lumMod val="65000"/>
                  </a:schemeClr>
                </a:solidFill>
                <a:latin typeface="+mn-lt"/>
              </a:defRPr>
            </a:lvl1pPr>
          </a:lstStyle>
          <a:p>
            <a:r>
              <a:rPr lang="de-DE"/>
              <a:t>Bild durch Klicken auf Symbol hinzufügen</a:t>
            </a:r>
            <a:endParaRPr lang="de-DE" dirty="0"/>
          </a:p>
        </p:txBody>
      </p:sp>
      <p:graphicFrame>
        <p:nvGraphicFramePr>
          <p:cNvPr id="4" name="Objekt 3" hidden="1">
            <a:extLst>
              <a:ext uri="{FF2B5EF4-FFF2-40B4-BE49-F238E27FC236}">
                <a16:creationId xmlns:a16="http://schemas.microsoft.com/office/drawing/2014/main" id="{65E42E98-370F-437C-AD70-D37D3BE5ACBA}"/>
              </a:ext>
            </a:extLst>
          </p:cNvPr>
          <p:cNvGraphicFramePr>
            <a:graphicFrameLocks noChangeAspect="1"/>
          </p:cNvGraphicFramePr>
          <p:nvPr userDrawn="1">
            <p:custDataLst>
              <p:tags r:id="rId1"/>
            </p:custDataLst>
            <p:extLst>
              <p:ext uri="{D42A27DB-BD31-4B8C-83A1-F6EECF244321}">
                <p14:modId xmlns:p14="http://schemas.microsoft.com/office/powerpoint/2010/main" val="163494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4" name="Objekt 3" hidden="1">
                        <a:extLst>
                          <a:ext uri="{FF2B5EF4-FFF2-40B4-BE49-F238E27FC236}">
                            <a16:creationId xmlns:a16="http://schemas.microsoft.com/office/drawing/2014/main" id="{65E42E98-370F-437C-AD70-D37D3BE5AC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 name="Gerade Verbindung 2">
            <a:extLst>
              <a:ext uri="{FF2B5EF4-FFF2-40B4-BE49-F238E27FC236}">
                <a16:creationId xmlns:a16="http://schemas.microsoft.com/office/drawing/2014/main" id="{EC3C38D3-F2CD-F847-854A-F18BC84ED701}"/>
              </a:ext>
            </a:extLst>
          </p:cNvPr>
          <p:cNvCxnSpPr>
            <a:cxnSpLocks/>
          </p:cNvCxnSpPr>
          <p:nvPr userDrawn="1"/>
        </p:nvCxnSpPr>
        <p:spPr>
          <a:xfrm flipH="1">
            <a:off x="-14139" y="3429000"/>
            <a:ext cx="340980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platzhalter 2">
            <a:extLst>
              <a:ext uri="{FF2B5EF4-FFF2-40B4-BE49-F238E27FC236}">
                <a16:creationId xmlns:a16="http://schemas.microsoft.com/office/drawing/2014/main" id="{E45B7302-96D1-45E3-82A1-018C8521A1D8}"/>
              </a:ext>
            </a:extLst>
          </p:cNvPr>
          <p:cNvSpPr>
            <a:spLocks noGrp="1"/>
          </p:cNvSpPr>
          <p:nvPr>
            <p:ph type="body" idx="10"/>
          </p:nvPr>
        </p:nvSpPr>
        <p:spPr>
          <a:xfrm>
            <a:off x="3827463" y="1493517"/>
            <a:ext cx="7848602" cy="461325"/>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9" name="Textplatzhalter 2">
            <a:extLst>
              <a:ext uri="{FF2B5EF4-FFF2-40B4-BE49-F238E27FC236}">
                <a16:creationId xmlns:a16="http://schemas.microsoft.com/office/drawing/2014/main" id="{D443E838-AED4-45A0-A99B-6CE8316CABF4}"/>
              </a:ext>
            </a:extLst>
          </p:cNvPr>
          <p:cNvSpPr>
            <a:spLocks noGrp="1"/>
          </p:cNvSpPr>
          <p:nvPr>
            <p:ph type="body" idx="11"/>
          </p:nvPr>
        </p:nvSpPr>
        <p:spPr>
          <a:xfrm>
            <a:off x="3827463" y="3747051"/>
            <a:ext cx="7848602" cy="461325"/>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0" name="Titel 1">
            <a:extLst>
              <a:ext uri="{FF2B5EF4-FFF2-40B4-BE49-F238E27FC236}">
                <a16:creationId xmlns:a16="http://schemas.microsoft.com/office/drawing/2014/main" id="{5DCE0CC1-357A-4170-AD6E-9341D889E58F}"/>
              </a:ext>
            </a:extLst>
          </p:cNvPr>
          <p:cNvSpPr>
            <a:spLocks noGrp="1"/>
          </p:cNvSpPr>
          <p:nvPr>
            <p:ph type="ctrTitle" hasCustomPrompt="1"/>
          </p:nvPr>
        </p:nvSpPr>
        <p:spPr>
          <a:xfrm>
            <a:off x="3827463" y="333375"/>
            <a:ext cx="7848600" cy="647700"/>
          </a:xfrm>
        </p:spPr>
        <p:txBody>
          <a:bodyPr vert="horz" anchor="t"/>
          <a:lstStyle>
            <a:lvl1pPr algn="l">
              <a:lnSpc>
                <a:spcPct val="100000"/>
              </a:lnSpc>
              <a:defRPr sz="2800" b="0">
                <a:solidFill>
                  <a:schemeClr val="tx1"/>
                </a:solidFill>
              </a:defRPr>
            </a:lvl1pPr>
          </a:lstStyle>
          <a:p>
            <a:r>
              <a:rPr lang="de-DE" dirty="0"/>
              <a:t>Überschrift I Headline</a:t>
            </a:r>
          </a:p>
        </p:txBody>
      </p:sp>
      <p:sp>
        <p:nvSpPr>
          <p:cNvPr id="21" name="Textplatzhalter 2">
            <a:extLst>
              <a:ext uri="{FF2B5EF4-FFF2-40B4-BE49-F238E27FC236}">
                <a16:creationId xmlns:a16="http://schemas.microsoft.com/office/drawing/2014/main" id="{DB07444C-CE66-4BC0-B330-E8F4D05703C1}"/>
              </a:ext>
            </a:extLst>
          </p:cNvPr>
          <p:cNvSpPr>
            <a:spLocks noGrp="1"/>
          </p:cNvSpPr>
          <p:nvPr>
            <p:ph idx="1"/>
          </p:nvPr>
        </p:nvSpPr>
        <p:spPr>
          <a:xfrm>
            <a:off x="3827462" y="2115232"/>
            <a:ext cx="7848602"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2" name="Textplatzhalter 2">
            <a:extLst>
              <a:ext uri="{FF2B5EF4-FFF2-40B4-BE49-F238E27FC236}">
                <a16:creationId xmlns:a16="http://schemas.microsoft.com/office/drawing/2014/main" id="{498F4914-3738-4F17-807C-2D2F0CDD958A}"/>
              </a:ext>
            </a:extLst>
          </p:cNvPr>
          <p:cNvSpPr>
            <a:spLocks noGrp="1"/>
          </p:cNvSpPr>
          <p:nvPr>
            <p:ph idx="15"/>
          </p:nvPr>
        </p:nvSpPr>
        <p:spPr>
          <a:xfrm>
            <a:off x="3827463" y="4394546"/>
            <a:ext cx="7848602"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4" name="Foliennummernplatzhalter 5">
            <a:extLst>
              <a:ext uri="{FF2B5EF4-FFF2-40B4-BE49-F238E27FC236}">
                <a16:creationId xmlns:a16="http://schemas.microsoft.com/office/drawing/2014/main" id="{01E1C9EC-540D-4357-872A-5F104DBD7D2E}"/>
              </a:ext>
            </a:extLst>
          </p:cNvPr>
          <p:cNvSpPr>
            <a:spLocks noGrp="1"/>
          </p:cNvSpPr>
          <p:nvPr>
            <p:ph type="sldNum" sz="quarter" idx="4"/>
          </p:nvPr>
        </p:nvSpPr>
        <p:spPr>
          <a:xfrm>
            <a:off x="384968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5" name="Fußzeilenplatzhalter 3">
            <a:extLst>
              <a:ext uri="{FF2B5EF4-FFF2-40B4-BE49-F238E27FC236}">
                <a16:creationId xmlns:a16="http://schemas.microsoft.com/office/drawing/2014/main" id="{15D42A8F-4D51-4FA1-AE6D-2460CB2B65FD}"/>
              </a:ext>
            </a:extLst>
          </p:cNvPr>
          <p:cNvSpPr>
            <a:spLocks noGrp="1"/>
          </p:cNvSpPr>
          <p:nvPr>
            <p:ph type="ftr" sz="quarter" idx="3"/>
          </p:nvPr>
        </p:nvSpPr>
        <p:spPr>
          <a:xfrm>
            <a:off x="503041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16" name="Datumsplatzhalter 8">
            <a:extLst>
              <a:ext uri="{FF2B5EF4-FFF2-40B4-BE49-F238E27FC236}">
                <a16:creationId xmlns:a16="http://schemas.microsoft.com/office/drawing/2014/main" id="{0E903174-228A-48D5-BA67-1EB0CAE8BDA4}"/>
              </a:ext>
            </a:extLst>
          </p:cNvPr>
          <p:cNvSpPr>
            <a:spLocks noGrp="1"/>
          </p:cNvSpPr>
          <p:nvPr>
            <p:ph type="dt" sz="half" idx="2"/>
          </p:nvPr>
        </p:nvSpPr>
        <p:spPr>
          <a:xfrm>
            <a:off x="433622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49289516-8DDE-4BC6-A812-E693655BC73F}" type="datetime1">
              <a:rPr lang="de-DE" smtClean="0"/>
              <a:pPr/>
              <a:t>20.04.2023</a:t>
            </a:fld>
            <a:endParaRPr lang="de-DE" dirty="0"/>
          </a:p>
        </p:txBody>
      </p:sp>
    </p:spTree>
    <p:extLst>
      <p:ext uri="{BB962C8B-B14F-4D97-AF65-F5344CB8AC3E}">
        <p14:creationId xmlns:p14="http://schemas.microsoft.com/office/powerpoint/2010/main" val="3017662796"/>
      </p:ext>
    </p:extLst>
  </p:cSld>
  <p:clrMapOvr>
    <a:masterClrMapping/>
  </p:clrMapOvr>
  <p:hf hdr="0"/>
  <p:extLst>
    <p:ext uri="{DCECCB84-F9BA-43D5-87BE-67443E8EF086}">
      <p15:sldGuideLst xmlns:p15="http://schemas.microsoft.com/office/powerpoint/2012/main">
        <p15:guide id="1" pos="2411">
          <p15:clr>
            <a:srgbClr val="FBAE40"/>
          </p15:clr>
        </p15:guide>
        <p15:guide id="2" orient="horz" pos="191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Leer">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7958B8C8-CAFE-42A7-8053-5C66C74F1E46}"/>
              </a:ext>
            </a:extLst>
          </p:cNvPr>
          <p:cNvSpPr>
            <a:spLocks noGrp="1"/>
          </p:cNvSpPr>
          <p:nvPr>
            <p:ph type="pic" sz="quarter" idx="13"/>
          </p:nvPr>
        </p:nvSpPr>
        <p:spPr>
          <a:xfrm>
            <a:off x="8846300" y="0"/>
            <a:ext cx="3345700" cy="6839277"/>
          </a:xfrm>
          <a:custGeom>
            <a:avLst/>
            <a:gdLst>
              <a:gd name="connsiteX0" fmla="*/ 1351215 w 3345700"/>
              <a:gd name="connsiteY0" fmla="*/ 6078036 h 6839277"/>
              <a:gd name="connsiteX1" fmla="*/ 1351215 w 3345700"/>
              <a:gd name="connsiteY1" fmla="*/ 6655074 h 6839277"/>
              <a:gd name="connsiteX2" fmla="*/ 3064869 w 3345700"/>
              <a:gd name="connsiteY2" fmla="*/ 6655074 h 6839277"/>
              <a:gd name="connsiteX3" fmla="*/ 3064869 w 3345700"/>
              <a:gd name="connsiteY3" fmla="*/ 6078036 h 6839277"/>
              <a:gd name="connsiteX4" fmla="*/ 0 w 3345700"/>
              <a:gd name="connsiteY4" fmla="*/ 0 h 6839277"/>
              <a:gd name="connsiteX5" fmla="*/ 3345700 w 3345700"/>
              <a:gd name="connsiteY5" fmla="*/ 0 h 6839277"/>
              <a:gd name="connsiteX6" fmla="*/ 3345700 w 3345700"/>
              <a:gd name="connsiteY6" fmla="*/ 6839277 h 6839277"/>
              <a:gd name="connsiteX7" fmla="*/ 0 w 3345700"/>
              <a:gd name="connsiteY7" fmla="*/ 6839277 h 683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5700" h="6839277">
                <a:moveTo>
                  <a:pt x="1351215" y="6078036"/>
                </a:moveTo>
                <a:lnTo>
                  <a:pt x="1351215" y="6655074"/>
                </a:lnTo>
                <a:lnTo>
                  <a:pt x="3064869" y="6655074"/>
                </a:lnTo>
                <a:lnTo>
                  <a:pt x="3064869" y="6078036"/>
                </a:lnTo>
                <a:close/>
                <a:moveTo>
                  <a:pt x="0" y="0"/>
                </a:moveTo>
                <a:lnTo>
                  <a:pt x="3345700" y="0"/>
                </a:lnTo>
                <a:lnTo>
                  <a:pt x="3345700" y="6839277"/>
                </a:lnTo>
                <a:lnTo>
                  <a:pt x="0" y="6839277"/>
                </a:lnTo>
                <a:close/>
              </a:path>
            </a:pathLst>
          </a:custGeom>
          <a:solidFill>
            <a:schemeClr val="accent2"/>
          </a:solidFill>
        </p:spPr>
        <p:txBody>
          <a:bodyPr wrap="square" anchor="ctr">
            <a:noAutofit/>
          </a:bodyPr>
          <a:lstStyle>
            <a:lvl1pPr algn="ctr">
              <a:defRPr sz="2000" b="0">
                <a:solidFill>
                  <a:schemeClr val="bg1">
                    <a:lumMod val="65000"/>
                  </a:schemeClr>
                </a:solidFill>
                <a:latin typeface="+mn-lt"/>
              </a:defRPr>
            </a:lvl1pPr>
          </a:lstStyle>
          <a:p>
            <a:r>
              <a:rPr lang="de-DE"/>
              <a:t>Bild durch Klicken auf Symbol hinzufügen</a:t>
            </a:r>
            <a:endParaRPr lang="de-DE" dirty="0"/>
          </a:p>
        </p:txBody>
      </p:sp>
      <p:sp>
        <p:nvSpPr>
          <p:cNvPr id="12" name="Titel 1">
            <a:extLst>
              <a:ext uri="{FF2B5EF4-FFF2-40B4-BE49-F238E27FC236}">
                <a16:creationId xmlns:a16="http://schemas.microsoft.com/office/drawing/2014/main" id="{A6868568-F595-3A49-81B7-E70EE5D7CEDE}"/>
              </a:ext>
            </a:extLst>
          </p:cNvPr>
          <p:cNvSpPr>
            <a:spLocks noGrp="1"/>
          </p:cNvSpPr>
          <p:nvPr>
            <p:ph type="title" hasCustomPrompt="1"/>
          </p:nvPr>
        </p:nvSpPr>
        <p:spPr>
          <a:xfrm>
            <a:off x="514540" y="340234"/>
            <a:ext cx="7824478" cy="853467"/>
          </a:xfrm>
        </p:spPr>
        <p:txBody>
          <a:bodyPr vert="horz"/>
          <a:lstStyle>
            <a:lvl1pPr>
              <a:defRPr b="0">
                <a:latin typeface="+mn-lt"/>
              </a:defRPr>
            </a:lvl1pPr>
          </a:lstStyle>
          <a:p>
            <a:r>
              <a:rPr lang="de-DE" dirty="0"/>
              <a:t>Überschrift I Headline</a:t>
            </a:r>
          </a:p>
        </p:txBody>
      </p:sp>
      <p:sp>
        <p:nvSpPr>
          <p:cNvPr id="13" name="Textplatzhalter 4">
            <a:extLst>
              <a:ext uri="{FF2B5EF4-FFF2-40B4-BE49-F238E27FC236}">
                <a16:creationId xmlns:a16="http://schemas.microsoft.com/office/drawing/2014/main" id="{8C2EBE95-CD31-5247-9471-79AD41C15508}"/>
              </a:ext>
            </a:extLst>
          </p:cNvPr>
          <p:cNvSpPr>
            <a:spLocks noGrp="1"/>
          </p:cNvSpPr>
          <p:nvPr>
            <p:ph type="body" sz="quarter" idx="17" hasCustomPrompt="1"/>
          </p:nvPr>
        </p:nvSpPr>
        <p:spPr>
          <a:xfrm>
            <a:off x="515938" y="831428"/>
            <a:ext cx="7822992" cy="362273"/>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bearbeiten I Edit </a:t>
            </a:r>
            <a:r>
              <a:rPr lang="de-DE" dirty="0" err="1"/>
              <a:t>subtitles</a:t>
            </a:r>
            <a:endParaRPr lang="de-DE" dirty="0"/>
          </a:p>
        </p:txBody>
      </p:sp>
      <p:sp>
        <p:nvSpPr>
          <p:cNvPr id="15" name="Textplatzhalter 2">
            <a:extLst>
              <a:ext uri="{FF2B5EF4-FFF2-40B4-BE49-F238E27FC236}">
                <a16:creationId xmlns:a16="http://schemas.microsoft.com/office/drawing/2014/main" id="{3AB03A04-FA85-42CF-9FF6-36EBA9F67533}"/>
              </a:ext>
            </a:extLst>
          </p:cNvPr>
          <p:cNvSpPr>
            <a:spLocks noGrp="1"/>
          </p:cNvSpPr>
          <p:nvPr>
            <p:ph type="body" idx="10"/>
          </p:nvPr>
        </p:nvSpPr>
        <p:spPr>
          <a:xfrm>
            <a:off x="514540" y="1473639"/>
            <a:ext cx="7822992" cy="461325"/>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Textplatzhalter 2">
            <a:extLst>
              <a:ext uri="{FF2B5EF4-FFF2-40B4-BE49-F238E27FC236}">
                <a16:creationId xmlns:a16="http://schemas.microsoft.com/office/drawing/2014/main" id="{F6044BCB-E4BE-4F27-9EEC-5E1B167E15A6}"/>
              </a:ext>
            </a:extLst>
          </p:cNvPr>
          <p:cNvSpPr>
            <a:spLocks noGrp="1"/>
          </p:cNvSpPr>
          <p:nvPr>
            <p:ph type="body" idx="11"/>
          </p:nvPr>
        </p:nvSpPr>
        <p:spPr>
          <a:xfrm>
            <a:off x="514540" y="3747051"/>
            <a:ext cx="7822992" cy="461325"/>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7" name="Textplatzhalter 2">
            <a:extLst>
              <a:ext uri="{FF2B5EF4-FFF2-40B4-BE49-F238E27FC236}">
                <a16:creationId xmlns:a16="http://schemas.microsoft.com/office/drawing/2014/main" id="{B978D86B-2F1D-4155-8EBB-0B5C72E8290D}"/>
              </a:ext>
            </a:extLst>
          </p:cNvPr>
          <p:cNvSpPr>
            <a:spLocks noGrp="1"/>
          </p:cNvSpPr>
          <p:nvPr>
            <p:ph idx="1"/>
          </p:nvPr>
        </p:nvSpPr>
        <p:spPr>
          <a:xfrm>
            <a:off x="514539" y="2115232"/>
            <a:ext cx="7822992" cy="1313768"/>
          </a:xfrm>
          <a:prstGeom prst="rect">
            <a:avLst/>
          </a:prstGeom>
        </p:spPr>
        <p:txBody>
          <a:bodyPr vert="horz" lIns="91440" tIns="45720" rIns="91440" bIns="45720" rtlCol="0">
            <a:normAutofit/>
          </a:bodyPr>
          <a:lstStyle>
            <a:lvl1pPr marL="0" indent="0">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8" name="Textplatzhalter 2">
            <a:extLst>
              <a:ext uri="{FF2B5EF4-FFF2-40B4-BE49-F238E27FC236}">
                <a16:creationId xmlns:a16="http://schemas.microsoft.com/office/drawing/2014/main" id="{DDED4F96-1124-4A3E-9972-17B591BBD57C}"/>
              </a:ext>
            </a:extLst>
          </p:cNvPr>
          <p:cNvSpPr>
            <a:spLocks noGrp="1"/>
          </p:cNvSpPr>
          <p:nvPr>
            <p:ph idx="15"/>
          </p:nvPr>
        </p:nvSpPr>
        <p:spPr>
          <a:xfrm>
            <a:off x="532303" y="4394546"/>
            <a:ext cx="7822992"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2" name="Foliennummernplatzhalter 5">
            <a:extLst>
              <a:ext uri="{FF2B5EF4-FFF2-40B4-BE49-F238E27FC236}">
                <a16:creationId xmlns:a16="http://schemas.microsoft.com/office/drawing/2014/main" id="{97B837A3-6F35-4DC0-B459-C97E280C6178}"/>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23" name="Fußzeilenplatzhalter 3">
            <a:extLst>
              <a:ext uri="{FF2B5EF4-FFF2-40B4-BE49-F238E27FC236}">
                <a16:creationId xmlns:a16="http://schemas.microsoft.com/office/drawing/2014/main" id="{BEC7606E-95C9-4069-B619-8218429B5E99}"/>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24" name="Datumsplatzhalter 8">
            <a:extLst>
              <a:ext uri="{FF2B5EF4-FFF2-40B4-BE49-F238E27FC236}">
                <a16:creationId xmlns:a16="http://schemas.microsoft.com/office/drawing/2014/main" id="{83D96F44-6146-4F95-A800-8EF5BCA7B07D}"/>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10D83E41-B7A6-454C-8C24-59A845B21408}" type="datetime1">
              <a:rPr lang="de-DE" smtClean="0"/>
              <a:pPr/>
              <a:t>20.04.2023</a:t>
            </a:fld>
            <a:endParaRPr lang="de-DE" dirty="0"/>
          </a:p>
        </p:txBody>
      </p:sp>
    </p:spTree>
    <p:extLst>
      <p:ext uri="{BB962C8B-B14F-4D97-AF65-F5344CB8AC3E}">
        <p14:creationId xmlns:p14="http://schemas.microsoft.com/office/powerpoint/2010/main" val="1122395653"/>
      </p:ext>
    </p:extLst>
  </p:cSld>
  <p:clrMapOvr>
    <a:masterClrMapping/>
  </p:clrMapOvr>
  <p:hf hdr="0"/>
  <p:extLst>
    <p:ext uri="{DCECCB84-F9BA-43D5-87BE-67443E8EF086}">
      <p15:sldGuideLst xmlns:p15="http://schemas.microsoft.com/office/powerpoint/2012/main">
        <p15:guide id="1" pos="4520">
          <p15:clr>
            <a:srgbClr val="FBAE40"/>
          </p15:clr>
        </p15:guide>
        <p15:guide id="2" orient="horz" pos="1911">
          <p15:clr>
            <a:srgbClr val="FBAE40"/>
          </p15:clr>
        </p15:guide>
        <p15:guide id="3" pos="71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Leer">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1205BD9-5B50-4C73-A3B8-2BDDDF581F7E}"/>
              </a:ext>
            </a:extLst>
          </p:cNvPr>
          <p:cNvGraphicFramePr>
            <a:graphicFrameLocks noChangeAspect="1"/>
          </p:cNvGraphicFramePr>
          <p:nvPr userDrawn="1">
            <p:custDataLst>
              <p:tags r:id="rId1"/>
            </p:custDataLst>
            <p:extLst>
              <p:ext uri="{D42A27DB-BD31-4B8C-83A1-F6EECF244321}">
                <p14:modId xmlns:p14="http://schemas.microsoft.com/office/powerpoint/2010/main" val="3000778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4" name="Objekt 3" hidden="1">
                        <a:extLst>
                          <a:ext uri="{FF2B5EF4-FFF2-40B4-BE49-F238E27FC236}">
                            <a16:creationId xmlns:a16="http://schemas.microsoft.com/office/drawing/2014/main" id="{91205BD9-5B50-4C73-A3B8-2BDDDF581F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hteck 28">
            <a:extLst>
              <a:ext uri="{FF2B5EF4-FFF2-40B4-BE49-F238E27FC236}">
                <a16:creationId xmlns:a16="http://schemas.microsoft.com/office/drawing/2014/main" id="{E6193698-66BD-41AB-9D47-C3D4932D23BF}"/>
              </a:ext>
            </a:extLst>
          </p:cNvPr>
          <p:cNvSpPr/>
          <p:nvPr userDrawn="1"/>
        </p:nvSpPr>
        <p:spPr>
          <a:xfrm>
            <a:off x="8446501" y="6369049"/>
            <a:ext cx="1789699" cy="3059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2" name="Bildplatzhalter 31">
            <a:extLst>
              <a:ext uri="{FF2B5EF4-FFF2-40B4-BE49-F238E27FC236}">
                <a16:creationId xmlns:a16="http://schemas.microsoft.com/office/drawing/2014/main" id="{8565B0AF-2EF3-9643-8325-EFFCEBCDAA02}"/>
              </a:ext>
            </a:extLst>
          </p:cNvPr>
          <p:cNvSpPr>
            <a:spLocks noGrp="1"/>
          </p:cNvSpPr>
          <p:nvPr>
            <p:ph type="pic" sz="quarter" idx="14"/>
          </p:nvPr>
        </p:nvSpPr>
        <p:spPr>
          <a:xfrm>
            <a:off x="8846300" y="3432175"/>
            <a:ext cx="3345700" cy="3430904"/>
          </a:xfrm>
          <a:solidFill>
            <a:schemeClr val="accent2"/>
          </a:solidFill>
        </p:spPr>
        <p:txBody>
          <a:bodyPr anchor="ctr"/>
          <a:lstStyle>
            <a:lvl1pPr algn="ctr">
              <a:defRPr sz="2000" b="0">
                <a:solidFill>
                  <a:schemeClr val="bg1">
                    <a:lumMod val="65000"/>
                  </a:schemeClr>
                </a:solidFill>
                <a:latin typeface="+mn-lt"/>
              </a:defRPr>
            </a:lvl1pPr>
          </a:lstStyle>
          <a:p>
            <a:r>
              <a:rPr lang="de-DE"/>
              <a:t>Bild durch Klicken auf Symbol hinzufügen</a:t>
            </a:r>
            <a:endParaRPr lang="de-DE" dirty="0"/>
          </a:p>
        </p:txBody>
      </p:sp>
      <p:sp>
        <p:nvSpPr>
          <p:cNvPr id="20" name="Bildplatzhalter 31">
            <a:extLst>
              <a:ext uri="{FF2B5EF4-FFF2-40B4-BE49-F238E27FC236}">
                <a16:creationId xmlns:a16="http://schemas.microsoft.com/office/drawing/2014/main" id="{F9C7625C-CB5B-A54F-BA62-2F69D7398AA8}"/>
              </a:ext>
            </a:extLst>
          </p:cNvPr>
          <p:cNvSpPr>
            <a:spLocks noGrp="1"/>
          </p:cNvSpPr>
          <p:nvPr>
            <p:ph type="pic" sz="quarter" idx="13"/>
          </p:nvPr>
        </p:nvSpPr>
        <p:spPr>
          <a:xfrm>
            <a:off x="8846300" y="0"/>
            <a:ext cx="3345700" cy="3432175"/>
          </a:xfrm>
          <a:solidFill>
            <a:schemeClr val="accent2"/>
          </a:solidFill>
        </p:spPr>
        <p:txBody>
          <a:bodyPr anchor="ctr"/>
          <a:lstStyle>
            <a:lvl1pPr algn="ctr">
              <a:defRPr sz="2000" b="0">
                <a:solidFill>
                  <a:schemeClr val="bg1">
                    <a:lumMod val="65000"/>
                  </a:schemeClr>
                </a:solidFill>
                <a:latin typeface="+mn-lt"/>
              </a:defRPr>
            </a:lvl1pPr>
          </a:lstStyle>
          <a:p>
            <a:r>
              <a:rPr lang="de-DE"/>
              <a:t>Bild durch Klicken auf Symbol hinzufügen</a:t>
            </a:r>
            <a:endParaRPr lang="de-DE" dirty="0"/>
          </a:p>
        </p:txBody>
      </p:sp>
      <p:cxnSp>
        <p:nvCxnSpPr>
          <p:cNvPr id="3" name="Gerade Verbindung 2">
            <a:extLst>
              <a:ext uri="{FF2B5EF4-FFF2-40B4-BE49-F238E27FC236}">
                <a16:creationId xmlns:a16="http://schemas.microsoft.com/office/drawing/2014/main" id="{EC3C38D3-F2CD-F847-854A-F18BC84ED701}"/>
              </a:ext>
            </a:extLst>
          </p:cNvPr>
          <p:cNvCxnSpPr>
            <a:cxnSpLocks/>
          </p:cNvCxnSpPr>
          <p:nvPr userDrawn="1"/>
        </p:nvCxnSpPr>
        <p:spPr>
          <a:xfrm flipH="1" flipV="1">
            <a:off x="8846300" y="3424319"/>
            <a:ext cx="3345700" cy="93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platzhalter 4">
            <a:extLst>
              <a:ext uri="{FF2B5EF4-FFF2-40B4-BE49-F238E27FC236}">
                <a16:creationId xmlns:a16="http://schemas.microsoft.com/office/drawing/2014/main" id="{6A6F16D8-28EB-46C9-B487-E4B81E4E7EC2}"/>
              </a:ext>
            </a:extLst>
          </p:cNvPr>
          <p:cNvSpPr>
            <a:spLocks noGrp="1"/>
          </p:cNvSpPr>
          <p:nvPr>
            <p:ph type="body" sz="quarter" idx="17" hasCustomPrompt="1"/>
          </p:nvPr>
        </p:nvSpPr>
        <p:spPr>
          <a:xfrm>
            <a:off x="515938" y="831428"/>
            <a:ext cx="7822992" cy="381146"/>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bearbeiten I Edit </a:t>
            </a:r>
            <a:r>
              <a:rPr lang="de-DE" dirty="0" err="1"/>
              <a:t>subtitles</a:t>
            </a:r>
            <a:endParaRPr lang="de-DE" dirty="0"/>
          </a:p>
        </p:txBody>
      </p:sp>
      <p:sp>
        <p:nvSpPr>
          <p:cNvPr id="23" name="Textplatzhalter 2">
            <a:extLst>
              <a:ext uri="{FF2B5EF4-FFF2-40B4-BE49-F238E27FC236}">
                <a16:creationId xmlns:a16="http://schemas.microsoft.com/office/drawing/2014/main" id="{09652BC6-649B-407D-AAAC-6AD6B0C85748}"/>
              </a:ext>
            </a:extLst>
          </p:cNvPr>
          <p:cNvSpPr>
            <a:spLocks noGrp="1"/>
          </p:cNvSpPr>
          <p:nvPr>
            <p:ph type="body" idx="10"/>
          </p:nvPr>
        </p:nvSpPr>
        <p:spPr>
          <a:xfrm>
            <a:off x="514540" y="1473639"/>
            <a:ext cx="7822992" cy="461325"/>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Textplatzhalter 2">
            <a:extLst>
              <a:ext uri="{FF2B5EF4-FFF2-40B4-BE49-F238E27FC236}">
                <a16:creationId xmlns:a16="http://schemas.microsoft.com/office/drawing/2014/main" id="{C0DA878B-BA4F-46E0-B9EB-334B81905DE1}"/>
              </a:ext>
            </a:extLst>
          </p:cNvPr>
          <p:cNvSpPr>
            <a:spLocks noGrp="1"/>
          </p:cNvSpPr>
          <p:nvPr>
            <p:ph type="body" idx="11"/>
          </p:nvPr>
        </p:nvSpPr>
        <p:spPr>
          <a:xfrm>
            <a:off x="514540" y="3747051"/>
            <a:ext cx="7822992" cy="461325"/>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6" name="Textplatzhalter 2">
            <a:extLst>
              <a:ext uri="{FF2B5EF4-FFF2-40B4-BE49-F238E27FC236}">
                <a16:creationId xmlns:a16="http://schemas.microsoft.com/office/drawing/2014/main" id="{11C3680E-2986-4889-A89A-327082B407AD}"/>
              </a:ext>
            </a:extLst>
          </p:cNvPr>
          <p:cNvSpPr>
            <a:spLocks noGrp="1"/>
          </p:cNvSpPr>
          <p:nvPr>
            <p:ph idx="1"/>
          </p:nvPr>
        </p:nvSpPr>
        <p:spPr>
          <a:xfrm>
            <a:off x="514539" y="2115232"/>
            <a:ext cx="7822992" cy="1313768"/>
          </a:xfrm>
          <a:prstGeom prst="rect">
            <a:avLst/>
          </a:prstGeom>
        </p:spPr>
        <p:txBody>
          <a:bodyPr vert="horz" lIns="91440" tIns="45720" rIns="91440" bIns="45720" rtlCol="0">
            <a:normAutofit/>
          </a:bodyPr>
          <a:lstStyle>
            <a:lvl1pPr marL="0" indent="0">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8" name="Textplatzhalter 2">
            <a:extLst>
              <a:ext uri="{FF2B5EF4-FFF2-40B4-BE49-F238E27FC236}">
                <a16:creationId xmlns:a16="http://schemas.microsoft.com/office/drawing/2014/main" id="{20BCBEA8-0FA1-4BA6-9ADE-332849CF2BC2}"/>
              </a:ext>
            </a:extLst>
          </p:cNvPr>
          <p:cNvSpPr>
            <a:spLocks noGrp="1"/>
          </p:cNvSpPr>
          <p:nvPr>
            <p:ph idx="15"/>
          </p:nvPr>
        </p:nvSpPr>
        <p:spPr>
          <a:xfrm>
            <a:off x="532303" y="4394546"/>
            <a:ext cx="7822992"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5" name="Foliennummernplatzhalter 5">
            <a:extLst>
              <a:ext uri="{FF2B5EF4-FFF2-40B4-BE49-F238E27FC236}">
                <a16:creationId xmlns:a16="http://schemas.microsoft.com/office/drawing/2014/main" id="{8EBD6288-B15B-4572-9A5F-05C670A36F29}"/>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27" name="Fußzeilenplatzhalter 3">
            <a:extLst>
              <a:ext uri="{FF2B5EF4-FFF2-40B4-BE49-F238E27FC236}">
                <a16:creationId xmlns:a16="http://schemas.microsoft.com/office/drawing/2014/main" id="{17BDAA63-A3E9-486A-A4D9-574AD5E811F8}"/>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30" name="Datumsplatzhalter 8">
            <a:extLst>
              <a:ext uri="{FF2B5EF4-FFF2-40B4-BE49-F238E27FC236}">
                <a16:creationId xmlns:a16="http://schemas.microsoft.com/office/drawing/2014/main" id="{C0CE7711-FF4D-497C-9C41-C566C9E2F328}"/>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C00DBC70-EDB6-41B1-A36D-4541EEA9C44B}" type="datetime1">
              <a:rPr lang="de-DE" smtClean="0"/>
              <a:pPr/>
              <a:t>20.04.2023</a:t>
            </a:fld>
            <a:endParaRPr lang="de-DE" dirty="0"/>
          </a:p>
        </p:txBody>
      </p:sp>
      <p:sp>
        <p:nvSpPr>
          <p:cNvPr id="16" name="Titel 1">
            <a:extLst>
              <a:ext uri="{FF2B5EF4-FFF2-40B4-BE49-F238E27FC236}">
                <a16:creationId xmlns:a16="http://schemas.microsoft.com/office/drawing/2014/main" id="{6C8BAD16-C6D0-4B88-BA37-4527FC9F7796}"/>
              </a:ext>
            </a:extLst>
          </p:cNvPr>
          <p:cNvSpPr>
            <a:spLocks noGrp="1"/>
          </p:cNvSpPr>
          <p:nvPr>
            <p:ph type="title" hasCustomPrompt="1"/>
          </p:nvPr>
        </p:nvSpPr>
        <p:spPr>
          <a:xfrm>
            <a:off x="515938" y="340233"/>
            <a:ext cx="7839357" cy="482195"/>
          </a:xfrm>
        </p:spPr>
        <p:txBody>
          <a:bodyPr vert="horz"/>
          <a:lstStyle>
            <a:lvl1pPr>
              <a:defRPr b="0">
                <a:solidFill>
                  <a:schemeClr val="tx1"/>
                </a:solidFill>
                <a:latin typeface="+mn-lt"/>
              </a:defRPr>
            </a:lvl1pPr>
          </a:lstStyle>
          <a:p>
            <a:r>
              <a:rPr lang="de-DE" dirty="0"/>
              <a:t>Überschrift I Headline</a:t>
            </a:r>
          </a:p>
        </p:txBody>
      </p:sp>
    </p:spTree>
    <p:extLst>
      <p:ext uri="{BB962C8B-B14F-4D97-AF65-F5344CB8AC3E}">
        <p14:creationId xmlns:p14="http://schemas.microsoft.com/office/powerpoint/2010/main" val="3435299647"/>
      </p:ext>
    </p:extLst>
  </p:cSld>
  <p:clrMapOvr>
    <a:masterClrMapping/>
  </p:clrMapOvr>
  <p:hf hdr="0"/>
  <p:extLst>
    <p:ext uri="{DCECCB84-F9BA-43D5-87BE-67443E8EF086}">
      <p15:sldGuideLst xmlns:p15="http://schemas.microsoft.com/office/powerpoint/2012/main">
        <p15:guide id="1" pos="619">
          <p15:clr>
            <a:srgbClr val="FBAE40"/>
          </p15:clr>
        </p15:guide>
        <p15:guide id="2" orient="horz" pos="191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screen Bild/Video">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9BE4D5E-F223-472F-BA01-3258DA8E36BA}"/>
              </a:ext>
            </a:extLst>
          </p:cNvPr>
          <p:cNvGraphicFramePr>
            <a:graphicFrameLocks noChangeAspect="1"/>
          </p:cNvGraphicFramePr>
          <p:nvPr userDrawn="1">
            <p:custDataLst>
              <p:tags r:id="rId1"/>
            </p:custDataLst>
            <p:extLst>
              <p:ext uri="{D42A27DB-BD31-4B8C-83A1-F6EECF244321}">
                <p14:modId xmlns:p14="http://schemas.microsoft.com/office/powerpoint/2010/main" val="374484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4" name="Objekt 3" hidden="1">
                        <a:extLst>
                          <a:ext uri="{FF2B5EF4-FFF2-40B4-BE49-F238E27FC236}">
                            <a16:creationId xmlns:a16="http://schemas.microsoft.com/office/drawing/2014/main" id="{B9BE4D5E-F223-472F-BA01-3258DA8E3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Medienplatzhalter 2">
            <a:extLst>
              <a:ext uri="{FF2B5EF4-FFF2-40B4-BE49-F238E27FC236}">
                <a16:creationId xmlns:a16="http://schemas.microsoft.com/office/drawing/2014/main" id="{506B0D5E-872C-4EA2-9517-8AA1A6A217FA}"/>
              </a:ext>
            </a:extLst>
          </p:cNvPr>
          <p:cNvSpPr>
            <a:spLocks noGrp="1"/>
          </p:cNvSpPr>
          <p:nvPr>
            <p:ph type="media" sz="quarter" idx="10"/>
          </p:nvPr>
        </p:nvSpPr>
        <p:spPr>
          <a:xfrm>
            <a:off x="0" y="0"/>
            <a:ext cx="12192000" cy="6858000"/>
          </a:xfrm>
          <a:solidFill>
            <a:schemeClr val="accent2"/>
          </a:solidFill>
        </p:spPr>
        <p:txBody>
          <a:bodyPr anchor="ctr"/>
          <a:lstStyle>
            <a:lvl1pPr algn="ctr">
              <a:defRPr sz="2000" b="0">
                <a:solidFill>
                  <a:schemeClr val="bg1">
                    <a:lumMod val="65000"/>
                  </a:schemeClr>
                </a:solidFill>
              </a:defRPr>
            </a:lvl1pPr>
          </a:lstStyle>
          <a:p>
            <a:r>
              <a:rPr lang="de-DE"/>
              <a:t>Mediaclip durch Klicken auf Symbol hinzufügen</a:t>
            </a:r>
            <a:endParaRPr lang="de-DE" dirty="0"/>
          </a:p>
        </p:txBody>
      </p:sp>
      <p:sp>
        <p:nvSpPr>
          <p:cNvPr id="9" name="Foliennummernplatzhalter 5">
            <a:extLst>
              <a:ext uri="{FF2B5EF4-FFF2-40B4-BE49-F238E27FC236}">
                <a16:creationId xmlns:a16="http://schemas.microsoft.com/office/drawing/2014/main" id="{FFF51EE3-7AB7-4A96-B157-AE67A6C56C5C}"/>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0" name="Fußzeilenplatzhalter 3">
            <a:extLst>
              <a:ext uri="{FF2B5EF4-FFF2-40B4-BE49-F238E27FC236}">
                <a16:creationId xmlns:a16="http://schemas.microsoft.com/office/drawing/2014/main" id="{7AA6E59F-80B7-44AD-B609-F98ED1E92B35}"/>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11" name="Datumsplatzhalter 8">
            <a:extLst>
              <a:ext uri="{FF2B5EF4-FFF2-40B4-BE49-F238E27FC236}">
                <a16:creationId xmlns:a16="http://schemas.microsoft.com/office/drawing/2014/main" id="{26B7E0A8-0331-4C6B-93D9-01894FF354A5}"/>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8B73B99F-83DA-4158-A252-27D6351BDD45}" type="datetime1">
              <a:rPr lang="de-DE" smtClean="0"/>
              <a:pPr/>
              <a:t>20.04.2023</a:t>
            </a:fld>
            <a:endParaRPr lang="de-DE" dirty="0"/>
          </a:p>
        </p:txBody>
      </p:sp>
    </p:spTree>
    <p:extLst>
      <p:ext uri="{BB962C8B-B14F-4D97-AF65-F5344CB8AC3E}">
        <p14:creationId xmlns:p14="http://schemas.microsoft.com/office/powerpoint/2010/main" val="1874954636"/>
      </p:ext>
    </p:extLst>
  </p:cSld>
  <p:clrMapOvr>
    <a:masterClrMapping/>
  </p:clrMapOvr>
  <p:hf hdr="0"/>
  <p:extLst>
    <p:ext uri="{DCECCB84-F9BA-43D5-87BE-67443E8EF086}">
      <p15:sldGuideLst xmlns:p15="http://schemas.microsoft.com/office/powerpoint/2012/main">
        <p15:guide id="1" pos="4520">
          <p15:clr>
            <a:srgbClr val="FBAE40"/>
          </p15:clr>
        </p15:guide>
        <p15:guide id="2" orient="horz" pos="1911">
          <p15:clr>
            <a:srgbClr val="FBAE40"/>
          </p15:clr>
        </p15:guide>
        <p15:guide id="3" pos="719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6 Bilder ohne Tex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7F6FE709-603B-4CE3-A6FE-984E2796F567}"/>
              </a:ext>
            </a:extLst>
          </p:cNvPr>
          <p:cNvGraphicFramePr>
            <a:graphicFrameLocks noChangeAspect="1"/>
          </p:cNvGraphicFramePr>
          <p:nvPr userDrawn="1">
            <p:custDataLst>
              <p:tags r:id="rId1"/>
            </p:custDataLst>
            <p:extLst>
              <p:ext uri="{D42A27DB-BD31-4B8C-83A1-F6EECF244321}">
                <p14:modId xmlns:p14="http://schemas.microsoft.com/office/powerpoint/2010/main" val="2299852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12" name="Objekt 11" hidden="1">
                        <a:extLst>
                          <a:ext uri="{FF2B5EF4-FFF2-40B4-BE49-F238E27FC236}">
                            <a16:creationId xmlns:a16="http://schemas.microsoft.com/office/drawing/2014/main" id="{7F6FE709-603B-4CE3-A6FE-984E2796F5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p:cNvSpPr>
            <a:spLocks noGrp="1"/>
          </p:cNvSpPr>
          <p:nvPr>
            <p:ph type="pic" sz="quarter" idx="16" hasCustomPrompt="1"/>
          </p:nvPr>
        </p:nvSpPr>
        <p:spPr>
          <a:xfrm>
            <a:off x="-1" y="-2"/>
            <a:ext cx="4057200" cy="3430800"/>
          </a:xfrm>
          <a:solidFill>
            <a:schemeClr val="accent2"/>
          </a:solidFill>
        </p:spPr>
        <p:txBody>
          <a:bodyPr anchor="ctr"/>
          <a:lstStyle>
            <a:lvl1pPr algn="ctr">
              <a:defRPr sz="2000" b="0">
                <a:solidFill>
                  <a:schemeClr val="bg1">
                    <a:lumMod val="65000"/>
                  </a:schemeClr>
                </a:solidFill>
              </a:defRPr>
            </a:lvl1pPr>
          </a:lstStyle>
          <a:p>
            <a:r>
              <a:rPr lang="de-DE" dirty="0"/>
              <a:t>Bild hinzufügen I Add a </a:t>
            </a:r>
            <a:r>
              <a:rPr lang="de-DE" dirty="0" err="1"/>
              <a:t>picture</a:t>
            </a:r>
            <a:endParaRPr lang="de-DE" dirty="0"/>
          </a:p>
        </p:txBody>
      </p:sp>
      <p:sp>
        <p:nvSpPr>
          <p:cNvPr id="14" name="Bildplatzhalter 5"/>
          <p:cNvSpPr>
            <a:spLocks noGrp="1"/>
          </p:cNvSpPr>
          <p:nvPr>
            <p:ph type="pic" sz="quarter" idx="17" hasCustomPrompt="1"/>
          </p:nvPr>
        </p:nvSpPr>
        <p:spPr>
          <a:xfrm>
            <a:off x="-2" y="3429001"/>
            <a:ext cx="4057200" cy="3429000"/>
          </a:xfrm>
          <a:solidFill>
            <a:schemeClr val="accent2"/>
          </a:solidFill>
        </p:spPr>
        <p:txBody>
          <a:bodyPr anchor="ctr"/>
          <a:lstStyle>
            <a:lvl1pPr algn="ctr">
              <a:defRPr sz="2000" b="0">
                <a:solidFill>
                  <a:schemeClr val="bg1">
                    <a:lumMod val="65000"/>
                  </a:schemeClr>
                </a:solidFill>
              </a:defRPr>
            </a:lvl1pPr>
          </a:lstStyle>
          <a:p>
            <a:pPr marL="0" marR="0" lvl="0" indent="0" algn="ctr" defTabSz="914355" rtl="0" eaLnBrk="1" fontAlgn="auto" latinLnBrk="0" hangingPunct="1">
              <a:lnSpc>
                <a:spcPct val="100000"/>
              </a:lnSpc>
              <a:spcBef>
                <a:spcPts val="600"/>
              </a:spcBef>
              <a:spcAft>
                <a:spcPts val="600"/>
              </a:spcAft>
              <a:buClrTx/>
              <a:buSzTx/>
              <a:buFont typeface="Arial" panose="020B0604020202020204" pitchFamily="34" charset="0"/>
              <a:buNone/>
              <a:tabLst/>
              <a:defRPr/>
            </a:pPr>
            <a:r>
              <a:rPr lang="de-DE" dirty="0"/>
              <a:t>Bild hinzufügen I Add a </a:t>
            </a:r>
            <a:r>
              <a:rPr lang="de-DE" dirty="0" err="1"/>
              <a:t>picture</a:t>
            </a:r>
            <a:endParaRPr lang="de-DE" dirty="0"/>
          </a:p>
        </p:txBody>
      </p:sp>
      <p:sp>
        <p:nvSpPr>
          <p:cNvPr id="8" name="Bildplatzhalter 5"/>
          <p:cNvSpPr>
            <a:spLocks noGrp="1"/>
          </p:cNvSpPr>
          <p:nvPr>
            <p:ph type="pic" sz="quarter" idx="18" hasCustomPrompt="1"/>
          </p:nvPr>
        </p:nvSpPr>
        <p:spPr>
          <a:xfrm>
            <a:off x="4067246" y="0"/>
            <a:ext cx="4057200" cy="3430800"/>
          </a:xfrm>
          <a:solidFill>
            <a:schemeClr val="accent2"/>
          </a:solidFill>
        </p:spPr>
        <p:txBody>
          <a:bodyPr anchor="ctr"/>
          <a:lstStyle>
            <a:lvl1pPr algn="ctr">
              <a:defRPr sz="2000" b="0">
                <a:solidFill>
                  <a:schemeClr val="bg1">
                    <a:lumMod val="65000"/>
                  </a:schemeClr>
                </a:solidFill>
              </a:defRPr>
            </a:lvl1pPr>
          </a:lstStyle>
          <a:p>
            <a:pPr marL="0" marR="0" lvl="0" indent="0" algn="ctr" defTabSz="914355" rtl="0" eaLnBrk="1" fontAlgn="auto" latinLnBrk="0" hangingPunct="1">
              <a:lnSpc>
                <a:spcPct val="100000"/>
              </a:lnSpc>
              <a:spcBef>
                <a:spcPts val="600"/>
              </a:spcBef>
              <a:spcAft>
                <a:spcPts val="600"/>
              </a:spcAft>
              <a:buClrTx/>
              <a:buSzTx/>
              <a:buFont typeface="Arial" panose="020B0604020202020204" pitchFamily="34" charset="0"/>
              <a:buNone/>
              <a:tabLst/>
              <a:defRPr/>
            </a:pPr>
            <a:r>
              <a:rPr lang="de-DE" dirty="0"/>
              <a:t>Bild hinzufügen I Add a </a:t>
            </a:r>
            <a:r>
              <a:rPr lang="de-DE" dirty="0" err="1"/>
              <a:t>picture</a:t>
            </a:r>
            <a:endParaRPr lang="de-DE" dirty="0"/>
          </a:p>
        </p:txBody>
      </p:sp>
      <p:sp>
        <p:nvSpPr>
          <p:cNvPr id="9" name="Bildplatzhalter 5"/>
          <p:cNvSpPr>
            <a:spLocks noGrp="1"/>
          </p:cNvSpPr>
          <p:nvPr>
            <p:ph type="pic" sz="quarter" idx="19" hasCustomPrompt="1"/>
          </p:nvPr>
        </p:nvSpPr>
        <p:spPr>
          <a:xfrm>
            <a:off x="4067246" y="3429001"/>
            <a:ext cx="4057200" cy="3430800"/>
          </a:xfrm>
          <a:solidFill>
            <a:schemeClr val="accent2"/>
          </a:solidFill>
        </p:spPr>
        <p:txBody>
          <a:bodyPr anchor="ctr"/>
          <a:lstStyle>
            <a:lvl1pPr algn="ctr">
              <a:defRPr sz="2000" b="0">
                <a:solidFill>
                  <a:schemeClr val="bg1">
                    <a:lumMod val="65000"/>
                  </a:schemeClr>
                </a:solidFill>
              </a:defRPr>
            </a:lvl1pPr>
          </a:lstStyle>
          <a:p>
            <a:pPr marL="0" marR="0" lvl="0" indent="0" algn="ctr" defTabSz="914355" rtl="0" eaLnBrk="1" fontAlgn="auto" latinLnBrk="0" hangingPunct="1">
              <a:lnSpc>
                <a:spcPct val="100000"/>
              </a:lnSpc>
              <a:spcBef>
                <a:spcPts val="600"/>
              </a:spcBef>
              <a:spcAft>
                <a:spcPts val="600"/>
              </a:spcAft>
              <a:buClrTx/>
              <a:buSzTx/>
              <a:buFont typeface="Arial" panose="020B0604020202020204" pitchFamily="34" charset="0"/>
              <a:buNone/>
              <a:tabLst/>
              <a:defRPr/>
            </a:pPr>
            <a:r>
              <a:rPr lang="de-DE" dirty="0"/>
              <a:t>Bild hinzufügen I Add a </a:t>
            </a:r>
            <a:r>
              <a:rPr lang="de-DE" dirty="0" err="1"/>
              <a:t>picture</a:t>
            </a:r>
            <a:endParaRPr lang="de-DE" dirty="0"/>
          </a:p>
        </p:txBody>
      </p:sp>
      <p:sp>
        <p:nvSpPr>
          <p:cNvPr id="10" name="Bildplatzhalter 5"/>
          <p:cNvSpPr>
            <a:spLocks noGrp="1"/>
          </p:cNvSpPr>
          <p:nvPr>
            <p:ph type="pic" sz="quarter" idx="20" hasCustomPrompt="1"/>
          </p:nvPr>
        </p:nvSpPr>
        <p:spPr>
          <a:xfrm>
            <a:off x="8134803" y="-2"/>
            <a:ext cx="4060800" cy="3430800"/>
          </a:xfrm>
          <a:solidFill>
            <a:schemeClr val="accent2"/>
          </a:solidFill>
        </p:spPr>
        <p:txBody>
          <a:bodyPr anchor="ctr"/>
          <a:lstStyle>
            <a:lvl1pPr algn="ctr">
              <a:defRPr sz="2000" b="0">
                <a:solidFill>
                  <a:schemeClr val="bg1">
                    <a:lumMod val="65000"/>
                  </a:schemeClr>
                </a:solidFill>
              </a:defRPr>
            </a:lvl1pPr>
          </a:lstStyle>
          <a:p>
            <a:pPr marL="0" marR="0" lvl="0" indent="0" algn="ctr" defTabSz="914355" rtl="0" eaLnBrk="1" fontAlgn="auto" latinLnBrk="0" hangingPunct="1">
              <a:lnSpc>
                <a:spcPct val="100000"/>
              </a:lnSpc>
              <a:spcBef>
                <a:spcPts val="600"/>
              </a:spcBef>
              <a:spcAft>
                <a:spcPts val="600"/>
              </a:spcAft>
              <a:buClrTx/>
              <a:buSzTx/>
              <a:buFont typeface="Arial" panose="020B0604020202020204" pitchFamily="34" charset="0"/>
              <a:buNone/>
              <a:tabLst/>
              <a:defRPr/>
            </a:pPr>
            <a:r>
              <a:rPr lang="de-DE" dirty="0"/>
              <a:t>Bild hinzufügen I Add a </a:t>
            </a:r>
            <a:r>
              <a:rPr lang="de-DE" dirty="0" err="1"/>
              <a:t>picture</a:t>
            </a:r>
            <a:endParaRPr lang="de-DE" dirty="0"/>
          </a:p>
        </p:txBody>
      </p:sp>
      <p:sp>
        <p:nvSpPr>
          <p:cNvPr id="11" name="Bildplatzhalter 5"/>
          <p:cNvSpPr>
            <a:spLocks noGrp="1"/>
          </p:cNvSpPr>
          <p:nvPr>
            <p:ph type="pic" sz="quarter" idx="21" hasCustomPrompt="1"/>
          </p:nvPr>
        </p:nvSpPr>
        <p:spPr>
          <a:xfrm>
            <a:off x="8134803" y="3429001"/>
            <a:ext cx="4060800" cy="3430800"/>
          </a:xfrm>
          <a:solidFill>
            <a:schemeClr val="accent2"/>
          </a:solidFill>
        </p:spPr>
        <p:txBody>
          <a:bodyPr anchor="ctr"/>
          <a:lstStyle>
            <a:lvl1pPr algn="ctr">
              <a:defRPr sz="2000" b="0">
                <a:solidFill>
                  <a:schemeClr val="bg1">
                    <a:lumMod val="65000"/>
                  </a:schemeClr>
                </a:solidFill>
              </a:defRPr>
            </a:lvl1pPr>
          </a:lstStyle>
          <a:p>
            <a:pPr marL="0" marR="0" lvl="0" indent="0" algn="ctr" defTabSz="914355" rtl="0" eaLnBrk="1" fontAlgn="auto" latinLnBrk="0" hangingPunct="1">
              <a:lnSpc>
                <a:spcPct val="100000"/>
              </a:lnSpc>
              <a:spcBef>
                <a:spcPts val="600"/>
              </a:spcBef>
              <a:spcAft>
                <a:spcPts val="600"/>
              </a:spcAft>
              <a:buClrTx/>
              <a:buSzTx/>
              <a:buFont typeface="Arial" panose="020B0604020202020204" pitchFamily="34" charset="0"/>
              <a:buNone/>
              <a:tabLst/>
              <a:defRPr/>
            </a:pPr>
            <a:r>
              <a:rPr lang="de-DE" dirty="0"/>
              <a:t>Bild hinzufügen I Add a </a:t>
            </a:r>
            <a:r>
              <a:rPr lang="de-DE" dirty="0" err="1"/>
              <a:t>picture</a:t>
            </a:r>
            <a:endParaRPr lang="de-DE" dirty="0"/>
          </a:p>
        </p:txBody>
      </p:sp>
      <p:cxnSp>
        <p:nvCxnSpPr>
          <p:cNvPr id="15" name="Gerade Verbindung 14">
            <a:extLst>
              <a:ext uri="{FF2B5EF4-FFF2-40B4-BE49-F238E27FC236}">
                <a16:creationId xmlns:a16="http://schemas.microsoft.com/office/drawing/2014/main" id="{DD3CFE7B-39B7-784F-93B1-D96A90A143C8}"/>
              </a:ext>
            </a:extLst>
          </p:cNvPr>
          <p:cNvCxnSpPr>
            <a:cxnSpLocks/>
          </p:cNvCxnSpPr>
          <p:nvPr userDrawn="1"/>
        </p:nvCxnSpPr>
        <p:spPr>
          <a:xfrm flipH="1">
            <a:off x="-14138" y="3429000"/>
            <a:ext cx="122061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Gerade Verbindung 15">
            <a:extLst>
              <a:ext uri="{FF2B5EF4-FFF2-40B4-BE49-F238E27FC236}">
                <a16:creationId xmlns:a16="http://schemas.microsoft.com/office/drawing/2014/main" id="{E5C11C02-B1D3-FF4F-92AA-ABFA7ADE13F8}"/>
              </a:ext>
            </a:extLst>
          </p:cNvPr>
          <p:cNvCxnSpPr>
            <a:cxnSpLocks/>
          </p:cNvCxnSpPr>
          <p:nvPr userDrawn="1"/>
        </p:nvCxnSpPr>
        <p:spPr>
          <a:xfrm flipV="1">
            <a:off x="8134803" y="-2"/>
            <a:ext cx="0" cy="68580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3D9E472F-8ECD-F246-8378-10E784CFF565}"/>
              </a:ext>
            </a:extLst>
          </p:cNvPr>
          <p:cNvCxnSpPr>
            <a:cxnSpLocks/>
          </p:cNvCxnSpPr>
          <p:nvPr userDrawn="1"/>
        </p:nvCxnSpPr>
        <p:spPr>
          <a:xfrm flipV="1">
            <a:off x="4067246" y="-2"/>
            <a:ext cx="0" cy="68580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1708797"/>
      </p:ext>
    </p:extLst>
  </p:cSld>
  <p:clrMapOvr>
    <a:masterClrMapping/>
  </p:clrMapOvr>
  <p:hf sldNum="0" hdr="0" ftr="0" dt="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6 Bilder ohne Tex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7F6FE709-603B-4CE3-A6FE-984E2796F56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12" name="Objekt 11" hidden="1">
                        <a:extLst>
                          <a:ext uri="{FF2B5EF4-FFF2-40B4-BE49-F238E27FC236}">
                            <a16:creationId xmlns:a16="http://schemas.microsoft.com/office/drawing/2014/main" id="{7F6FE709-603B-4CE3-A6FE-984E2796F5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Bildplatzhalter 5"/>
          <p:cNvSpPr>
            <a:spLocks noGrp="1"/>
          </p:cNvSpPr>
          <p:nvPr>
            <p:ph type="pic" sz="quarter" idx="16" hasCustomPrompt="1"/>
          </p:nvPr>
        </p:nvSpPr>
        <p:spPr>
          <a:xfrm>
            <a:off x="-1" y="-2"/>
            <a:ext cx="4057200" cy="3430800"/>
          </a:xfrm>
          <a:solidFill>
            <a:schemeClr val="accent2"/>
          </a:solidFill>
        </p:spPr>
        <p:txBody>
          <a:bodyPr anchor="ctr"/>
          <a:lstStyle>
            <a:lvl1pPr algn="ctr">
              <a:defRPr sz="2000" b="0">
                <a:solidFill>
                  <a:schemeClr val="bg1">
                    <a:lumMod val="65000"/>
                  </a:schemeClr>
                </a:solidFill>
              </a:defRPr>
            </a:lvl1pPr>
          </a:lstStyle>
          <a:p>
            <a:r>
              <a:rPr lang="de-DE" dirty="0"/>
              <a:t>Bild hinzufügen I Add a </a:t>
            </a:r>
            <a:r>
              <a:rPr lang="de-DE" dirty="0" err="1"/>
              <a:t>picture</a:t>
            </a:r>
            <a:endParaRPr lang="de-DE" dirty="0"/>
          </a:p>
        </p:txBody>
      </p:sp>
      <p:sp>
        <p:nvSpPr>
          <p:cNvPr id="14" name="Bildplatzhalter 5"/>
          <p:cNvSpPr>
            <a:spLocks noGrp="1"/>
          </p:cNvSpPr>
          <p:nvPr>
            <p:ph type="pic" sz="quarter" idx="17" hasCustomPrompt="1"/>
          </p:nvPr>
        </p:nvSpPr>
        <p:spPr>
          <a:xfrm>
            <a:off x="-2" y="3429001"/>
            <a:ext cx="4057200" cy="3429000"/>
          </a:xfrm>
          <a:solidFill>
            <a:schemeClr val="accent2"/>
          </a:solidFill>
        </p:spPr>
        <p:txBody>
          <a:bodyPr anchor="ctr"/>
          <a:lstStyle>
            <a:lvl1pPr algn="ctr">
              <a:defRPr sz="2000" b="0">
                <a:solidFill>
                  <a:schemeClr val="bg1">
                    <a:lumMod val="65000"/>
                  </a:schemeClr>
                </a:solidFill>
              </a:defRPr>
            </a:lvl1pPr>
          </a:lstStyle>
          <a:p>
            <a:r>
              <a:rPr lang="de-DE" dirty="0"/>
              <a:t>Bild hinzufügen I Add a </a:t>
            </a:r>
            <a:r>
              <a:rPr lang="de-DE" dirty="0" err="1"/>
              <a:t>picture</a:t>
            </a:r>
            <a:endParaRPr lang="de-DE" dirty="0"/>
          </a:p>
        </p:txBody>
      </p:sp>
      <p:sp>
        <p:nvSpPr>
          <p:cNvPr id="8" name="Bildplatzhalter 5"/>
          <p:cNvSpPr>
            <a:spLocks noGrp="1"/>
          </p:cNvSpPr>
          <p:nvPr>
            <p:ph type="pic" sz="quarter" idx="18" hasCustomPrompt="1"/>
          </p:nvPr>
        </p:nvSpPr>
        <p:spPr>
          <a:xfrm>
            <a:off x="4067246" y="0"/>
            <a:ext cx="4057200" cy="3430800"/>
          </a:xfrm>
          <a:solidFill>
            <a:schemeClr val="accent2"/>
          </a:solidFill>
        </p:spPr>
        <p:txBody>
          <a:bodyPr anchor="ctr"/>
          <a:lstStyle>
            <a:lvl1pPr algn="ctr">
              <a:defRPr sz="2000" b="0">
                <a:solidFill>
                  <a:schemeClr val="bg1">
                    <a:lumMod val="65000"/>
                  </a:schemeClr>
                </a:solidFill>
              </a:defRPr>
            </a:lvl1pPr>
          </a:lstStyle>
          <a:p>
            <a:r>
              <a:rPr lang="de-DE" dirty="0"/>
              <a:t>Bild hinzufügen I Add a </a:t>
            </a:r>
            <a:r>
              <a:rPr lang="de-DE" dirty="0" err="1"/>
              <a:t>picture</a:t>
            </a:r>
            <a:endParaRPr lang="de-DE" dirty="0"/>
          </a:p>
        </p:txBody>
      </p:sp>
      <p:sp>
        <p:nvSpPr>
          <p:cNvPr id="9" name="Bildplatzhalter 5"/>
          <p:cNvSpPr>
            <a:spLocks noGrp="1"/>
          </p:cNvSpPr>
          <p:nvPr>
            <p:ph type="pic" sz="quarter" idx="19" hasCustomPrompt="1"/>
          </p:nvPr>
        </p:nvSpPr>
        <p:spPr>
          <a:xfrm>
            <a:off x="4067246" y="3429001"/>
            <a:ext cx="4057200" cy="3430800"/>
          </a:xfrm>
          <a:solidFill>
            <a:schemeClr val="accent2"/>
          </a:solidFill>
        </p:spPr>
        <p:txBody>
          <a:bodyPr anchor="ctr"/>
          <a:lstStyle>
            <a:lvl1pPr algn="ctr">
              <a:defRPr sz="2000" b="0">
                <a:solidFill>
                  <a:schemeClr val="bg1">
                    <a:lumMod val="65000"/>
                  </a:schemeClr>
                </a:solidFill>
              </a:defRPr>
            </a:lvl1pPr>
          </a:lstStyle>
          <a:p>
            <a:r>
              <a:rPr lang="de-DE" dirty="0"/>
              <a:t>Bild hinzufügen I Add a </a:t>
            </a:r>
            <a:r>
              <a:rPr lang="de-DE" dirty="0" err="1"/>
              <a:t>picture</a:t>
            </a:r>
            <a:endParaRPr lang="de-DE" dirty="0"/>
          </a:p>
        </p:txBody>
      </p:sp>
      <p:sp>
        <p:nvSpPr>
          <p:cNvPr id="10" name="Bildplatzhalter 5"/>
          <p:cNvSpPr>
            <a:spLocks noGrp="1"/>
          </p:cNvSpPr>
          <p:nvPr>
            <p:ph type="pic" sz="quarter" idx="20" hasCustomPrompt="1"/>
          </p:nvPr>
        </p:nvSpPr>
        <p:spPr>
          <a:xfrm>
            <a:off x="8134803" y="-2"/>
            <a:ext cx="4060800" cy="3430800"/>
          </a:xfrm>
          <a:solidFill>
            <a:schemeClr val="accent2"/>
          </a:solidFill>
        </p:spPr>
        <p:txBody>
          <a:bodyPr anchor="ctr"/>
          <a:lstStyle>
            <a:lvl1pPr algn="ctr">
              <a:defRPr sz="2000" b="0">
                <a:solidFill>
                  <a:schemeClr val="bg1">
                    <a:lumMod val="65000"/>
                  </a:schemeClr>
                </a:solidFill>
              </a:defRPr>
            </a:lvl1pPr>
          </a:lstStyle>
          <a:p>
            <a:r>
              <a:rPr lang="de-DE" dirty="0"/>
              <a:t>Bild hinzufügen I Add a </a:t>
            </a:r>
            <a:r>
              <a:rPr lang="de-DE" dirty="0" err="1"/>
              <a:t>picture</a:t>
            </a:r>
            <a:endParaRPr lang="de-DE" dirty="0"/>
          </a:p>
        </p:txBody>
      </p:sp>
      <p:sp>
        <p:nvSpPr>
          <p:cNvPr id="11" name="Bildplatzhalter 5"/>
          <p:cNvSpPr>
            <a:spLocks noGrp="1"/>
          </p:cNvSpPr>
          <p:nvPr>
            <p:ph type="pic" sz="quarter" idx="21" hasCustomPrompt="1"/>
          </p:nvPr>
        </p:nvSpPr>
        <p:spPr>
          <a:xfrm>
            <a:off x="8134803" y="3429001"/>
            <a:ext cx="4060800" cy="3430800"/>
          </a:xfrm>
          <a:solidFill>
            <a:schemeClr val="accent2"/>
          </a:solidFill>
        </p:spPr>
        <p:txBody>
          <a:bodyPr anchor="ctr"/>
          <a:lstStyle>
            <a:lvl1pPr algn="ctr">
              <a:defRPr sz="2000" b="0">
                <a:solidFill>
                  <a:schemeClr val="bg1">
                    <a:lumMod val="65000"/>
                  </a:schemeClr>
                </a:solidFill>
              </a:defRPr>
            </a:lvl1pPr>
          </a:lstStyle>
          <a:p>
            <a:r>
              <a:rPr lang="de-DE" dirty="0"/>
              <a:t>Bild hinzufügen I Add a </a:t>
            </a:r>
            <a:r>
              <a:rPr lang="de-DE" dirty="0" err="1"/>
              <a:t>picture</a:t>
            </a:r>
            <a:endParaRPr lang="de-DE" dirty="0"/>
          </a:p>
        </p:txBody>
      </p:sp>
      <p:cxnSp>
        <p:nvCxnSpPr>
          <p:cNvPr id="15" name="Gerade Verbindung 14">
            <a:extLst>
              <a:ext uri="{FF2B5EF4-FFF2-40B4-BE49-F238E27FC236}">
                <a16:creationId xmlns:a16="http://schemas.microsoft.com/office/drawing/2014/main" id="{DD3CFE7B-39B7-784F-93B1-D96A90A143C8}"/>
              </a:ext>
            </a:extLst>
          </p:cNvPr>
          <p:cNvCxnSpPr>
            <a:cxnSpLocks/>
          </p:cNvCxnSpPr>
          <p:nvPr userDrawn="1"/>
        </p:nvCxnSpPr>
        <p:spPr>
          <a:xfrm flipH="1">
            <a:off x="-14138" y="3429000"/>
            <a:ext cx="122061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Gerade Verbindung 15">
            <a:extLst>
              <a:ext uri="{FF2B5EF4-FFF2-40B4-BE49-F238E27FC236}">
                <a16:creationId xmlns:a16="http://schemas.microsoft.com/office/drawing/2014/main" id="{E5C11C02-B1D3-FF4F-92AA-ABFA7ADE13F8}"/>
              </a:ext>
            </a:extLst>
          </p:cNvPr>
          <p:cNvCxnSpPr>
            <a:cxnSpLocks/>
          </p:cNvCxnSpPr>
          <p:nvPr userDrawn="1"/>
        </p:nvCxnSpPr>
        <p:spPr>
          <a:xfrm flipV="1">
            <a:off x="8134803" y="-2"/>
            <a:ext cx="0" cy="68580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3D9E472F-8ECD-F246-8378-10E784CFF565}"/>
              </a:ext>
            </a:extLst>
          </p:cNvPr>
          <p:cNvCxnSpPr>
            <a:cxnSpLocks/>
          </p:cNvCxnSpPr>
          <p:nvPr userDrawn="1"/>
        </p:nvCxnSpPr>
        <p:spPr>
          <a:xfrm flipV="1">
            <a:off x="4067246" y="-2"/>
            <a:ext cx="0" cy="68580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platzhalter 4">
            <a:extLst>
              <a:ext uri="{FF2B5EF4-FFF2-40B4-BE49-F238E27FC236}">
                <a16:creationId xmlns:a16="http://schemas.microsoft.com/office/drawing/2014/main" id="{D241B32C-34A2-A044-B688-9EB0C4C617A2}"/>
              </a:ext>
            </a:extLst>
          </p:cNvPr>
          <p:cNvSpPr>
            <a:spLocks noGrp="1"/>
          </p:cNvSpPr>
          <p:nvPr>
            <p:ph type="body" sz="quarter" idx="22" hasCustomPrompt="1"/>
          </p:nvPr>
        </p:nvSpPr>
        <p:spPr>
          <a:xfrm>
            <a:off x="1" y="2731875"/>
            <a:ext cx="3054096" cy="387798"/>
          </a:xfrm>
          <a:solidFill>
            <a:schemeClr val="bg1"/>
          </a:solidFill>
        </p:spPr>
        <p:txBody>
          <a:bodyPr vert="horz" lIns="216000" tIns="0" rIns="0" bIns="0" rtlCol="0" anchor="ctr">
            <a:noAutofit/>
          </a:bodyPr>
          <a:lstStyle>
            <a:lvl1pPr>
              <a:defRPr lang="de-DE" sz="1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33" name="Textplatzhalter 4">
            <a:extLst>
              <a:ext uri="{FF2B5EF4-FFF2-40B4-BE49-F238E27FC236}">
                <a16:creationId xmlns:a16="http://schemas.microsoft.com/office/drawing/2014/main" id="{33EABACF-D5F6-B646-AF38-4CAEEFD9561D}"/>
              </a:ext>
            </a:extLst>
          </p:cNvPr>
          <p:cNvSpPr>
            <a:spLocks noGrp="1"/>
          </p:cNvSpPr>
          <p:nvPr>
            <p:ph type="body" sz="quarter" idx="23" hasCustomPrompt="1"/>
          </p:nvPr>
        </p:nvSpPr>
        <p:spPr>
          <a:xfrm>
            <a:off x="8132133" y="2731875"/>
            <a:ext cx="3054096" cy="387798"/>
          </a:xfrm>
          <a:solidFill>
            <a:schemeClr val="bg1"/>
          </a:solidFill>
        </p:spPr>
        <p:txBody>
          <a:bodyPr vert="horz" lIns="216000" tIns="0" rIns="0" bIns="0" rtlCol="0" anchor="ctr">
            <a:noAutofit/>
          </a:bodyPr>
          <a:lstStyle>
            <a:lvl1pPr>
              <a:defRPr lang="de-DE" sz="1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34" name="Textplatzhalter 4">
            <a:extLst>
              <a:ext uri="{FF2B5EF4-FFF2-40B4-BE49-F238E27FC236}">
                <a16:creationId xmlns:a16="http://schemas.microsoft.com/office/drawing/2014/main" id="{F42FFF10-46D2-8046-B800-9186430A3D69}"/>
              </a:ext>
            </a:extLst>
          </p:cNvPr>
          <p:cNvSpPr>
            <a:spLocks noGrp="1"/>
          </p:cNvSpPr>
          <p:nvPr>
            <p:ph type="body" sz="quarter" idx="24" hasCustomPrompt="1"/>
          </p:nvPr>
        </p:nvSpPr>
        <p:spPr>
          <a:xfrm>
            <a:off x="4065564" y="2731875"/>
            <a:ext cx="3054096" cy="387798"/>
          </a:xfrm>
          <a:solidFill>
            <a:schemeClr val="bg1"/>
          </a:solidFill>
        </p:spPr>
        <p:txBody>
          <a:bodyPr vert="horz" lIns="216000" tIns="0" rIns="0" bIns="0" rtlCol="0" anchor="ctr">
            <a:noAutofit/>
          </a:bodyPr>
          <a:lstStyle>
            <a:lvl1pPr>
              <a:defRPr lang="de-DE" sz="1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38" name="Textplatzhalter 4">
            <a:extLst>
              <a:ext uri="{FF2B5EF4-FFF2-40B4-BE49-F238E27FC236}">
                <a16:creationId xmlns:a16="http://schemas.microsoft.com/office/drawing/2014/main" id="{E8BC3BF2-8149-EE42-AA13-589D96836002}"/>
              </a:ext>
            </a:extLst>
          </p:cNvPr>
          <p:cNvSpPr>
            <a:spLocks noGrp="1"/>
          </p:cNvSpPr>
          <p:nvPr>
            <p:ph type="body" sz="quarter" idx="25" hasCustomPrompt="1"/>
          </p:nvPr>
        </p:nvSpPr>
        <p:spPr>
          <a:xfrm>
            <a:off x="1" y="6178630"/>
            <a:ext cx="3054096" cy="387798"/>
          </a:xfrm>
          <a:solidFill>
            <a:schemeClr val="bg1"/>
          </a:solidFill>
        </p:spPr>
        <p:txBody>
          <a:bodyPr vert="horz" lIns="216000" tIns="0" rIns="0" bIns="0" rtlCol="0" anchor="ctr">
            <a:noAutofit/>
          </a:bodyPr>
          <a:lstStyle>
            <a:lvl1pPr>
              <a:defRPr lang="de-DE" sz="1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39" name="Textplatzhalter 4">
            <a:extLst>
              <a:ext uri="{FF2B5EF4-FFF2-40B4-BE49-F238E27FC236}">
                <a16:creationId xmlns:a16="http://schemas.microsoft.com/office/drawing/2014/main" id="{2377A126-62FA-3047-BF67-D55D86E836C6}"/>
              </a:ext>
            </a:extLst>
          </p:cNvPr>
          <p:cNvSpPr>
            <a:spLocks noGrp="1"/>
          </p:cNvSpPr>
          <p:nvPr>
            <p:ph type="body" sz="quarter" idx="26" hasCustomPrompt="1"/>
          </p:nvPr>
        </p:nvSpPr>
        <p:spPr>
          <a:xfrm>
            <a:off x="8132133" y="6178630"/>
            <a:ext cx="3054096" cy="387798"/>
          </a:xfrm>
          <a:solidFill>
            <a:schemeClr val="bg1"/>
          </a:solidFill>
        </p:spPr>
        <p:txBody>
          <a:bodyPr vert="horz" lIns="216000" tIns="0" rIns="0" bIns="0" rtlCol="0" anchor="ctr">
            <a:noAutofit/>
          </a:bodyPr>
          <a:lstStyle>
            <a:lvl1pPr>
              <a:defRPr lang="de-DE" sz="1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40" name="Textplatzhalter 4">
            <a:extLst>
              <a:ext uri="{FF2B5EF4-FFF2-40B4-BE49-F238E27FC236}">
                <a16:creationId xmlns:a16="http://schemas.microsoft.com/office/drawing/2014/main" id="{526DC38D-5CB4-FF4A-A842-246B91AD218F}"/>
              </a:ext>
            </a:extLst>
          </p:cNvPr>
          <p:cNvSpPr>
            <a:spLocks noGrp="1"/>
          </p:cNvSpPr>
          <p:nvPr>
            <p:ph type="body" sz="quarter" idx="27" hasCustomPrompt="1"/>
          </p:nvPr>
        </p:nvSpPr>
        <p:spPr>
          <a:xfrm>
            <a:off x="4065564" y="6178630"/>
            <a:ext cx="3054096" cy="387798"/>
          </a:xfrm>
          <a:solidFill>
            <a:schemeClr val="bg1"/>
          </a:solidFill>
        </p:spPr>
        <p:txBody>
          <a:bodyPr vert="horz" lIns="216000" tIns="0" rIns="0" bIns="0" rtlCol="0" anchor="ctr">
            <a:noAutofit/>
          </a:bodyPr>
          <a:lstStyle>
            <a:lvl1pPr>
              <a:defRPr lang="de-DE" sz="1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Tree>
    <p:extLst>
      <p:ext uri="{BB962C8B-B14F-4D97-AF65-F5344CB8AC3E}">
        <p14:creationId xmlns:p14="http://schemas.microsoft.com/office/powerpoint/2010/main" val="2110104592"/>
      </p:ext>
    </p:extLst>
  </p:cSld>
  <p:clrMapOvr>
    <a:masterClrMapping/>
  </p:clrMapOvr>
  <p:hf sldNum="0" hdr="0" ftr="0" dt="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shboard - 2 Kacheln">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8AEEC6A-1A12-4575-9621-0258FD0661F5}"/>
              </a:ext>
            </a:extLst>
          </p:cNvPr>
          <p:cNvGraphicFramePr>
            <a:graphicFrameLocks noChangeAspect="1"/>
          </p:cNvGraphicFramePr>
          <p:nvPr userDrawn="1">
            <p:custDataLst>
              <p:tags r:id="rId1"/>
            </p:custDataLst>
            <p:extLst>
              <p:ext uri="{D42A27DB-BD31-4B8C-83A1-F6EECF244321}">
                <p14:modId xmlns:p14="http://schemas.microsoft.com/office/powerpoint/2010/main" val="3217287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kt 1" hidden="1">
                        <a:extLst>
                          <a:ext uri="{FF2B5EF4-FFF2-40B4-BE49-F238E27FC236}">
                            <a16:creationId xmlns:a16="http://schemas.microsoft.com/office/drawing/2014/main" id="{98AEEC6A-1A12-4575-9621-0258FD0661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2">
            <a:extLst>
              <a:ext uri="{FF2B5EF4-FFF2-40B4-BE49-F238E27FC236}">
                <a16:creationId xmlns:a16="http://schemas.microsoft.com/office/drawing/2014/main" id="{E2D1987D-14E9-3542-B512-DBDE43D895DF}"/>
              </a:ext>
            </a:extLst>
          </p:cNvPr>
          <p:cNvSpPr>
            <a:spLocks noGrp="1"/>
          </p:cNvSpPr>
          <p:nvPr>
            <p:ph type="body" idx="13"/>
          </p:nvPr>
        </p:nvSpPr>
        <p:spPr>
          <a:xfrm>
            <a:off x="1338362" y="4106636"/>
            <a:ext cx="4296870" cy="1298844"/>
          </a:xfrm>
          <a:solidFill>
            <a:schemeClr val="tx2"/>
          </a:solidFill>
        </p:spPr>
        <p:txBody>
          <a:bodyPr lIns="108000" tIns="108000" rIns="108000" bIns="0" anchor="t"/>
          <a:lstStyle>
            <a:lvl1pPr marL="0" indent="0" algn="l">
              <a:lnSpc>
                <a:spcPct val="100000"/>
              </a:lnSpc>
              <a:buClr>
                <a:schemeClr val="bg1"/>
              </a:buClr>
              <a:buFont typeface="Wingdings" panose="05000000000000000000" pitchFamily="2" charset="2"/>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Bildplatzhalter 5">
            <a:extLst>
              <a:ext uri="{FF2B5EF4-FFF2-40B4-BE49-F238E27FC236}">
                <a16:creationId xmlns:a16="http://schemas.microsoft.com/office/drawing/2014/main" id="{E3ACA5D7-A7AE-F84E-91A1-7CA07F24442A}"/>
              </a:ext>
            </a:extLst>
          </p:cNvPr>
          <p:cNvSpPr>
            <a:spLocks noGrp="1"/>
          </p:cNvSpPr>
          <p:nvPr>
            <p:ph type="pic" sz="quarter" idx="22"/>
          </p:nvPr>
        </p:nvSpPr>
        <p:spPr>
          <a:xfrm>
            <a:off x="1338362" y="1624693"/>
            <a:ext cx="4296870" cy="2477970"/>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12" name="Textplatzhalter 2">
            <a:extLst>
              <a:ext uri="{FF2B5EF4-FFF2-40B4-BE49-F238E27FC236}">
                <a16:creationId xmlns:a16="http://schemas.microsoft.com/office/drawing/2014/main" id="{E2B1A042-66BA-494C-B41C-4A04ABEE7555}"/>
              </a:ext>
            </a:extLst>
          </p:cNvPr>
          <p:cNvSpPr>
            <a:spLocks noGrp="1"/>
          </p:cNvSpPr>
          <p:nvPr>
            <p:ph type="body" idx="23"/>
          </p:nvPr>
        </p:nvSpPr>
        <p:spPr>
          <a:xfrm>
            <a:off x="6556766" y="4106636"/>
            <a:ext cx="4296870" cy="1298844"/>
          </a:xfrm>
          <a:solidFill>
            <a:schemeClr val="tx2"/>
          </a:solidFill>
        </p:spPr>
        <p:txBody>
          <a:bodyPr lIns="108000" tIns="108000" rIns="108000" bIns="0" anchor="t"/>
          <a:lstStyle>
            <a:lvl1pPr marL="0" indent="0" algn="l">
              <a:lnSpc>
                <a:spcPct val="100000"/>
              </a:lnSpc>
              <a:buClr>
                <a:schemeClr val="bg1"/>
              </a:buClr>
              <a:buFont typeface="Wingdings" panose="05000000000000000000" pitchFamily="2" charset="2"/>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5" name="Bildplatzhalter 5">
            <a:extLst>
              <a:ext uri="{FF2B5EF4-FFF2-40B4-BE49-F238E27FC236}">
                <a16:creationId xmlns:a16="http://schemas.microsoft.com/office/drawing/2014/main" id="{C54ED8A5-7687-D045-93DD-E5A162FBBB53}"/>
              </a:ext>
            </a:extLst>
          </p:cNvPr>
          <p:cNvSpPr>
            <a:spLocks noGrp="1"/>
          </p:cNvSpPr>
          <p:nvPr>
            <p:ph type="pic" sz="quarter" idx="24"/>
          </p:nvPr>
        </p:nvSpPr>
        <p:spPr>
          <a:xfrm>
            <a:off x="6556766" y="1624693"/>
            <a:ext cx="4296870" cy="2477970"/>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17" name="Titel 1">
            <a:extLst>
              <a:ext uri="{FF2B5EF4-FFF2-40B4-BE49-F238E27FC236}">
                <a16:creationId xmlns:a16="http://schemas.microsoft.com/office/drawing/2014/main" id="{507E39A9-8B88-1745-921E-23DF5485CC71}"/>
              </a:ext>
            </a:extLst>
          </p:cNvPr>
          <p:cNvSpPr>
            <a:spLocks noGrp="1"/>
          </p:cNvSpPr>
          <p:nvPr>
            <p:ph type="title" hasCustomPrompt="1"/>
          </p:nvPr>
        </p:nvSpPr>
        <p:spPr>
          <a:xfrm>
            <a:off x="515938" y="340234"/>
            <a:ext cx="11160125" cy="491194"/>
          </a:xfrm>
        </p:spPr>
        <p:txBody>
          <a:bodyPr vert="horz"/>
          <a:lstStyle>
            <a:lvl1pPr>
              <a:defRPr b="0">
                <a:solidFill>
                  <a:schemeClr val="tx1"/>
                </a:solidFill>
                <a:latin typeface="+mn-lt"/>
              </a:defRPr>
            </a:lvl1pPr>
          </a:lstStyle>
          <a:p>
            <a:r>
              <a:rPr lang="de-DE" dirty="0"/>
              <a:t>Überschrift I Headline</a:t>
            </a:r>
          </a:p>
        </p:txBody>
      </p:sp>
      <p:sp>
        <p:nvSpPr>
          <p:cNvPr id="18" name="Textplatzhalter 4">
            <a:extLst>
              <a:ext uri="{FF2B5EF4-FFF2-40B4-BE49-F238E27FC236}">
                <a16:creationId xmlns:a16="http://schemas.microsoft.com/office/drawing/2014/main" id="{B2BA28F4-4398-0D4D-970A-0C25A0C837EE}"/>
              </a:ext>
            </a:extLst>
          </p:cNvPr>
          <p:cNvSpPr>
            <a:spLocks noGrp="1"/>
          </p:cNvSpPr>
          <p:nvPr>
            <p:ph type="body" sz="quarter" idx="17" hasCustomPrompt="1"/>
          </p:nvPr>
        </p:nvSpPr>
        <p:spPr>
          <a:xfrm>
            <a:off x="515938" y="831428"/>
            <a:ext cx="11160000" cy="387798"/>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16" name="Foliennummernplatzhalter 5">
            <a:extLst>
              <a:ext uri="{FF2B5EF4-FFF2-40B4-BE49-F238E27FC236}">
                <a16:creationId xmlns:a16="http://schemas.microsoft.com/office/drawing/2014/main" id="{20783FE1-8488-4EE5-AEAB-B06C561DD02C}"/>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9" name="Fußzeilenplatzhalter 3">
            <a:extLst>
              <a:ext uri="{FF2B5EF4-FFF2-40B4-BE49-F238E27FC236}">
                <a16:creationId xmlns:a16="http://schemas.microsoft.com/office/drawing/2014/main" id="{933653B3-65BD-4DD9-AF10-C6D17D12F82E}"/>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20" name="Datumsplatzhalter 8">
            <a:extLst>
              <a:ext uri="{FF2B5EF4-FFF2-40B4-BE49-F238E27FC236}">
                <a16:creationId xmlns:a16="http://schemas.microsoft.com/office/drawing/2014/main" id="{BDB00D74-2A43-4F79-930A-66504728E18D}"/>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19BF6DF9-C1A6-4AA8-9835-EEBE6C3818AE}" type="datetime1">
              <a:rPr lang="de-DE" smtClean="0"/>
              <a:pPr/>
              <a:t>20.04.2023</a:t>
            </a:fld>
            <a:endParaRPr lang="de-DE" dirty="0"/>
          </a:p>
        </p:txBody>
      </p:sp>
    </p:spTree>
    <p:extLst>
      <p:ext uri="{BB962C8B-B14F-4D97-AF65-F5344CB8AC3E}">
        <p14:creationId xmlns:p14="http://schemas.microsoft.com/office/powerpoint/2010/main" val="4291966613"/>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I Titel Slide 02">
    <p:spTree>
      <p:nvGrpSpPr>
        <p:cNvPr id="1" name=""/>
        <p:cNvGrpSpPr/>
        <p:nvPr/>
      </p:nvGrpSpPr>
      <p:grpSpPr>
        <a:xfrm>
          <a:off x="0" y="0"/>
          <a:ext cx="0" cy="0"/>
          <a:chOff x="0" y="0"/>
          <a:chExt cx="0" cy="0"/>
        </a:xfrm>
      </p:grpSpPr>
      <p:sp>
        <p:nvSpPr>
          <p:cNvPr id="7" name="Bildplatzhalter 6"/>
          <p:cNvSpPr>
            <a:spLocks noGrp="1"/>
          </p:cNvSpPr>
          <p:nvPr>
            <p:ph type="pic" sz="quarter" idx="11" hasCustomPrompt="1"/>
          </p:nvPr>
        </p:nvSpPr>
        <p:spPr>
          <a:xfrm>
            <a:off x="0" y="1"/>
            <a:ext cx="12192000" cy="4537494"/>
          </a:xfrm>
          <a:solidFill>
            <a:schemeClr val="tx2"/>
          </a:solidFill>
        </p:spPr>
        <p:txBody>
          <a:bodyPr vert="horz" lIns="0" tIns="0" rIns="0" bIns="0" rtlCol="0" anchor="ctr">
            <a:noAutofit/>
          </a:bodyPr>
          <a:lstStyle>
            <a:lvl1pPr>
              <a:defRPr lang="en-US" sz="2000" b="0">
                <a:solidFill>
                  <a:schemeClr val="accent4"/>
                </a:solidFill>
                <a:latin typeface="+mn-lt"/>
              </a:defRPr>
            </a:lvl1pPr>
          </a:lstStyle>
          <a:p>
            <a:pPr lvl="0" algn="ctr"/>
            <a:r>
              <a:rPr lang="de-DE" dirty="0"/>
              <a:t>Bild durch Klicken auf Symbol hinzufügen I Add </a:t>
            </a:r>
            <a:r>
              <a:rPr lang="de-DE" dirty="0" err="1"/>
              <a:t>image</a:t>
            </a:r>
            <a:r>
              <a:rPr lang="de-DE" dirty="0"/>
              <a:t> </a:t>
            </a:r>
            <a:r>
              <a:rPr lang="de-DE" dirty="0" err="1"/>
              <a:t>by</a:t>
            </a:r>
            <a:r>
              <a:rPr lang="de-DE" dirty="0"/>
              <a:t> </a:t>
            </a:r>
            <a:r>
              <a:rPr lang="de-DE" dirty="0" err="1"/>
              <a:t>clicking</a:t>
            </a:r>
            <a:r>
              <a:rPr lang="de-DE" dirty="0"/>
              <a:t> </a:t>
            </a:r>
            <a:r>
              <a:rPr lang="de-DE" dirty="0" err="1"/>
              <a:t>icon</a:t>
            </a:r>
            <a:endParaRPr lang="en-US" dirty="0"/>
          </a:p>
          <a:p>
            <a:pPr lvl="0" algn="ctr"/>
            <a:endParaRPr lang="de-DE" dirty="0"/>
          </a:p>
        </p:txBody>
      </p:sp>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45250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4817980"/>
            <a:ext cx="8691562" cy="215444"/>
          </a:xfrm>
          <a:noFill/>
        </p:spPr>
        <p:txBody>
          <a:bodyPr wrap="square" lIns="216000" tIns="0" rIns="0" bIns="0" anchor="ctr">
            <a:spAutoFit/>
          </a:bodyPr>
          <a:lstStyle>
            <a:lvl1pPr marL="0" indent="0" algn="l">
              <a:buNone/>
              <a:defRPr lang="de-DE" sz="1400" b="0" kern="1200" dirty="0">
                <a:solidFill>
                  <a:srgbClr val="575756"/>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 I </a:t>
            </a:r>
            <a:r>
              <a:rPr lang="de-DE" dirty="0" err="1"/>
              <a:t>O</a:t>
            </a:r>
            <a:r>
              <a:rPr lang="de-DE" b="0" i="0" dirty="0" err="1">
                <a:solidFill>
                  <a:srgbClr val="242424"/>
                </a:solidFill>
                <a:effectLst/>
                <a:latin typeface="-apple-system"/>
              </a:rPr>
              <a:t>verline</a:t>
            </a:r>
            <a:endParaRPr lang="de-DE" dirty="0"/>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8" y="5064345"/>
            <a:ext cx="8691562" cy="1064355"/>
          </a:xfrm>
          <a:noFill/>
          <a:effectLst/>
        </p:spPr>
        <p:txBody>
          <a:bodyPr vert="horz" lIns="198000" tIns="0" rIns="0" anchor="b" anchorCtr="0">
            <a:noAutofit/>
          </a:bodyPr>
          <a:lstStyle>
            <a:lvl1pPr marL="0" algn="l" defTabSz="914355" rtl="0" eaLnBrk="1" latinLnBrk="0" hangingPunct="1">
              <a:lnSpc>
                <a:spcPct val="90000"/>
              </a:lnSpc>
              <a:spcBef>
                <a:spcPct val="0"/>
              </a:spcBef>
              <a:buNone/>
              <a:defRPr lang="de-DE" sz="3600" b="0" kern="1200" cap="none" baseline="0" dirty="0">
                <a:solidFill>
                  <a:schemeClr val="tx1"/>
                </a:solidFill>
                <a:latin typeface="+mn-lt"/>
                <a:ea typeface="+mj-ea"/>
                <a:cs typeface="Arial" panose="020B0604020202020204" pitchFamily="34" charset="0"/>
              </a:defRPr>
            </a:lvl1pPr>
          </a:lstStyle>
          <a:p>
            <a:r>
              <a:rPr lang="de-DE" dirty="0"/>
              <a:t>Überschrift</a:t>
            </a:r>
            <a:br>
              <a:rPr lang="de-DE" dirty="0"/>
            </a:br>
            <a:r>
              <a:rPr lang="de-DE" dirty="0"/>
              <a:t>Headline</a:t>
            </a:r>
          </a:p>
        </p:txBody>
      </p:sp>
      <p:sp>
        <p:nvSpPr>
          <p:cNvPr id="5" name="Fußzeilenplatzhalter 4">
            <a:extLst>
              <a:ext uri="{FF2B5EF4-FFF2-40B4-BE49-F238E27FC236}">
                <a16:creationId xmlns:a16="http://schemas.microsoft.com/office/drawing/2014/main" id="{5E31E8C8-7C50-4010-8FA8-5E3FC76DB094}"/>
              </a:ext>
            </a:extLst>
          </p:cNvPr>
          <p:cNvSpPr>
            <a:spLocks noGrp="1"/>
          </p:cNvSpPr>
          <p:nvPr>
            <p:ph type="ftr" sz="quarter" idx="13"/>
          </p:nvPr>
        </p:nvSpPr>
        <p:spPr>
          <a:xfrm>
            <a:off x="300038" y="6391757"/>
            <a:ext cx="4782950" cy="215444"/>
          </a:xfrm>
        </p:spPr>
        <p:txBody>
          <a:bodyPr lIns="216000" tIns="0" rIns="0" bIns="0"/>
          <a:lstStyle>
            <a:lvl1pPr>
              <a:spcBef>
                <a:spcPts val="600"/>
              </a:spcBef>
              <a:spcAft>
                <a:spcPts val="600"/>
              </a:spcAft>
              <a:defRPr sz="1400">
                <a:solidFill>
                  <a:schemeClr val="tx1"/>
                </a:solidFill>
                <a:latin typeface="+mn-lt"/>
              </a:defRPr>
            </a:lvl1pPr>
          </a:lstStyle>
          <a:p>
            <a:r>
              <a:rPr lang="de-DE"/>
              <a:t>Technischer Kundendienst</a:t>
            </a:r>
            <a:endParaRPr lang="de-DE" dirty="0"/>
          </a:p>
        </p:txBody>
      </p:sp>
      <p:pic>
        <p:nvPicPr>
          <p:cNvPr id="10" name="Grafik 9">
            <a:extLst>
              <a:ext uri="{FF2B5EF4-FFF2-40B4-BE49-F238E27FC236}">
                <a16:creationId xmlns:a16="http://schemas.microsoft.com/office/drawing/2014/main" id="{A1739012-BDAA-4348-838C-987BE3160ADE}"/>
              </a:ext>
            </a:extLst>
          </p:cNvPr>
          <p:cNvPicPr>
            <a:picLocks noChangeAspect="1"/>
          </p:cNvPicPr>
          <p:nvPr userDrawn="1"/>
        </p:nvPicPr>
        <p:blipFill>
          <a:blip r:embed="rId5"/>
          <a:stretch>
            <a:fillRect/>
          </a:stretch>
        </p:blipFill>
        <p:spPr>
          <a:xfrm>
            <a:off x="9026151" y="5707580"/>
            <a:ext cx="3021965" cy="1017587"/>
          </a:xfrm>
          <a:prstGeom prst="rect">
            <a:avLst/>
          </a:prstGeom>
        </p:spPr>
      </p:pic>
    </p:spTree>
    <p:extLst>
      <p:ext uri="{BB962C8B-B14F-4D97-AF65-F5344CB8AC3E}">
        <p14:creationId xmlns:p14="http://schemas.microsoft.com/office/powerpoint/2010/main" val="1237669834"/>
      </p:ext>
    </p:extLst>
  </p:cSld>
  <p:clrMapOvr>
    <a:masterClrMapping/>
  </p:clrMapOvr>
  <p:hf hdr="0" dt="0"/>
  <p:extLst>
    <p:ext uri="{DCECCB84-F9BA-43D5-87BE-67443E8EF086}">
      <p15:sldGuideLst xmlns:p15="http://schemas.microsoft.com/office/powerpoint/2012/main">
        <p15:guide id="1" orient="horz" pos="41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shboard - 3 Kachel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B222B94-2502-4655-8062-5612DD24CE4D}"/>
              </a:ext>
            </a:extLst>
          </p:cNvPr>
          <p:cNvGraphicFramePr>
            <a:graphicFrameLocks noChangeAspect="1"/>
          </p:cNvGraphicFramePr>
          <p:nvPr userDrawn="1">
            <p:custDataLst>
              <p:tags r:id="rId1"/>
            </p:custDataLst>
            <p:extLst>
              <p:ext uri="{D42A27DB-BD31-4B8C-83A1-F6EECF244321}">
                <p14:modId xmlns:p14="http://schemas.microsoft.com/office/powerpoint/2010/main" val="280964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7" name="Objekt 6" hidden="1">
                        <a:extLst>
                          <a:ext uri="{FF2B5EF4-FFF2-40B4-BE49-F238E27FC236}">
                            <a16:creationId xmlns:a16="http://schemas.microsoft.com/office/drawing/2014/main" id="{1B222B94-2502-4655-8062-5612DD24C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2">
            <a:extLst>
              <a:ext uri="{FF2B5EF4-FFF2-40B4-BE49-F238E27FC236}">
                <a16:creationId xmlns:a16="http://schemas.microsoft.com/office/drawing/2014/main" id="{AFE3D90D-E36A-DF4D-B325-30BCB63A8392}"/>
              </a:ext>
            </a:extLst>
          </p:cNvPr>
          <p:cNvSpPr>
            <a:spLocks noGrp="1"/>
          </p:cNvSpPr>
          <p:nvPr>
            <p:ph type="body" idx="14"/>
          </p:nvPr>
        </p:nvSpPr>
        <p:spPr>
          <a:xfrm>
            <a:off x="4628102" y="3824355"/>
            <a:ext cx="2913132" cy="9013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2" name="Textplatzhalter 2">
            <a:extLst>
              <a:ext uri="{FF2B5EF4-FFF2-40B4-BE49-F238E27FC236}">
                <a16:creationId xmlns:a16="http://schemas.microsoft.com/office/drawing/2014/main" id="{9DD658D9-2A23-C34C-95EC-E99E330FF936}"/>
              </a:ext>
            </a:extLst>
          </p:cNvPr>
          <p:cNvSpPr>
            <a:spLocks noGrp="1"/>
          </p:cNvSpPr>
          <p:nvPr>
            <p:ph type="body" idx="15"/>
          </p:nvPr>
        </p:nvSpPr>
        <p:spPr>
          <a:xfrm>
            <a:off x="8156493" y="3824355"/>
            <a:ext cx="2913132" cy="9013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6" name="Textplatzhalter 2">
            <a:extLst>
              <a:ext uri="{FF2B5EF4-FFF2-40B4-BE49-F238E27FC236}">
                <a16:creationId xmlns:a16="http://schemas.microsoft.com/office/drawing/2014/main" id="{BEDDAD1E-B130-D34E-948B-3916F99DA932}"/>
              </a:ext>
            </a:extLst>
          </p:cNvPr>
          <p:cNvSpPr>
            <a:spLocks noGrp="1"/>
          </p:cNvSpPr>
          <p:nvPr>
            <p:ph type="body" idx="13"/>
          </p:nvPr>
        </p:nvSpPr>
        <p:spPr>
          <a:xfrm>
            <a:off x="1139977" y="3824355"/>
            <a:ext cx="2913132" cy="9013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3" name="Bildplatzhalter 5">
            <a:extLst>
              <a:ext uri="{FF2B5EF4-FFF2-40B4-BE49-F238E27FC236}">
                <a16:creationId xmlns:a16="http://schemas.microsoft.com/office/drawing/2014/main" id="{77670EE1-D200-8144-A1FC-1B1BAFD9A1BA}"/>
              </a:ext>
            </a:extLst>
          </p:cNvPr>
          <p:cNvSpPr>
            <a:spLocks noGrp="1"/>
          </p:cNvSpPr>
          <p:nvPr>
            <p:ph type="pic" sz="quarter" idx="22"/>
          </p:nvPr>
        </p:nvSpPr>
        <p:spPr>
          <a:xfrm>
            <a:off x="1139977" y="2171808"/>
            <a:ext cx="2913131" cy="1652547"/>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24" name="Bildplatzhalter 5">
            <a:extLst>
              <a:ext uri="{FF2B5EF4-FFF2-40B4-BE49-F238E27FC236}">
                <a16:creationId xmlns:a16="http://schemas.microsoft.com/office/drawing/2014/main" id="{18F34889-3830-004A-B62C-141AADFCE30D}"/>
              </a:ext>
            </a:extLst>
          </p:cNvPr>
          <p:cNvSpPr>
            <a:spLocks noGrp="1"/>
          </p:cNvSpPr>
          <p:nvPr>
            <p:ph type="pic" sz="quarter" idx="23"/>
          </p:nvPr>
        </p:nvSpPr>
        <p:spPr>
          <a:xfrm>
            <a:off x="4628102" y="2161178"/>
            <a:ext cx="2913130" cy="1663178"/>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25" name="Bildplatzhalter 5">
            <a:extLst>
              <a:ext uri="{FF2B5EF4-FFF2-40B4-BE49-F238E27FC236}">
                <a16:creationId xmlns:a16="http://schemas.microsoft.com/office/drawing/2014/main" id="{5F105300-099C-0B47-91CC-29E9AFF39FDC}"/>
              </a:ext>
            </a:extLst>
          </p:cNvPr>
          <p:cNvSpPr>
            <a:spLocks noGrp="1"/>
          </p:cNvSpPr>
          <p:nvPr>
            <p:ph type="pic" sz="quarter" idx="24"/>
          </p:nvPr>
        </p:nvSpPr>
        <p:spPr>
          <a:xfrm>
            <a:off x="8156493" y="2161178"/>
            <a:ext cx="2913134" cy="1663177"/>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15" name="Titel 1">
            <a:extLst>
              <a:ext uri="{FF2B5EF4-FFF2-40B4-BE49-F238E27FC236}">
                <a16:creationId xmlns:a16="http://schemas.microsoft.com/office/drawing/2014/main" id="{FB7CD102-46E1-614C-9351-4A6BFE349945}"/>
              </a:ext>
            </a:extLst>
          </p:cNvPr>
          <p:cNvSpPr>
            <a:spLocks noGrp="1"/>
          </p:cNvSpPr>
          <p:nvPr>
            <p:ph type="title" hasCustomPrompt="1"/>
          </p:nvPr>
        </p:nvSpPr>
        <p:spPr>
          <a:xfrm>
            <a:off x="515938" y="340234"/>
            <a:ext cx="11160125" cy="491194"/>
          </a:xfrm>
        </p:spPr>
        <p:txBody>
          <a:bodyPr vert="horz"/>
          <a:lstStyle>
            <a:lvl1pPr>
              <a:defRPr b="0">
                <a:solidFill>
                  <a:schemeClr val="tx1"/>
                </a:solidFill>
                <a:latin typeface="+mn-lt"/>
              </a:defRPr>
            </a:lvl1pPr>
          </a:lstStyle>
          <a:p>
            <a:r>
              <a:rPr lang="de-DE" dirty="0"/>
              <a:t>Überschrift I Headline</a:t>
            </a:r>
          </a:p>
        </p:txBody>
      </p:sp>
      <p:sp>
        <p:nvSpPr>
          <p:cNvPr id="17" name="Textplatzhalter 4">
            <a:extLst>
              <a:ext uri="{FF2B5EF4-FFF2-40B4-BE49-F238E27FC236}">
                <a16:creationId xmlns:a16="http://schemas.microsoft.com/office/drawing/2014/main" id="{494DA24A-340E-6B4B-A043-B22194E91F0E}"/>
              </a:ext>
            </a:extLst>
          </p:cNvPr>
          <p:cNvSpPr>
            <a:spLocks noGrp="1"/>
          </p:cNvSpPr>
          <p:nvPr>
            <p:ph type="body" sz="quarter" idx="17" hasCustomPrompt="1"/>
          </p:nvPr>
        </p:nvSpPr>
        <p:spPr>
          <a:xfrm>
            <a:off x="515938" y="831428"/>
            <a:ext cx="11160000" cy="387798"/>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bearbeiten I Edit </a:t>
            </a:r>
            <a:r>
              <a:rPr lang="de-DE" dirty="0" err="1"/>
              <a:t>subtitles</a:t>
            </a:r>
            <a:endParaRPr lang="de-DE" dirty="0"/>
          </a:p>
        </p:txBody>
      </p:sp>
      <p:sp>
        <p:nvSpPr>
          <p:cNvPr id="20" name="Foliennummernplatzhalter 5">
            <a:extLst>
              <a:ext uri="{FF2B5EF4-FFF2-40B4-BE49-F238E27FC236}">
                <a16:creationId xmlns:a16="http://schemas.microsoft.com/office/drawing/2014/main" id="{A27814AD-6500-40EB-B3DE-8CA2CE42BC3B}"/>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21" name="Fußzeilenplatzhalter 3">
            <a:extLst>
              <a:ext uri="{FF2B5EF4-FFF2-40B4-BE49-F238E27FC236}">
                <a16:creationId xmlns:a16="http://schemas.microsoft.com/office/drawing/2014/main" id="{825D8F5F-EEDA-4F89-8CE6-BF5848A8BCB7}"/>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28" name="Datumsplatzhalter 8">
            <a:extLst>
              <a:ext uri="{FF2B5EF4-FFF2-40B4-BE49-F238E27FC236}">
                <a16:creationId xmlns:a16="http://schemas.microsoft.com/office/drawing/2014/main" id="{D6AD6385-5541-41ED-B5E3-EA2E6D84A5FA}"/>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2BBF0264-387D-487B-8AE9-BA08C5A55DBB}" type="datetime1">
              <a:rPr lang="de-DE" smtClean="0"/>
              <a:pPr/>
              <a:t>20.04.2023</a:t>
            </a:fld>
            <a:endParaRPr lang="de-DE" dirty="0"/>
          </a:p>
        </p:txBody>
      </p:sp>
    </p:spTree>
    <p:extLst>
      <p:ext uri="{BB962C8B-B14F-4D97-AF65-F5344CB8AC3E}">
        <p14:creationId xmlns:p14="http://schemas.microsoft.com/office/powerpoint/2010/main" val="2100676760"/>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shboard - 6 Kachel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FD375BA-197B-450B-A78B-15AF039CE7C8}"/>
              </a:ext>
            </a:extLst>
          </p:cNvPr>
          <p:cNvGraphicFramePr>
            <a:graphicFrameLocks noChangeAspect="1"/>
          </p:cNvGraphicFramePr>
          <p:nvPr userDrawn="1">
            <p:custDataLst>
              <p:tags r:id="rId1"/>
            </p:custDataLst>
            <p:extLst>
              <p:ext uri="{D42A27DB-BD31-4B8C-83A1-F6EECF244321}">
                <p14:modId xmlns:p14="http://schemas.microsoft.com/office/powerpoint/2010/main" val="2954999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3" name="Objekt 2" hidden="1">
                        <a:extLst>
                          <a:ext uri="{FF2B5EF4-FFF2-40B4-BE49-F238E27FC236}">
                            <a16:creationId xmlns:a16="http://schemas.microsoft.com/office/drawing/2014/main" id="{7FD375BA-197B-450B-A78B-15AF039CE7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extplatzhalter 2">
            <a:extLst>
              <a:ext uri="{FF2B5EF4-FFF2-40B4-BE49-F238E27FC236}">
                <a16:creationId xmlns:a16="http://schemas.microsoft.com/office/drawing/2014/main" id="{B82F67BF-BE40-D64B-ACE5-494B7E63E13E}"/>
              </a:ext>
            </a:extLst>
          </p:cNvPr>
          <p:cNvSpPr>
            <a:spLocks noGrp="1"/>
          </p:cNvSpPr>
          <p:nvPr>
            <p:ph type="body" idx="13"/>
          </p:nvPr>
        </p:nvSpPr>
        <p:spPr>
          <a:xfrm>
            <a:off x="3449591" y="1638415"/>
            <a:ext cx="2545721" cy="12825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Textplatzhalter 2">
            <a:extLst>
              <a:ext uri="{FF2B5EF4-FFF2-40B4-BE49-F238E27FC236}">
                <a16:creationId xmlns:a16="http://schemas.microsoft.com/office/drawing/2014/main" id="{E5B6EB5C-F640-184A-9E24-4046A9902A9A}"/>
              </a:ext>
            </a:extLst>
          </p:cNvPr>
          <p:cNvSpPr>
            <a:spLocks noGrp="1"/>
          </p:cNvSpPr>
          <p:nvPr>
            <p:ph type="body" idx="14"/>
          </p:nvPr>
        </p:nvSpPr>
        <p:spPr>
          <a:xfrm>
            <a:off x="3449591" y="3092570"/>
            <a:ext cx="2545721" cy="12825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8" name="Textplatzhalter 2">
            <a:extLst>
              <a:ext uri="{FF2B5EF4-FFF2-40B4-BE49-F238E27FC236}">
                <a16:creationId xmlns:a16="http://schemas.microsoft.com/office/drawing/2014/main" id="{6F17F3E8-05AA-C446-8B67-1E5A49390BC0}"/>
              </a:ext>
            </a:extLst>
          </p:cNvPr>
          <p:cNvSpPr>
            <a:spLocks noGrp="1"/>
          </p:cNvSpPr>
          <p:nvPr>
            <p:ph type="body" idx="17"/>
          </p:nvPr>
        </p:nvSpPr>
        <p:spPr>
          <a:xfrm>
            <a:off x="8220202" y="1638415"/>
            <a:ext cx="2545721" cy="12825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0" name="Textplatzhalter 2">
            <a:extLst>
              <a:ext uri="{FF2B5EF4-FFF2-40B4-BE49-F238E27FC236}">
                <a16:creationId xmlns:a16="http://schemas.microsoft.com/office/drawing/2014/main" id="{922A922F-2C05-6746-97A3-05C812F68AC6}"/>
              </a:ext>
            </a:extLst>
          </p:cNvPr>
          <p:cNvSpPr>
            <a:spLocks noGrp="1"/>
          </p:cNvSpPr>
          <p:nvPr>
            <p:ph type="body" idx="18"/>
          </p:nvPr>
        </p:nvSpPr>
        <p:spPr>
          <a:xfrm>
            <a:off x="8220202" y="3092570"/>
            <a:ext cx="2545721" cy="12825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2" name="Bildplatzhalter 5">
            <a:extLst>
              <a:ext uri="{FF2B5EF4-FFF2-40B4-BE49-F238E27FC236}">
                <a16:creationId xmlns:a16="http://schemas.microsoft.com/office/drawing/2014/main" id="{5F83A5CF-61BE-C94E-AAE3-98EFF67F54AE}"/>
              </a:ext>
            </a:extLst>
          </p:cNvPr>
          <p:cNvSpPr>
            <a:spLocks noGrp="1"/>
          </p:cNvSpPr>
          <p:nvPr>
            <p:ph type="pic" sz="quarter" idx="19"/>
          </p:nvPr>
        </p:nvSpPr>
        <p:spPr>
          <a:xfrm>
            <a:off x="6187990" y="1638415"/>
            <a:ext cx="2032212" cy="1282593"/>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34" name="Bildplatzhalter 5">
            <a:extLst>
              <a:ext uri="{FF2B5EF4-FFF2-40B4-BE49-F238E27FC236}">
                <a16:creationId xmlns:a16="http://schemas.microsoft.com/office/drawing/2014/main" id="{C3EF4B84-5EC6-5849-A958-4920C35667E8}"/>
              </a:ext>
            </a:extLst>
          </p:cNvPr>
          <p:cNvSpPr>
            <a:spLocks noGrp="1"/>
          </p:cNvSpPr>
          <p:nvPr>
            <p:ph type="pic" sz="quarter" idx="20"/>
          </p:nvPr>
        </p:nvSpPr>
        <p:spPr>
          <a:xfrm>
            <a:off x="6187990" y="3092570"/>
            <a:ext cx="2032212" cy="1282593"/>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36" name="Bildplatzhalter 5">
            <a:extLst>
              <a:ext uri="{FF2B5EF4-FFF2-40B4-BE49-F238E27FC236}">
                <a16:creationId xmlns:a16="http://schemas.microsoft.com/office/drawing/2014/main" id="{0B8E9C79-850C-6348-9C50-B033D2C1FCBC}"/>
              </a:ext>
            </a:extLst>
          </p:cNvPr>
          <p:cNvSpPr>
            <a:spLocks noGrp="1"/>
          </p:cNvSpPr>
          <p:nvPr>
            <p:ph type="pic" sz="quarter" idx="21"/>
          </p:nvPr>
        </p:nvSpPr>
        <p:spPr>
          <a:xfrm>
            <a:off x="1417379" y="3092570"/>
            <a:ext cx="2032212" cy="1282593"/>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41" name="Bildplatzhalter 5">
            <a:extLst>
              <a:ext uri="{FF2B5EF4-FFF2-40B4-BE49-F238E27FC236}">
                <a16:creationId xmlns:a16="http://schemas.microsoft.com/office/drawing/2014/main" id="{2634FB1A-C6B9-DB44-AAAE-7A946E340F45}"/>
              </a:ext>
            </a:extLst>
          </p:cNvPr>
          <p:cNvSpPr>
            <a:spLocks noGrp="1"/>
          </p:cNvSpPr>
          <p:nvPr>
            <p:ph type="pic" sz="quarter" idx="22"/>
          </p:nvPr>
        </p:nvSpPr>
        <p:spPr>
          <a:xfrm>
            <a:off x="1417379" y="1638415"/>
            <a:ext cx="2032212" cy="1281600"/>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42" name="Textplatzhalter 2">
            <a:extLst>
              <a:ext uri="{FF2B5EF4-FFF2-40B4-BE49-F238E27FC236}">
                <a16:creationId xmlns:a16="http://schemas.microsoft.com/office/drawing/2014/main" id="{7F7EFA98-450D-C244-99FB-D37E9696DBF5}"/>
              </a:ext>
            </a:extLst>
          </p:cNvPr>
          <p:cNvSpPr>
            <a:spLocks noGrp="1"/>
          </p:cNvSpPr>
          <p:nvPr>
            <p:ph type="body" idx="29"/>
          </p:nvPr>
        </p:nvSpPr>
        <p:spPr>
          <a:xfrm>
            <a:off x="3449591" y="4546727"/>
            <a:ext cx="2545721" cy="12825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3" name="Textplatzhalter 2">
            <a:extLst>
              <a:ext uri="{FF2B5EF4-FFF2-40B4-BE49-F238E27FC236}">
                <a16:creationId xmlns:a16="http://schemas.microsoft.com/office/drawing/2014/main" id="{8AA877DA-B07F-D149-8120-35B0BC7FC088}"/>
              </a:ext>
            </a:extLst>
          </p:cNvPr>
          <p:cNvSpPr>
            <a:spLocks noGrp="1"/>
          </p:cNvSpPr>
          <p:nvPr>
            <p:ph type="body" idx="30"/>
          </p:nvPr>
        </p:nvSpPr>
        <p:spPr>
          <a:xfrm>
            <a:off x="8220202" y="4546727"/>
            <a:ext cx="2545721" cy="1282593"/>
          </a:xfrm>
          <a:solidFill>
            <a:srgbClr val="284F72"/>
          </a:solidFill>
        </p:spPr>
        <p:txBody>
          <a:bodyPr lIns="108000" tIns="108000" rIns="108000" bIns="0" anchor="t"/>
          <a:lstStyle>
            <a:lvl1pPr marL="0" indent="0" algn="l">
              <a:lnSpc>
                <a:spcPct val="10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4" name="Bildplatzhalter 5">
            <a:extLst>
              <a:ext uri="{FF2B5EF4-FFF2-40B4-BE49-F238E27FC236}">
                <a16:creationId xmlns:a16="http://schemas.microsoft.com/office/drawing/2014/main" id="{C8E47CB9-0991-2C4E-B39B-894C789BCFEB}"/>
              </a:ext>
            </a:extLst>
          </p:cNvPr>
          <p:cNvSpPr>
            <a:spLocks noGrp="1"/>
          </p:cNvSpPr>
          <p:nvPr>
            <p:ph type="pic" sz="quarter" idx="31"/>
          </p:nvPr>
        </p:nvSpPr>
        <p:spPr>
          <a:xfrm>
            <a:off x="6187990" y="4546727"/>
            <a:ext cx="2032212" cy="1282593"/>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45" name="Bildplatzhalter 5">
            <a:extLst>
              <a:ext uri="{FF2B5EF4-FFF2-40B4-BE49-F238E27FC236}">
                <a16:creationId xmlns:a16="http://schemas.microsoft.com/office/drawing/2014/main" id="{C682EDD5-0E6C-8042-AEF0-BC172E228741}"/>
              </a:ext>
            </a:extLst>
          </p:cNvPr>
          <p:cNvSpPr>
            <a:spLocks noGrp="1"/>
          </p:cNvSpPr>
          <p:nvPr>
            <p:ph type="pic" sz="quarter" idx="32"/>
          </p:nvPr>
        </p:nvSpPr>
        <p:spPr>
          <a:xfrm>
            <a:off x="1417379" y="4546727"/>
            <a:ext cx="2032212" cy="1282593"/>
          </a:xfrm>
          <a:solidFill>
            <a:schemeClr val="accent2"/>
          </a:solidFill>
        </p:spPr>
        <p:txBody>
          <a:bodyPr anchor="ctr"/>
          <a:lstStyle>
            <a:lvl1pPr algn="ctr">
              <a:defRPr sz="2000">
                <a:solidFill>
                  <a:schemeClr val="bg1">
                    <a:lumMod val="65000"/>
                  </a:schemeClr>
                </a:solidFill>
              </a:defRPr>
            </a:lvl1pPr>
          </a:lstStyle>
          <a:p>
            <a:r>
              <a:rPr lang="de-DE"/>
              <a:t>Bild durch Klicken auf Symbol hinzufügen</a:t>
            </a:r>
          </a:p>
        </p:txBody>
      </p:sp>
      <p:sp>
        <p:nvSpPr>
          <p:cNvPr id="23" name="Titel 1">
            <a:extLst>
              <a:ext uri="{FF2B5EF4-FFF2-40B4-BE49-F238E27FC236}">
                <a16:creationId xmlns:a16="http://schemas.microsoft.com/office/drawing/2014/main" id="{D7A2374B-7FB7-2142-A056-F13A4C51F008}"/>
              </a:ext>
            </a:extLst>
          </p:cNvPr>
          <p:cNvSpPr>
            <a:spLocks noGrp="1"/>
          </p:cNvSpPr>
          <p:nvPr>
            <p:ph type="title" hasCustomPrompt="1"/>
          </p:nvPr>
        </p:nvSpPr>
        <p:spPr>
          <a:xfrm>
            <a:off x="515938" y="340234"/>
            <a:ext cx="11180762" cy="491194"/>
          </a:xfrm>
        </p:spPr>
        <p:txBody>
          <a:bodyPr vert="horz"/>
          <a:lstStyle>
            <a:lvl1pPr>
              <a:defRPr b="0">
                <a:solidFill>
                  <a:schemeClr val="tx1"/>
                </a:solidFill>
                <a:latin typeface="+mn-lt"/>
              </a:defRPr>
            </a:lvl1pPr>
          </a:lstStyle>
          <a:p>
            <a:r>
              <a:rPr lang="de-DE" dirty="0"/>
              <a:t>Überschrift I Headline</a:t>
            </a:r>
          </a:p>
        </p:txBody>
      </p:sp>
      <p:sp>
        <p:nvSpPr>
          <p:cNvPr id="25" name="Textplatzhalter 4">
            <a:extLst>
              <a:ext uri="{FF2B5EF4-FFF2-40B4-BE49-F238E27FC236}">
                <a16:creationId xmlns:a16="http://schemas.microsoft.com/office/drawing/2014/main" id="{995C2DE4-BA82-624C-B54A-6E673D295F04}"/>
              </a:ext>
            </a:extLst>
          </p:cNvPr>
          <p:cNvSpPr>
            <a:spLocks noGrp="1"/>
          </p:cNvSpPr>
          <p:nvPr>
            <p:ph type="body" sz="quarter" idx="33" hasCustomPrompt="1"/>
          </p:nvPr>
        </p:nvSpPr>
        <p:spPr>
          <a:xfrm>
            <a:off x="515938" y="831428"/>
            <a:ext cx="11160000" cy="387798"/>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bearbeiten I Edit </a:t>
            </a:r>
            <a:r>
              <a:rPr lang="de-DE" dirty="0" err="1"/>
              <a:t>subtitles</a:t>
            </a:r>
            <a:endParaRPr lang="de-DE" dirty="0"/>
          </a:p>
        </p:txBody>
      </p:sp>
      <p:sp>
        <p:nvSpPr>
          <p:cNvPr id="29" name="Foliennummernplatzhalter 5">
            <a:extLst>
              <a:ext uri="{FF2B5EF4-FFF2-40B4-BE49-F238E27FC236}">
                <a16:creationId xmlns:a16="http://schemas.microsoft.com/office/drawing/2014/main" id="{B96E0D9B-C5D5-41D4-9A09-9984649B6289}"/>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31" name="Fußzeilenplatzhalter 3">
            <a:extLst>
              <a:ext uri="{FF2B5EF4-FFF2-40B4-BE49-F238E27FC236}">
                <a16:creationId xmlns:a16="http://schemas.microsoft.com/office/drawing/2014/main" id="{98A57A3B-A8BB-46BE-952C-2FD7576C4DBD}"/>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33" name="Datumsplatzhalter 8">
            <a:extLst>
              <a:ext uri="{FF2B5EF4-FFF2-40B4-BE49-F238E27FC236}">
                <a16:creationId xmlns:a16="http://schemas.microsoft.com/office/drawing/2014/main" id="{398E2729-16E7-462C-A3B8-1BB6CA79AAD0}"/>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268F3B1D-AE2D-4817-8327-AC82594303BF}" type="datetime1">
              <a:rPr lang="de-DE" smtClean="0"/>
              <a:pPr/>
              <a:t>20.04.2023</a:t>
            </a:fld>
            <a:endParaRPr lang="de-DE" dirty="0"/>
          </a:p>
        </p:txBody>
      </p:sp>
    </p:spTree>
    <p:extLst>
      <p:ext uri="{BB962C8B-B14F-4D97-AF65-F5344CB8AC3E}">
        <p14:creationId xmlns:p14="http://schemas.microsoft.com/office/powerpoint/2010/main" val="2474224365"/>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 Bild mit Text rechts">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270C4C5-5317-4919-8DB5-0485BE30CDC2}"/>
              </a:ext>
            </a:extLst>
          </p:cNvPr>
          <p:cNvSpPr/>
          <p:nvPr userDrawn="1"/>
        </p:nvSpPr>
        <p:spPr>
          <a:xfrm>
            <a:off x="10274300" y="6070600"/>
            <a:ext cx="1746463" cy="5921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14" name="Freihandform: Form 13">
            <a:extLst>
              <a:ext uri="{FF2B5EF4-FFF2-40B4-BE49-F238E27FC236}">
                <a16:creationId xmlns:a16="http://schemas.microsoft.com/office/drawing/2014/main" id="{0D8653A3-71E5-4997-B94D-F2FFDBEE6BE9}"/>
              </a:ext>
            </a:extLst>
          </p:cNvPr>
          <p:cNvSpPr/>
          <p:nvPr userDrawn="1"/>
        </p:nvSpPr>
        <p:spPr>
          <a:xfrm>
            <a:off x="10020300" y="1196975"/>
            <a:ext cx="2171700" cy="5661025"/>
          </a:xfrm>
          <a:custGeom>
            <a:avLst/>
            <a:gdLst>
              <a:gd name="connsiteX0" fmla="*/ 286809 w 2171700"/>
              <a:gd name="connsiteY0" fmla="*/ 4870854 h 5661025"/>
              <a:gd name="connsiteX1" fmla="*/ 286809 w 2171700"/>
              <a:gd name="connsiteY1" fmla="*/ 5447892 h 5661025"/>
              <a:gd name="connsiteX2" fmla="*/ 2000463 w 2171700"/>
              <a:gd name="connsiteY2" fmla="*/ 5447892 h 5661025"/>
              <a:gd name="connsiteX3" fmla="*/ 2000463 w 2171700"/>
              <a:gd name="connsiteY3" fmla="*/ 4870854 h 5661025"/>
              <a:gd name="connsiteX4" fmla="*/ 0 w 2171700"/>
              <a:gd name="connsiteY4" fmla="*/ 0 h 5661025"/>
              <a:gd name="connsiteX5" fmla="*/ 2171700 w 2171700"/>
              <a:gd name="connsiteY5" fmla="*/ 0 h 5661025"/>
              <a:gd name="connsiteX6" fmla="*/ 2171700 w 2171700"/>
              <a:gd name="connsiteY6" fmla="*/ 5661025 h 5661025"/>
              <a:gd name="connsiteX7" fmla="*/ 0 w 2171700"/>
              <a:gd name="connsiteY7" fmla="*/ 5661025 h 566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1700" h="5661025">
                <a:moveTo>
                  <a:pt x="286809" y="4870854"/>
                </a:moveTo>
                <a:lnTo>
                  <a:pt x="286809" y="5447892"/>
                </a:lnTo>
                <a:lnTo>
                  <a:pt x="2000463" y="5447892"/>
                </a:lnTo>
                <a:lnTo>
                  <a:pt x="2000463" y="4870854"/>
                </a:lnTo>
                <a:close/>
                <a:moveTo>
                  <a:pt x="0" y="0"/>
                </a:moveTo>
                <a:lnTo>
                  <a:pt x="2171700" y="0"/>
                </a:lnTo>
                <a:lnTo>
                  <a:pt x="2171700" y="5661025"/>
                </a:lnTo>
                <a:lnTo>
                  <a:pt x="0" y="5661025"/>
                </a:lnTo>
                <a:close/>
              </a:path>
            </a:pathLst>
          </a:cu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latin typeface="+mj-lt"/>
            </a:endParaRPr>
          </a:p>
        </p:txBody>
      </p:sp>
      <p:sp>
        <p:nvSpPr>
          <p:cNvPr id="7" name="Textfeld 6">
            <a:extLst>
              <a:ext uri="{FF2B5EF4-FFF2-40B4-BE49-F238E27FC236}">
                <a16:creationId xmlns:a16="http://schemas.microsoft.com/office/drawing/2014/main" id="{F5C21B50-9205-9E45-A51B-C7638C012CF6}"/>
              </a:ext>
            </a:extLst>
          </p:cNvPr>
          <p:cNvSpPr txBox="1"/>
          <p:nvPr userDrawn="1"/>
        </p:nvSpPr>
        <p:spPr>
          <a:xfrm>
            <a:off x="10144488" y="1482436"/>
            <a:ext cx="1876275" cy="276999"/>
          </a:xfrm>
          <a:prstGeom prst="rect">
            <a:avLst/>
          </a:prstGeom>
          <a:noFill/>
        </p:spPr>
        <p:txBody>
          <a:bodyPr wrap="square">
            <a:spAutoFit/>
          </a:bodyPr>
          <a:lstStyle/>
          <a:p>
            <a:r>
              <a:rPr lang="de-DE" sz="1200">
                <a:latin typeface="+mj-lt"/>
                <a:cs typeface="Segoe UI" panose="020B0502040204020203" pitchFamily="34" charset="0"/>
              </a:rPr>
              <a:t>Text einfügen</a:t>
            </a:r>
          </a:p>
        </p:txBody>
      </p:sp>
      <p:sp>
        <p:nvSpPr>
          <p:cNvPr id="13" name="Inhaltsplatzhalter 5">
            <a:extLst>
              <a:ext uri="{FF2B5EF4-FFF2-40B4-BE49-F238E27FC236}">
                <a16:creationId xmlns:a16="http://schemas.microsoft.com/office/drawing/2014/main" id="{397EF706-7C9F-8F47-99F9-1F6571D0AE74}"/>
              </a:ext>
            </a:extLst>
          </p:cNvPr>
          <p:cNvSpPr txBox="1">
            <a:spLocks/>
          </p:cNvSpPr>
          <p:nvPr userDrawn="1"/>
        </p:nvSpPr>
        <p:spPr>
          <a:xfrm>
            <a:off x="0" y="1196974"/>
            <a:ext cx="10020300" cy="566102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None/>
              <a:defRPr sz="20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Tx/>
              <a:buNone/>
              <a:tabLst/>
              <a:defRPr/>
            </a:pPr>
            <a:endParaRPr kumimoji="0" lang="de-DE" sz="2000" b="0" i="0" u="none" strike="noStrike" kern="1200" cap="none" spc="0" normalizeH="0" baseline="0" noProof="0">
              <a:ln>
                <a:noFill/>
              </a:ln>
              <a:solidFill>
                <a:sysClr val="windowText" lastClr="000000"/>
              </a:solidFill>
              <a:effectLst/>
              <a:uLnTx/>
              <a:uFillTx/>
              <a:latin typeface="+mj-lt"/>
              <a:ea typeface="+mn-ea"/>
              <a:cs typeface="Segoe UI" panose="020B0502040204020203" pitchFamily="34" charset="0"/>
            </a:endParaRPr>
          </a:p>
        </p:txBody>
      </p:sp>
      <p:sp>
        <p:nvSpPr>
          <p:cNvPr id="15" name="Inhaltsplatzhalter 5">
            <a:extLst>
              <a:ext uri="{FF2B5EF4-FFF2-40B4-BE49-F238E27FC236}">
                <a16:creationId xmlns:a16="http://schemas.microsoft.com/office/drawing/2014/main" id="{F2400B66-29C2-FD4B-95E4-1236F408EEF3}"/>
              </a:ext>
            </a:extLst>
          </p:cNvPr>
          <p:cNvSpPr>
            <a:spLocks noGrp="1"/>
          </p:cNvSpPr>
          <p:nvPr>
            <p:ph sz="quarter" idx="4"/>
          </p:nvPr>
        </p:nvSpPr>
        <p:spPr>
          <a:xfrm>
            <a:off x="0" y="1196975"/>
            <a:ext cx="10020300" cy="5661025"/>
          </a:xfrm>
          <a:solidFill>
            <a:schemeClr val="accent2"/>
          </a:solidFill>
        </p:spPr>
        <p:txBody>
          <a:bodyPr anchor="ctr"/>
          <a:lstStyle>
            <a:lvl1pPr algn="ctr">
              <a:buFontTx/>
              <a:buNone/>
              <a:defRPr sz="2000" b="0">
                <a:solidFill>
                  <a:schemeClr val="bg1">
                    <a:lumMod val="65000"/>
                  </a:schemeClr>
                </a:solidFill>
                <a:latin typeface="+mj-lt"/>
              </a:defRPr>
            </a:lvl1pPr>
          </a:lstStyle>
          <a:p>
            <a:pPr lvl="0"/>
            <a:r>
              <a:rPr lang="de-DE"/>
              <a:t>Mastertextformat bearbeiten</a:t>
            </a:r>
          </a:p>
        </p:txBody>
      </p:sp>
      <p:sp>
        <p:nvSpPr>
          <p:cNvPr id="19" name="Titel 1">
            <a:extLst>
              <a:ext uri="{FF2B5EF4-FFF2-40B4-BE49-F238E27FC236}">
                <a16:creationId xmlns:a16="http://schemas.microsoft.com/office/drawing/2014/main" id="{DA26AA71-8B6A-C840-BEF6-D2B61C90412A}"/>
              </a:ext>
            </a:extLst>
          </p:cNvPr>
          <p:cNvSpPr>
            <a:spLocks noGrp="1"/>
          </p:cNvSpPr>
          <p:nvPr>
            <p:ph type="title"/>
          </p:nvPr>
        </p:nvSpPr>
        <p:spPr>
          <a:xfrm>
            <a:off x="515938" y="340234"/>
            <a:ext cx="11160125" cy="662611"/>
          </a:xfrm>
        </p:spPr>
        <p:txBody>
          <a:bodyPr vert="horz"/>
          <a:lstStyle>
            <a:lvl1pPr>
              <a:defRPr b="0">
                <a:latin typeface="+mn-lt"/>
              </a:defRPr>
            </a:lvl1pPr>
          </a:lstStyle>
          <a:p>
            <a:r>
              <a:rPr lang="de-DE"/>
              <a:t>Mastertitelformat bearbeiten</a:t>
            </a:r>
            <a:endParaRPr lang="de-DE" dirty="0"/>
          </a:p>
        </p:txBody>
      </p:sp>
      <p:sp>
        <p:nvSpPr>
          <p:cNvPr id="9" name="Foliennummernplatzhalter 5">
            <a:extLst>
              <a:ext uri="{FF2B5EF4-FFF2-40B4-BE49-F238E27FC236}">
                <a16:creationId xmlns:a16="http://schemas.microsoft.com/office/drawing/2014/main" id="{8BD1B383-FEFA-44B4-B800-D5FFD0DDC769}"/>
              </a:ext>
            </a:extLst>
          </p:cNvPr>
          <p:cNvSpPr>
            <a:spLocks noGrp="1"/>
          </p:cNvSpPr>
          <p:nvPr>
            <p:ph type="sldNum" sz="quarter" idx="10"/>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pic>
        <p:nvPicPr>
          <p:cNvPr id="16" name="Grafik 15">
            <a:extLst>
              <a:ext uri="{FF2B5EF4-FFF2-40B4-BE49-F238E27FC236}">
                <a16:creationId xmlns:a16="http://schemas.microsoft.com/office/drawing/2014/main" id="{5F751BBC-031E-42A8-BA7F-DB4862A08665}"/>
              </a:ext>
            </a:extLst>
          </p:cNvPr>
          <p:cNvPicPr>
            <a:picLocks noChangeAspect="1"/>
          </p:cNvPicPr>
          <p:nvPr userDrawn="1"/>
        </p:nvPicPr>
        <p:blipFill>
          <a:blip r:embed="rId2"/>
          <a:stretch>
            <a:fillRect/>
          </a:stretch>
        </p:blipFill>
        <p:spPr>
          <a:xfrm>
            <a:off x="10307109" y="6067829"/>
            <a:ext cx="1713654" cy="577038"/>
          </a:xfrm>
          <a:prstGeom prst="rect">
            <a:avLst/>
          </a:prstGeom>
        </p:spPr>
      </p:pic>
    </p:spTree>
    <p:extLst>
      <p:ext uri="{BB962C8B-B14F-4D97-AF65-F5344CB8AC3E}">
        <p14:creationId xmlns:p14="http://schemas.microsoft.com/office/powerpoint/2010/main" val="372425530"/>
      </p:ext>
    </p:extLst>
  </p:cSld>
  <p:clrMapOvr>
    <a:masterClrMapping/>
  </p:clrMapOvr>
  <p:hf hdr="0"/>
  <p:extLst>
    <p:ext uri="{DCECCB84-F9BA-43D5-87BE-67443E8EF086}">
      <p15:sldGuideLst xmlns:p15="http://schemas.microsoft.com/office/powerpoint/2012/main">
        <p15:guide id="1" pos="6312">
          <p15:clr>
            <a:srgbClr val="FBAE40"/>
          </p15:clr>
        </p15:guide>
        <p15:guide id="2" orient="horz" pos="754">
          <p15:clr>
            <a:srgbClr val="FBAE40"/>
          </p15:clr>
        </p15:guide>
        <p15:guide id="3" pos="71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Text Bausteine +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B222B94-2502-4655-8062-5612DD24CE4D}"/>
              </a:ext>
            </a:extLst>
          </p:cNvPr>
          <p:cNvGraphicFramePr>
            <a:graphicFrameLocks noChangeAspect="1"/>
          </p:cNvGraphicFramePr>
          <p:nvPr userDrawn="1">
            <p:custDataLst>
              <p:tags r:id="rId1"/>
            </p:custDataLst>
            <p:extLst>
              <p:ext uri="{D42A27DB-BD31-4B8C-83A1-F6EECF244321}">
                <p14:modId xmlns:p14="http://schemas.microsoft.com/office/powerpoint/2010/main" val="2507294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7" name="Objekt 6" hidden="1">
                        <a:extLst>
                          <a:ext uri="{FF2B5EF4-FFF2-40B4-BE49-F238E27FC236}">
                            <a16:creationId xmlns:a16="http://schemas.microsoft.com/office/drawing/2014/main" id="{1B222B94-2502-4655-8062-5612DD24C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Textplatzhalter 2">
            <a:extLst>
              <a:ext uri="{FF2B5EF4-FFF2-40B4-BE49-F238E27FC236}">
                <a16:creationId xmlns:a16="http://schemas.microsoft.com/office/drawing/2014/main" id="{D607F26A-0D43-4441-932E-EA35304503E9}"/>
              </a:ext>
            </a:extLst>
          </p:cNvPr>
          <p:cNvSpPr>
            <a:spLocks noGrp="1"/>
          </p:cNvSpPr>
          <p:nvPr>
            <p:ph type="body" idx="14"/>
          </p:nvPr>
        </p:nvSpPr>
        <p:spPr>
          <a:xfrm>
            <a:off x="2149214" y="3149826"/>
            <a:ext cx="2117590" cy="2895045"/>
          </a:xfrm>
          <a:solidFill>
            <a:schemeClr val="accent3"/>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4" name="Textplatzhalter 2">
            <a:extLst>
              <a:ext uri="{FF2B5EF4-FFF2-40B4-BE49-F238E27FC236}">
                <a16:creationId xmlns:a16="http://schemas.microsoft.com/office/drawing/2014/main" id="{0294D4CF-D366-5D43-AACC-3E4C1423EC39}"/>
              </a:ext>
            </a:extLst>
          </p:cNvPr>
          <p:cNvSpPr>
            <a:spLocks noGrp="1"/>
          </p:cNvSpPr>
          <p:nvPr>
            <p:ph type="body" idx="15"/>
          </p:nvPr>
        </p:nvSpPr>
        <p:spPr>
          <a:xfrm>
            <a:off x="5017206" y="3149826"/>
            <a:ext cx="2117590" cy="2895045"/>
          </a:xfrm>
          <a:solidFill>
            <a:schemeClr val="accent3"/>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15" name="Textplatzhalter 2">
            <a:extLst>
              <a:ext uri="{FF2B5EF4-FFF2-40B4-BE49-F238E27FC236}">
                <a16:creationId xmlns:a16="http://schemas.microsoft.com/office/drawing/2014/main" id="{472B9EA2-21CB-4DDA-A24D-1EA0D4704954}"/>
              </a:ext>
            </a:extLst>
          </p:cNvPr>
          <p:cNvSpPr>
            <a:spLocks noGrp="1"/>
          </p:cNvSpPr>
          <p:nvPr>
            <p:ph type="body" idx="16"/>
          </p:nvPr>
        </p:nvSpPr>
        <p:spPr>
          <a:xfrm>
            <a:off x="7935482" y="3149826"/>
            <a:ext cx="2117590" cy="2895045"/>
          </a:xfrm>
          <a:solidFill>
            <a:schemeClr val="accent3"/>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0" name="Bildplatzhalter 5">
            <a:extLst>
              <a:ext uri="{FF2B5EF4-FFF2-40B4-BE49-F238E27FC236}">
                <a16:creationId xmlns:a16="http://schemas.microsoft.com/office/drawing/2014/main" id="{96513A13-432C-4044-9AD4-9E9F449A696D}"/>
              </a:ext>
            </a:extLst>
          </p:cNvPr>
          <p:cNvSpPr>
            <a:spLocks noGrp="1"/>
          </p:cNvSpPr>
          <p:nvPr>
            <p:ph type="pic" sz="quarter" idx="22"/>
          </p:nvPr>
        </p:nvSpPr>
        <p:spPr>
          <a:xfrm>
            <a:off x="2149214" y="1549734"/>
            <a:ext cx="211759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25" name="Bildplatzhalter 5">
            <a:extLst>
              <a:ext uri="{FF2B5EF4-FFF2-40B4-BE49-F238E27FC236}">
                <a16:creationId xmlns:a16="http://schemas.microsoft.com/office/drawing/2014/main" id="{48AE97E9-DA3B-4912-9CB9-8A97F0412C76}"/>
              </a:ext>
            </a:extLst>
          </p:cNvPr>
          <p:cNvSpPr>
            <a:spLocks noGrp="1"/>
          </p:cNvSpPr>
          <p:nvPr>
            <p:ph type="pic" sz="quarter" idx="23"/>
          </p:nvPr>
        </p:nvSpPr>
        <p:spPr>
          <a:xfrm>
            <a:off x="5017205" y="1549734"/>
            <a:ext cx="211680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26" name="Bildplatzhalter 5">
            <a:extLst>
              <a:ext uri="{FF2B5EF4-FFF2-40B4-BE49-F238E27FC236}">
                <a16:creationId xmlns:a16="http://schemas.microsoft.com/office/drawing/2014/main" id="{AC84D9D4-CD28-458A-A689-780288422DFB}"/>
              </a:ext>
            </a:extLst>
          </p:cNvPr>
          <p:cNvSpPr>
            <a:spLocks noGrp="1"/>
          </p:cNvSpPr>
          <p:nvPr>
            <p:ph type="pic" sz="quarter" idx="24"/>
          </p:nvPr>
        </p:nvSpPr>
        <p:spPr>
          <a:xfrm>
            <a:off x="7935481" y="1549734"/>
            <a:ext cx="211680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13" name="Titel 1">
            <a:extLst>
              <a:ext uri="{FF2B5EF4-FFF2-40B4-BE49-F238E27FC236}">
                <a16:creationId xmlns:a16="http://schemas.microsoft.com/office/drawing/2014/main" id="{B851EED9-359C-3848-8B94-78B361927233}"/>
              </a:ext>
            </a:extLst>
          </p:cNvPr>
          <p:cNvSpPr>
            <a:spLocks noGrp="1"/>
          </p:cNvSpPr>
          <p:nvPr>
            <p:ph type="title" hasCustomPrompt="1"/>
          </p:nvPr>
        </p:nvSpPr>
        <p:spPr>
          <a:xfrm>
            <a:off x="515938" y="340234"/>
            <a:ext cx="11160125" cy="485266"/>
          </a:xfrm>
        </p:spPr>
        <p:txBody>
          <a:bodyPr vert="horz"/>
          <a:lstStyle>
            <a:lvl1pPr>
              <a:defRPr b="0">
                <a:solidFill>
                  <a:schemeClr val="tx1"/>
                </a:solidFill>
                <a:latin typeface="+mn-lt"/>
              </a:defRPr>
            </a:lvl1pPr>
          </a:lstStyle>
          <a:p>
            <a:r>
              <a:rPr lang="de-DE" dirty="0"/>
              <a:t>Überschrift I Headline</a:t>
            </a:r>
          </a:p>
        </p:txBody>
      </p:sp>
      <p:sp>
        <p:nvSpPr>
          <p:cNvPr id="17" name="Textplatzhalter 4">
            <a:extLst>
              <a:ext uri="{FF2B5EF4-FFF2-40B4-BE49-F238E27FC236}">
                <a16:creationId xmlns:a16="http://schemas.microsoft.com/office/drawing/2014/main" id="{7F3040F8-124D-5044-9ED1-C021C7D659F1}"/>
              </a:ext>
            </a:extLst>
          </p:cNvPr>
          <p:cNvSpPr>
            <a:spLocks noGrp="1"/>
          </p:cNvSpPr>
          <p:nvPr>
            <p:ph type="body" sz="quarter" idx="17" hasCustomPrompt="1"/>
          </p:nvPr>
        </p:nvSpPr>
        <p:spPr>
          <a:xfrm>
            <a:off x="515938" y="831428"/>
            <a:ext cx="11160000" cy="387798"/>
          </a:xfrm>
        </p:spPr>
        <p:txBody>
          <a:bodyPr vert="horz" lIns="0" tIns="0" rIns="0" bIns="0" rtlCol="0" anchor="t">
            <a:noAutofit/>
          </a:bodyPr>
          <a:lstStyle>
            <a:lvl1pPr>
              <a:defRPr lang="de-DE" sz="2000" b="0" u="none">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bearbeiten I Edit </a:t>
            </a:r>
            <a:r>
              <a:rPr lang="de-DE" dirty="0" err="1"/>
              <a:t>subtitles</a:t>
            </a:r>
            <a:endParaRPr lang="de-DE" dirty="0"/>
          </a:p>
        </p:txBody>
      </p:sp>
      <p:sp>
        <p:nvSpPr>
          <p:cNvPr id="19" name="Foliennummernplatzhalter 5">
            <a:extLst>
              <a:ext uri="{FF2B5EF4-FFF2-40B4-BE49-F238E27FC236}">
                <a16:creationId xmlns:a16="http://schemas.microsoft.com/office/drawing/2014/main" id="{9931CBE2-2FE1-491E-AC84-D55CA59223DA}"/>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21" name="Fußzeilenplatzhalter 3">
            <a:extLst>
              <a:ext uri="{FF2B5EF4-FFF2-40B4-BE49-F238E27FC236}">
                <a16:creationId xmlns:a16="http://schemas.microsoft.com/office/drawing/2014/main" id="{B4715C78-1E85-4FBB-AC77-34FAE2F9CA37}"/>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22" name="Datumsplatzhalter 8">
            <a:extLst>
              <a:ext uri="{FF2B5EF4-FFF2-40B4-BE49-F238E27FC236}">
                <a16:creationId xmlns:a16="http://schemas.microsoft.com/office/drawing/2014/main" id="{5192275F-0C0C-43FC-AACC-33731E9ADD4B}"/>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4B702EC1-822E-4D23-8C3A-B2AD723EBCA4}" type="datetime1">
              <a:rPr lang="de-DE" smtClean="0"/>
              <a:pPr/>
              <a:t>20.04.2023</a:t>
            </a:fld>
            <a:endParaRPr lang="de-DE" dirty="0"/>
          </a:p>
        </p:txBody>
      </p:sp>
    </p:spTree>
    <p:extLst>
      <p:ext uri="{BB962C8B-B14F-4D97-AF65-F5344CB8AC3E}">
        <p14:creationId xmlns:p14="http://schemas.microsoft.com/office/powerpoint/2010/main" val="3255612316"/>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Text Bausteine +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B222B94-2502-4655-8062-5612DD24CE4D}"/>
              </a:ext>
            </a:extLst>
          </p:cNvPr>
          <p:cNvGraphicFramePr>
            <a:graphicFrameLocks noChangeAspect="1"/>
          </p:cNvGraphicFramePr>
          <p:nvPr userDrawn="1">
            <p:custDataLst>
              <p:tags r:id="rId1"/>
            </p:custDataLst>
            <p:extLst>
              <p:ext uri="{D42A27DB-BD31-4B8C-83A1-F6EECF244321}">
                <p14:modId xmlns:p14="http://schemas.microsoft.com/office/powerpoint/2010/main" val="2507294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7" name="Objekt 6" hidden="1">
                        <a:extLst>
                          <a:ext uri="{FF2B5EF4-FFF2-40B4-BE49-F238E27FC236}">
                            <a16:creationId xmlns:a16="http://schemas.microsoft.com/office/drawing/2014/main" id="{1B222B94-2502-4655-8062-5612DD24C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Textplatzhalter 2">
            <a:extLst>
              <a:ext uri="{FF2B5EF4-FFF2-40B4-BE49-F238E27FC236}">
                <a16:creationId xmlns:a16="http://schemas.microsoft.com/office/drawing/2014/main" id="{9BC1A026-3D72-C64B-8BD9-EAAABF221770}"/>
              </a:ext>
            </a:extLst>
          </p:cNvPr>
          <p:cNvSpPr>
            <a:spLocks noGrp="1"/>
          </p:cNvSpPr>
          <p:nvPr>
            <p:ph type="body" idx="26"/>
          </p:nvPr>
        </p:nvSpPr>
        <p:spPr>
          <a:xfrm>
            <a:off x="1349385" y="3162299"/>
            <a:ext cx="2117590" cy="2895045"/>
          </a:xfrm>
          <a:solidFill>
            <a:srgbClr val="284F72"/>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1" name="Textplatzhalter 2">
            <a:extLst>
              <a:ext uri="{FF2B5EF4-FFF2-40B4-BE49-F238E27FC236}">
                <a16:creationId xmlns:a16="http://schemas.microsoft.com/office/drawing/2014/main" id="{0974EFC2-132E-924F-8F1D-B919A8B0DFA8}"/>
              </a:ext>
            </a:extLst>
          </p:cNvPr>
          <p:cNvSpPr>
            <a:spLocks noGrp="1"/>
          </p:cNvSpPr>
          <p:nvPr>
            <p:ph type="body" idx="27"/>
          </p:nvPr>
        </p:nvSpPr>
        <p:spPr>
          <a:xfrm>
            <a:off x="3801474" y="3162299"/>
            <a:ext cx="2117590" cy="2895045"/>
          </a:xfrm>
          <a:solidFill>
            <a:srgbClr val="284F72"/>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2" name="Textplatzhalter 2">
            <a:extLst>
              <a:ext uri="{FF2B5EF4-FFF2-40B4-BE49-F238E27FC236}">
                <a16:creationId xmlns:a16="http://schemas.microsoft.com/office/drawing/2014/main" id="{F6FEEAEE-19B8-254C-9050-C96E16BB6D85}"/>
              </a:ext>
            </a:extLst>
          </p:cNvPr>
          <p:cNvSpPr>
            <a:spLocks noGrp="1"/>
          </p:cNvSpPr>
          <p:nvPr>
            <p:ph type="body" idx="28"/>
          </p:nvPr>
        </p:nvSpPr>
        <p:spPr>
          <a:xfrm>
            <a:off x="6257703" y="3162299"/>
            <a:ext cx="2117590" cy="2895045"/>
          </a:xfrm>
          <a:solidFill>
            <a:srgbClr val="284F72"/>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3" name="Bildplatzhalter 5">
            <a:extLst>
              <a:ext uri="{FF2B5EF4-FFF2-40B4-BE49-F238E27FC236}">
                <a16:creationId xmlns:a16="http://schemas.microsoft.com/office/drawing/2014/main" id="{4A81357F-97F7-314E-B11F-877C34415C37}"/>
              </a:ext>
            </a:extLst>
          </p:cNvPr>
          <p:cNvSpPr>
            <a:spLocks noGrp="1"/>
          </p:cNvSpPr>
          <p:nvPr>
            <p:ph type="pic" sz="quarter" idx="29"/>
          </p:nvPr>
        </p:nvSpPr>
        <p:spPr>
          <a:xfrm>
            <a:off x="1349385" y="1562207"/>
            <a:ext cx="211759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34" name="Bildplatzhalter 5">
            <a:extLst>
              <a:ext uri="{FF2B5EF4-FFF2-40B4-BE49-F238E27FC236}">
                <a16:creationId xmlns:a16="http://schemas.microsoft.com/office/drawing/2014/main" id="{6DB35557-ED53-2742-888E-F64087CFACC3}"/>
              </a:ext>
            </a:extLst>
          </p:cNvPr>
          <p:cNvSpPr>
            <a:spLocks noGrp="1"/>
          </p:cNvSpPr>
          <p:nvPr>
            <p:ph type="pic" sz="quarter" idx="30"/>
          </p:nvPr>
        </p:nvSpPr>
        <p:spPr>
          <a:xfrm>
            <a:off x="3801473" y="1562207"/>
            <a:ext cx="211680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35" name="Bildplatzhalter 5">
            <a:extLst>
              <a:ext uri="{FF2B5EF4-FFF2-40B4-BE49-F238E27FC236}">
                <a16:creationId xmlns:a16="http://schemas.microsoft.com/office/drawing/2014/main" id="{01D51DDC-0EDF-2644-9624-B300906A64BE}"/>
              </a:ext>
            </a:extLst>
          </p:cNvPr>
          <p:cNvSpPr>
            <a:spLocks noGrp="1"/>
          </p:cNvSpPr>
          <p:nvPr>
            <p:ph type="pic" sz="quarter" idx="31"/>
          </p:nvPr>
        </p:nvSpPr>
        <p:spPr>
          <a:xfrm>
            <a:off x="6257702" y="1562207"/>
            <a:ext cx="211680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36" name="Textplatzhalter 2">
            <a:extLst>
              <a:ext uri="{FF2B5EF4-FFF2-40B4-BE49-F238E27FC236}">
                <a16:creationId xmlns:a16="http://schemas.microsoft.com/office/drawing/2014/main" id="{38FC3FEA-D556-224A-AFDB-8ECF3C97AE5E}"/>
              </a:ext>
            </a:extLst>
          </p:cNvPr>
          <p:cNvSpPr>
            <a:spLocks noGrp="1"/>
          </p:cNvSpPr>
          <p:nvPr>
            <p:ph type="body" idx="32"/>
          </p:nvPr>
        </p:nvSpPr>
        <p:spPr>
          <a:xfrm>
            <a:off x="8706594" y="3162299"/>
            <a:ext cx="2117590" cy="2895045"/>
          </a:xfrm>
          <a:solidFill>
            <a:srgbClr val="284F72"/>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7" name="Bildplatzhalter 5">
            <a:extLst>
              <a:ext uri="{FF2B5EF4-FFF2-40B4-BE49-F238E27FC236}">
                <a16:creationId xmlns:a16="http://schemas.microsoft.com/office/drawing/2014/main" id="{9CA2F34E-5903-5842-A63D-5FB5477B1BE7}"/>
              </a:ext>
            </a:extLst>
          </p:cNvPr>
          <p:cNvSpPr>
            <a:spLocks noGrp="1"/>
          </p:cNvSpPr>
          <p:nvPr>
            <p:ph type="pic" sz="quarter" idx="33"/>
          </p:nvPr>
        </p:nvSpPr>
        <p:spPr>
          <a:xfrm>
            <a:off x="8706593" y="1562207"/>
            <a:ext cx="211680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15" name="Titel 1">
            <a:extLst>
              <a:ext uri="{FF2B5EF4-FFF2-40B4-BE49-F238E27FC236}">
                <a16:creationId xmlns:a16="http://schemas.microsoft.com/office/drawing/2014/main" id="{CE7FD68B-38EB-6144-8FA7-AC383AD6BC0E}"/>
              </a:ext>
            </a:extLst>
          </p:cNvPr>
          <p:cNvSpPr>
            <a:spLocks noGrp="1"/>
          </p:cNvSpPr>
          <p:nvPr>
            <p:ph type="title" hasCustomPrompt="1"/>
          </p:nvPr>
        </p:nvSpPr>
        <p:spPr>
          <a:xfrm>
            <a:off x="515938" y="340234"/>
            <a:ext cx="11160125" cy="868362"/>
          </a:xfrm>
        </p:spPr>
        <p:txBody>
          <a:bodyPr vert="horz"/>
          <a:lstStyle>
            <a:lvl1pPr>
              <a:defRPr b="0">
                <a:latin typeface="+mn-lt"/>
              </a:defRPr>
            </a:lvl1pPr>
          </a:lstStyle>
          <a:p>
            <a:r>
              <a:rPr lang="de-DE" dirty="0"/>
              <a:t>Überschrift I Headline</a:t>
            </a:r>
          </a:p>
        </p:txBody>
      </p:sp>
      <p:sp>
        <p:nvSpPr>
          <p:cNvPr id="17" name="Textplatzhalter 4">
            <a:extLst>
              <a:ext uri="{FF2B5EF4-FFF2-40B4-BE49-F238E27FC236}">
                <a16:creationId xmlns:a16="http://schemas.microsoft.com/office/drawing/2014/main" id="{AD5E64C3-FCAE-E749-A5BE-838738FA72AA}"/>
              </a:ext>
            </a:extLst>
          </p:cNvPr>
          <p:cNvSpPr>
            <a:spLocks noGrp="1"/>
          </p:cNvSpPr>
          <p:nvPr>
            <p:ph type="body" sz="quarter" idx="17" hasCustomPrompt="1"/>
          </p:nvPr>
        </p:nvSpPr>
        <p:spPr>
          <a:xfrm>
            <a:off x="515938" y="831428"/>
            <a:ext cx="11160000" cy="387798"/>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bearbeiten I Edit </a:t>
            </a:r>
            <a:r>
              <a:rPr lang="de-DE" dirty="0" err="1"/>
              <a:t>subtitles</a:t>
            </a:r>
            <a:endParaRPr lang="de-DE" dirty="0"/>
          </a:p>
        </p:txBody>
      </p:sp>
      <p:sp>
        <p:nvSpPr>
          <p:cNvPr id="20" name="Foliennummernplatzhalter 5">
            <a:extLst>
              <a:ext uri="{FF2B5EF4-FFF2-40B4-BE49-F238E27FC236}">
                <a16:creationId xmlns:a16="http://schemas.microsoft.com/office/drawing/2014/main" id="{BC1BD849-4DF0-4A08-87D4-CAD6F478D7A7}"/>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21" name="Fußzeilenplatzhalter 3">
            <a:extLst>
              <a:ext uri="{FF2B5EF4-FFF2-40B4-BE49-F238E27FC236}">
                <a16:creationId xmlns:a16="http://schemas.microsoft.com/office/drawing/2014/main" id="{F93A1C56-5A4E-426A-ACCC-9D321A3D6D86}"/>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22" name="Datumsplatzhalter 8">
            <a:extLst>
              <a:ext uri="{FF2B5EF4-FFF2-40B4-BE49-F238E27FC236}">
                <a16:creationId xmlns:a16="http://schemas.microsoft.com/office/drawing/2014/main" id="{3DED4E95-6200-414D-9A6B-9D5105D90E8A}"/>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27983D2D-28E5-464B-865D-1BE32DA6FEBB}" type="datetime1">
              <a:rPr lang="de-DE" smtClean="0"/>
              <a:pPr/>
              <a:t>20.04.2023</a:t>
            </a:fld>
            <a:endParaRPr lang="de-DE" dirty="0"/>
          </a:p>
        </p:txBody>
      </p:sp>
    </p:spTree>
    <p:extLst>
      <p:ext uri="{BB962C8B-B14F-4D97-AF65-F5344CB8AC3E}">
        <p14:creationId xmlns:p14="http://schemas.microsoft.com/office/powerpoint/2010/main" val="2235718076"/>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Text Bausteine +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B222B94-2502-4655-8062-5612DD24CE4D}"/>
              </a:ext>
            </a:extLst>
          </p:cNvPr>
          <p:cNvGraphicFramePr>
            <a:graphicFrameLocks noChangeAspect="1"/>
          </p:cNvGraphicFramePr>
          <p:nvPr userDrawn="1">
            <p:custDataLst>
              <p:tags r:id="rId1"/>
            </p:custDataLst>
            <p:extLst>
              <p:ext uri="{D42A27DB-BD31-4B8C-83A1-F6EECF244321}">
                <p14:modId xmlns:p14="http://schemas.microsoft.com/office/powerpoint/2010/main" val="208643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7" name="Objekt 6" hidden="1">
                        <a:extLst>
                          <a:ext uri="{FF2B5EF4-FFF2-40B4-BE49-F238E27FC236}">
                            <a16:creationId xmlns:a16="http://schemas.microsoft.com/office/drawing/2014/main" id="{1B222B94-2502-4655-8062-5612DD24CE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platzhalter 2">
            <a:extLst>
              <a:ext uri="{FF2B5EF4-FFF2-40B4-BE49-F238E27FC236}">
                <a16:creationId xmlns:a16="http://schemas.microsoft.com/office/drawing/2014/main" id="{F8B84CD2-499A-F941-B3C5-E0312EBB4C0F}"/>
              </a:ext>
            </a:extLst>
          </p:cNvPr>
          <p:cNvSpPr>
            <a:spLocks noGrp="1"/>
          </p:cNvSpPr>
          <p:nvPr>
            <p:ph type="body" idx="14"/>
          </p:nvPr>
        </p:nvSpPr>
        <p:spPr>
          <a:xfrm>
            <a:off x="515938" y="3162299"/>
            <a:ext cx="2116800" cy="2895045"/>
          </a:xfrm>
          <a:solidFill>
            <a:srgbClr val="284F72"/>
          </a:solidFill>
        </p:spPr>
        <p:txBody>
          <a:bodyPr lIns="108000" tIns="108000" rIns="108000" bIns="0" anchor="t"/>
          <a:lstStyle>
            <a:lvl1pPr marL="85725" indent="0" algn="l">
              <a:lnSpc>
                <a:spcPct val="100000"/>
              </a:lnSpc>
              <a:buFont typeface="Wingdings" panose="05000000000000000000" pitchFamily="2" charset="2"/>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1" name="Bildplatzhalter 5">
            <a:extLst>
              <a:ext uri="{FF2B5EF4-FFF2-40B4-BE49-F238E27FC236}">
                <a16:creationId xmlns:a16="http://schemas.microsoft.com/office/drawing/2014/main" id="{7897EC78-3C52-3C42-B05A-B6F95D927B4E}"/>
              </a:ext>
            </a:extLst>
          </p:cNvPr>
          <p:cNvSpPr>
            <a:spLocks noGrp="1"/>
          </p:cNvSpPr>
          <p:nvPr>
            <p:ph type="pic" sz="quarter" idx="22"/>
          </p:nvPr>
        </p:nvSpPr>
        <p:spPr>
          <a:xfrm>
            <a:off x="515938" y="1562207"/>
            <a:ext cx="211680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22" name="Textplatzhalter 2">
            <a:extLst>
              <a:ext uri="{FF2B5EF4-FFF2-40B4-BE49-F238E27FC236}">
                <a16:creationId xmlns:a16="http://schemas.microsoft.com/office/drawing/2014/main" id="{20CC3DF5-4E61-CC42-8746-62C798A90279}"/>
              </a:ext>
            </a:extLst>
          </p:cNvPr>
          <p:cNvSpPr>
            <a:spLocks noGrp="1"/>
          </p:cNvSpPr>
          <p:nvPr>
            <p:ph type="body" idx="26"/>
          </p:nvPr>
        </p:nvSpPr>
        <p:spPr>
          <a:xfrm>
            <a:off x="2773001" y="3162299"/>
            <a:ext cx="2117590" cy="2895045"/>
          </a:xfrm>
          <a:solidFill>
            <a:srgbClr val="284F72"/>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3" name="Bildplatzhalter 5">
            <a:extLst>
              <a:ext uri="{FF2B5EF4-FFF2-40B4-BE49-F238E27FC236}">
                <a16:creationId xmlns:a16="http://schemas.microsoft.com/office/drawing/2014/main" id="{BF6422A4-323F-7A42-92A0-1E2B3C9D9954}"/>
              </a:ext>
            </a:extLst>
          </p:cNvPr>
          <p:cNvSpPr>
            <a:spLocks noGrp="1"/>
          </p:cNvSpPr>
          <p:nvPr>
            <p:ph type="pic" sz="quarter" idx="27"/>
          </p:nvPr>
        </p:nvSpPr>
        <p:spPr>
          <a:xfrm>
            <a:off x="2773001" y="1562207"/>
            <a:ext cx="211759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24" name="Textplatzhalter 2">
            <a:extLst>
              <a:ext uri="{FF2B5EF4-FFF2-40B4-BE49-F238E27FC236}">
                <a16:creationId xmlns:a16="http://schemas.microsoft.com/office/drawing/2014/main" id="{B4D06F90-E41E-0B49-8666-6B158B15FA2B}"/>
              </a:ext>
            </a:extLst>
          </p:cNvPr>
          <p:cNvSpPr>
            <a:spLocks noGrp="1"/>
          </p:cNvSpPr>
          <p:nvPr>
            <p:ph type="body" idx="28"/>
          </p:nvPr>
        </p:nvSpPr>
        <p:spPr>
          <a:xfrm>
            <a:off x="5030064" y="3162299"/>
            <a:ext cx="2117590" cy="2895045"/>
          </a:xfrm>
          <a:solidFill>
            <a:srgbClr val="284F72"/>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7" name="Bildplatzhalter 5">
            <a:extLst>
              <a:ext uri="{FF2B5EF4-FFF2-40B4-BE49-F238E27FC236}">
                <a16:creationId xmlns:a16="http://schemas.microsoft.com/office/drawing/2014/main" id="{7937273B-3079-D743-89EA-5F9E1A2D17A2}"/>
              </a:ext>
            </a:extLst>
          </p:cNvPr>
          <p:cNvSpPr>
            <a:spLocks noGrp="1"/>
          </p:cNvSpPr>
          <p:nvPr>
            <p:ph type="pic" sz="quarter" idx="29"/>
          </p:nvPr>
        </p:nvSpPr>
        <p:spPr>
          <a:xfrm>
            <a:off x="5030064" y="1562207"/>
            <a:ext cx="211759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28" name="Textplatzhalter 2">
            <a:extLst>
              <a:ext uri="{FF2B5EF4-FFF2-40B4-BE49-F238E27FC236}">
                <a16:creationId xmlns:a16="http://schemas.microsoft.com/office/drawing/2014/main" id="{24E61058-EAFC-404D-962E-9D3EA73D60E3}"/>
              </a:ext>
            </a:extLst>
          </p:cNvPr>
          <p:cNvSpPr>
            <a:spLocks noGrp="1"/>
          </p:cNvSpPr>
          <p:nvPr>
            <p:ph type="body" idx="30"/>
          </p:nvPr>
        </p:nvSpPr>
        <p:spPr>
          <a:xfrm>
            <a:off x="7287127" y="3162299"/>
            <a:ext cx="2117590" cy="2895045"/>
          </a:xfrm>
          <a:solidFill>
            <a:srgbClr val="284F72"/>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9" name="Bildplatzhalter 5">
            <a:extLst>
              <a:ext uri="{FF2B5EF4-FFF2-40B4-BE49-F238E27FC236}">
                <a16:creationId xmlns:a16="http://schemas.microsoft.com/office/drawing/2014/main" id="{B628D14F-2DBF-3C4E-9CCE-DB3DF2B2DA90}"/>
              </a:ext>
            </a:extLst>
          </p:cNvPr>
          <p:cNvSpPr>
            <a:spLocks noGrp="1"/>
          </p:cNvSpPr>
          <p:nvPr>
            <p:ph type="pic" sz="quarter" idx="31"/>
          </p:nvPr>
        </p:nvSpPr>
        <p:spPr>
          <a:xfrm>
            <a:off x="7287127" y="1562207"/>
            <a:ext cx="211759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31" name="Bildplatzhalter 5">
            <a:extLst>
              <a:ext uri="{FF2B5EF4-FFF2-40B4-BE49-F238E27FC236}">
                <a16:creationId xmlns:a16="http://schemas.microsoft.com/office/drawing/2014/main" id="{8F005012-61F3-FD46-A7F4-3F20C54F2769}"/>
              </a:ext>
            </a:extLst>
          </p:cNvPr>
          <p:cNvSpPr>
            <a:spLocks noGrp="1"/>
          </p:cNvSpPr>
          <p:nvPr>
            <p:ph type="pic" sz="quarter" idx="33"/>
          </p:nvPr>
        </p:nvSpPr>
        <p:spPr>
          <a:xfrm>
            <a:off x="9544189" y="1562207"/>
            <a:ext cx="2116800" cy="1600093"/>
          </a:xfrm>
          <a:solidFill>
            <a:schemeClr val="accent2"/>
          </a:solidFill>
        </p:spPr>
        <p:txBody>
          <a:bodyPr anchor="ctr"/>
          <a:lstStyle>
            <a:lvl1pPr algn="ctr">
              <a:defRPr sz="2000">
                <a:solidFill>
                  <a:schemeClr val="bg1">
                    <a:lumMod val="65000"/>
                  </a:schemeClr>
                </a:solidFill>
                <a:latin typeface="+mj-lt"/>
              </a:defRPr>
            </a:lvl1pPr>
          </a:lstStyle>
          <a:p>
            <a:r>
              <a:rPr lang="de-DE"/>
              <a:t>Bild durch Klicken auf Symbol hinzufügen</a:t>
            </a:r>
          </a:p>
        </p:txBody>
      </p:sp>
      <p:sp>
        <p:nvSpPr>
          <p:cNvPr id="17" name="Titel 1">
            <a:extLst>
              <a:ext uri="{FF2B5EF4-FFF2-40B4-BE49-F238E27FC236}">
                <a16:creationId xmlns:a16="http://schemas.microsoft.com/office/drawing/2014/main" id="{DB141F0E-C085-8E41-8B27-A60B1A46405B}"/>
              </a:ext>
            </a:extLst>
          </p:cNvPr>
          <p:cNvSpPr>
            <a:spLocks noGrp="1"/>
          </p:cNvSpPr>
          <p:nvPr>
            <p:ph type="title" hasCustomPrompt="1"/>
          </p:nvPr>
        </p:nvSpPr>
        <p:spPr>
          <a:xfrm>
            <a:off x="515938" y="340234"/>
            <a:ext cx="11160125" cy="485266"/>
          </a:xfrm>
        </p:spPr>
        <p:txBody>
          <a:bodyPr vert="horz"/>
          <a:lstStyle>
            <a:lvl1pPr>
              <a:defRPr b="0">
                <a:latin typeface="+mn-lt"/>
              </a:defRPr>
            </a:lvl1pPr>
          </a:lstStyle>
          <a:p>
            <a:r>
              <a:rPr lang="de-DE" dirty="0"/>
              <a:t>Überschrift I Headline</a:t>
            </a:r>
          </a:p>
        </p:txBody>
      </p:sp>
      <p:sp>
        <p:nvSpPr>
          <p:cNvPr id="19" name="Textplatzhalter 4">
            <a:extLst>
              <a:ext uri="{FF2B5EF4-FFF2-40B4-BE49-F238E27FC236}">
                <a16:creationId xmlns:a16="http://schemas.microsoft.com/office/drawing/2014/main" id="{7BB1B1C8-E8A6-4949-8A76-D22712109473}"/>
              </a:ext>
            </a:extLst>
          </p:cNvPr>
          <p:cNvSpPr>
            <a:spLocks noGrp="1"/>
          </p:cNvSpPr>
          <p:nvPr>
            <p:ph type="body" sz="quarter" idx="17" hasCustomPrompt="1"/>
          </p:nvPr>
        </p:nvSpPr>
        <p:spPr>
          <a:xfrm>
            <a:off x="515938" y="831428"/>
            <a:ext cx="11160000" cy="387798"/>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bearbeiten I Edit </a:t>
            </a:r>
            <a:r>
              <a:rPr lang="de-DE" dirty="0" err="1"/>
              <a:t>subtitles</a:t>
            </a:r>
            <a:endParaRPr lang="de-DE" dirty="0"/>
          </a:p>
        </p:txBody>
      </p:sp>
      <p:sp>
        <p:nvSpPr>
          <p:cNvPr id="30" name="Foliennummernplatzhalter 5">
            <a:extLst>
              <a:ext uri="{FF2B5EF4-FFF2-40B4-BE49-F238E27FC236}">
                <a16:creationId xmlns:a16="http://schemas.microsoft.com/office/drawing/2014/main" id="{571D6973-FC67-4F52-9D8B-A47CEB26E720}"/>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34" name="Fußzeilenplatzhalter 3">
            <a:extLst>
              <a:ext uri="{FF2B5EF4-FFF2-40B4-BE49-F238E27FC236}">
                <a16:creationId xmlns:a16="http://schemas.microsoft.com/office/drawing/2014/main" id="{3D514009-6C20-4D51-B50D-1B90D212274F}"/>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35" name="Datumsplatzhalter 8">
            <a:extLst>
              <a:ext uri="{FF2B5EF4-FFF2-40B4-BE49-F238E27FC236}">
                <a16:creationId xmlns:a16="http://schemas.microsoft.com/office/drawing/2014/main" id="{642FDABF-E85F-4B0F-BCA6-43353C8DD374}"/>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27C0C552-54B7-4F0D-B901-96BCDB04340B}" type="datetime1">
              <a:rPr lang="de-DE" smtClean="0"/>
              <a:pPr/>
              <a:t>20.04.2023</a:t>
            </a:fld>
            <a:endParaRPr lang="de-DE" dirty="0"/>
          </a:p>
        </p:txBody>
      </p:sp>
      <p:sp>
        <p:nvSpPr>
          <p:cNvPr id="20" name="Textplatzhalter 2">
            <a:extLst>
              <a:ext uri="{FF2B5EF4-FFF2-40B4-BE49-F238E27FC236}">
                <a16:creationId xmlns:a16="http://schemas.microsoft.com/office/drawing/2014/main" id="{E5FF205B-376C-4039-99A2-CE5D35772823}"/>
              </a:ext>
            </a:extLst>
          </p:cNvPr>
          <p:cNvSpPr>
            <a:spLocks noGrp="1"/>
          </p:cNvSpPr>
          <p:nvPr>
            <p:ph type="body" idx="34"/>
          </p:nvPr>
        </p:nvSpPr>
        <p:spPr>
          <a:xfrm>
            <a:off x="9544189" y="3131527"/>
            <a:ext cx="2117590" cy="2895045"/>
          </a:xfrm>
          <a:solidFill>
            <a:srgbClr val="284F72"/>
          </a:solidFill>
        </p:spPr>
        <p:txBody>
          <a:bodyPr lIns="108000" tIns="108000" rIns="108000" bIns="0" anchor="t"/>
          <a:lstStyle>
            <a:lvl1pPr marL="85725" indent="0" algn="l">
              <a:lnSpc>
                <a:spcPct val="100000"/>
              </a:lnSpc>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Tree>
    <p:extLst>
      <p:ext uri="{BB962C8B-B14F-4D97-AF65-F5344CB8AC3E}">
        <p14:creationId xmlns:p14="http://schemas.microsoft.com/office/powerpoint/2010/main" val="1502271173"/>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folie_TRUMPF">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34011D-FC5D-41C9-A6F5-E3DD18E9BFD5}"/>
              </a:ext>
            </a:extLst>
          </p:cNvPr>
          <p:cNvSpPr>
            <a:spLocks noGrp="1"/>
          </p:cNvSpPr>
          <p:nvPr>
            <p:ph type="title"/>
          </p:nvPr>
        </p:nvSpPr>
        <p:spPr/>
        <p:txBody>
          <a:bodyPr/>
          <a:lstStyle>
            <a:lvl1pPr>
              <a:defRPr>
                <a:latin typeface="+mj-lt"/>
              </a:defRPr>
            </a:lvl1pPr>
          </a:lstStyle>
          <a:p>
            <a:r>
              <a:rPr lang="de-DE"/>
              <a:t>Mastertitelformat bearbeiten</a:t>
            </a:r>
          </a:p>
        </p:txBody>
      </p:sp>
      <p:sp>
        <p:nvSpPr>
          <p:cNvPr id="5" name="TRUMPF Website">
            <a:extLst>
              <a:ext uri="{FF2B5EF4-FFF2-40B4-BE49-F238E27FC236}">
                <a16:creationId xmlns:a16="http://schemas.microsoft.com/office/drawing/2014/main" id="{59038479-5C93-41EA-B0E7-C419ED89BB02}"/>
              </a:ext>
            </a:extLst>
          </p:cNvPr>
          <p:cNvSpPr>
            <a:spLocks noGrp="1"/>
          </p:cNvSpPr>
          <p:nvPr>
            <p:ph type="dt" sz="half" idx="12"/>
          </p:nvPr>
        </p:nvSpPr>
        <p:spPr/>
        <p:txBody>
          <a:bodyPr/>
          <a:lstStyle>
            <a:lvl1pPr>
              <a:defRPr>
                <a:latin typeface="+mj-lt"/>
              </a:defRPr>
            </a:lvl1pPr>
          </a:lstStyle>
          <a:p>
            <a:fld id="{A773B091-85CF-4E91-9129-8CDFCF8C8EEC}" type="datetime1">
              <a:rPr lang="de-DE" smtClean="0"/>
              <a:pPr/>
              <a:t>20.04.2023</a:t>
            </a:fld>
            <a:endParaRPr lang="de-DE" dirty="0"/>
          </a:p>
        </p:txBody>
      </p:sp>
      <p:pic>
        <p:nvPicPr>
          <p:cNvPr id="6" name="Hauptpforte">
            <a:extLst>
              <a:ext uri="{FF2B5EF4-FFF2-40B4-BE49-F238E27FC236}">
                <a16:creationId xmlns:a16="http://schemas.microsoft.com/office/drawing/2014/main" id="{EA5A5E46-6E32-4189-A8C7-6B12C67735ED}"/>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b="4363"/>
          <a:stretch/>
        </p:blipFill>
        <p:spPr>
          <a:xfrm>
            <a:off x="-1" y="858"/>
            <a:ext cx="12192001" cy="6857142"/>
          </a:xfrm>
          <a:prstGeom prst="rect">
            <a:avLst/>
          </a:prstGeom>
        </p:spPr>
      </p:pic>
      <p:sp>
        <p:nvSpPr>
          <p:cNvPr id="15" name="Rechteck 14">
            <a:extLst>
              <a:ext uri="{FF2B5EF4-FFF2-40B4-BE49-F238E27FC236}">
                <a16:creationId xmlns:a16="http://schemas.microsoft.com/office/drawing/2014/main" id="{9FB0AAD3-B649-2A4A-9958-5AE5CA57149D}"/>
              </a:ext>
            </a:extLst>
          </p:cNvPr>
          <p:cNvSpPr/>
          <p:nvPr userDrawn="1"/>
        </p:nvSpPr>
        <p:spPr>
          <a:xfrm>
            <a:off x="1" y="3124200"/>
            <a:ext cx="4669025" cy="3155193"/>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mj-lt"/>
              <a:ea typeface="+mn-ea"/>
              <a:cs typeface="+mn-cs"/>
            </a:endParaRPr>
          </a:p>
        </p:txBody>
      </p:sp>
      <p:sp>
        <p:nvSpPr>
          <p:cNvPr id="18" name="Titel 4">
            <a:extLst>
              <a:ext uri="{FF2B5EF4-FFF2-40B4-BE49-F238E27FC236}">
                <a16:creationId xmlns:a16="http://schemas.microsoft.com/office/drawing/2014/main" id="{68A18138-9391-AF45-8382-94D7791BA496}"/>
              </a:ext>
            </a:extLst>
          </p:cNvPr>
          <p:cNvSpPr txBox="1">
            <a:spLocks/>
          </p:cNvSpPr>
          <p:nvPr userDrawn="1"/>
        </p:nvSpPr>
        <p:spPr>
          <a:xfrm>
            <a:off x="515938" y="4688163"/>
            <a:ext cx="3611394" cy="228155"/>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200" dirty="0">
                <a:solidFill>
                  <a:srgbClr val="5F5F5F"/>
                </a:solidFill>
                <a:latin typeface="+mj-lt"/>
              </a:rPr>
              <a:t>Ansprechpartner</a:t>
            </a:r>
          </a:p>
        </p:txBody>
      </p:sp>
      <p:sp>
        <p:nvSpPr>
          <p:cNvPr id="19" name="Titel 4">
            <a:extLst>
              <a:ext uri="{FF2B5EF4-FFF2-40B4-BE49-F238E27FC236}">
                <a16:creationId xmlns:a16="http://schemas.microsoft.com/office/drawing/2014/main" id="{3DDDD31B-E576-7142-8AF2-55D312AE22B7}"/>
              </a:ext>
            </a:extLst>
          </p:cNvPr>
          <p:cNvSpPr txBox="1">
            <a:spLocks/>
          </p:cNvSpPr>
          <p:nvPr userDrawn="1"/>
        </p:nvSpPr>
        <p:spPr>
          <a:xfrm>
            <a:off x="515938" y="4112832"/>
            <a:ext cx="2638292" cy="490597"/>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3600" b="0" dirty="0">
                <a:solidFill>
                  <a:prstClr val="black"/>
                </a:solidFill>
                <a:latin typeface="+mj-lt"/>
                <a:cs typeface="Segoe UI" panose="020B0502040204020203" pitchFamily="34" charset="0"/>
              </a:rPr>
              <a:t>Vielen Dank.</a:t>
            </a:r>
          </a:p>
        </p:txBody>
      </p:sp>
      <p:sp>
        <p:nvSpPr>
          <p:cNvPr id="20" name="Titel 4">
            <a:extLst>
              <a:ext uri="{FF2B5EF4-FFF2-40B4-BE49-F238E27FC236}">
                <a16:creationId xmlns:a16="http://schemas.microsoft.com/office/drawing/2014/main" id="{2D024F42-39BD-8046-8FA4-B132C12269D6}"/>
              </a:ext>
            </a:extLst>
          </p:cNvPr>
          <p:cNvSpPr txBox="1">
            <a:spLocks/>
          </p:cNvSpPr>
          <p:nvPr userDrawn="1"/>
        </p:nvSpPr>
        <p:spPr>
          <a:xfrm>
            <a:off x="515938" y="6510262"/>
            <a:ext cx="1419971" cy="156683"/>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000" err="1">
                <a:solidFill>
                  <a:prstClr val="white"/>
                </a:solidFill>
                <a:latin typeface="+mj-lt"/>
                <a:cs typeface="Segoe UI" panose="020B0502040204020203" pitchFamily="34" charset="0"/>
              </a:rPr>
              <a:t>www.trumpf.com</a:t>
            </a:r>
            <a:endParaRPr lang="de-DE" sz="1000">
              <a:solidFill>
                <a:prstClr val="white"/>
              </a:solidFill>
              <a:latin typeface="+mj-lt"/>
              <a:cs typeface="Segoe UI" panose="020B0502040204020203" pitchFamily="34" charset="0"/>
            </a:endParaRPr>
          </a:p>
        </p:txBody>
      </p:sp>
      <p:sp>
        <p:nvSpPr>
          <p:cNvPr id="3" name="Rechteck 2">
            <a:hlinkClick r:id="rId4"/>
            <a:extLst>
              <a:ext uri="{FF2B5EF4-FFF2-40B4-BE49-F238E27FC236}">
                <a16:creationId xmlns:a16="http://schemas.microsoft.com/office/drawing/2014/main" id="{100B09FF-D191-244F-A67F-B62A7C7886D4}"/>
              </a:ext>
            </a:extLst>
          </p:cNvPr>
          <p:cNvSpPr/>
          <p:nvPr userDrawn="1"/>
        </p:nvSpPr>
        <p:spPr>
          <a:xfrm>
            <a:off x="365760" y="6510262"/>
            <a:ext cx="1306286" cy="15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b="1" dirty="0"/>
          </a:p>
        </p:txBody>
      </p:sp>
      <p:sp>
        <p:nvSpPr>
          <p:cNvPr id="23" name="Textplatzhalter 6">
            <a:extLst>
              <a:ext uri="{FF2B5EF4-FFF2-40B4-BE49-F238E27FC236}">
                <a16:creationId xmlns:a16="http://schemas.microsoft.com/office/drawing/2014/main" id="{A9BA4CA5-E0A3-8A42-9EA4-6A92C15B418D}"/>
              </a:ext>
            </a:extLst>
          </p:cNvPr>
          <p:cNvSpPr>
            <a:spLocks noGrp="1"/>
          </p:cNvSpPr>
          <p:nvPr>
            <p:ph type="body" sz="quarter" idx="13" hasCustomPrompt="1"/>
          </p:nvPr>
        </p:nvSpPr>
        <p:spPr>
          <a:xfrm>
            <a:off x="518833" y="4936788"/>
            <a:ext cx="3608499" cy="228155"/>
          </a:xfrm>
        </p:spPr>
        <p:txBody>
          <a:bodyPr/>
          <a:lstStyle>
            <a:lvl1pPr>
              <a:defRPr sz="1200" b="0">
                <a:solidFill>
                  <a:schemeClr val="tx1"/>
                </a:solidFill>
              </a:defRPr>
            </a:lvl1pPr>
          </a:lstStyle>
          <a:p>
            <a:pPr lvl="0"/>
            <a:r>
              <a:rPr lang="de-DE" dirty="0"/>
              <a:t>Name</a:t>
            </a:r>
          </a:p>
        </p:txBody>
      </p:sp>
      <p:sp>
        <p:nvSpPr>
          <p:cNvPr id="24" name="Textplatzhalter 6">
            <a:extLst>
              <a:ext uri="{FF2B5EF4-FFF2-40B4-BE49-F238E27FC236}">
                <a16:creationId xmlns:a16="http://schemas.microsoft.com/office/drawing/2014/main" id="{5F6F4EDA-1900-9641-B7E9-6EE12124452D}"/>
              </a:ext>
            </a:extLst>
          </p:cNvPr>
          <p:cNvSpPr>
            <a:spLocks noGrp="1"/>
          </p:cNvSpPr>
          <p:nvPr>
            <p:ph type="body" sz="quarter" idx="14" hasCustomPrompt="1"/>
          </p:nvPr>
        </p:nvSpPr>
        <p:spPr>
          <a:xfrm>
            <a:off x="518833" y="5233460"/>
            <a:ext cx="3608499" cy="228155"/>
          </a:xfrm>
        </p:spPr>
        <p:txBody>
          <a:bodyPr/>
          <a:lstStyle>
            <a:lvl1pPr>
              <a:defRPr sz="1200" b="0">
                <a:solidFill>
                  <a:schemeClr val="tx1"/>
                </a:solidFill>
              </a:defRPr>
            </a:lvl1pPr>
          </a:lstStyle>
          <a:p>
            <a:pPr lvl="0"/>
            <a:r>
              <a:rPr lang="de-DE" dirty="0"/>
              <a:t>Abteilung</a:t>
            </a:r>
          </a:p>
        </p:txBody>
      </p:sp>
      <p:sp>
        <p:nvSpPr>
          <p:cNvPr id="25" name="Textplatzhalter 6">
            <a:extLst>
              <a:ext uri="{FF2B5EF4-FFF2-40B4-BE49-F238E27FC236}">
                <a16:creationId xmlns:a16="http://schemas.microsoft.com/office/drawing/2014/main" id="{5AFD2953-E35C-8147-8A6E-70D8068FEBE7}"/>
              </a:ext>
            </a:extLst>
          </p:cNvPr>
          <p:cNvSpPr>
            <a:spLocks noGrp="1"/>
          </p:cNvSpPr>
          <p:nvPr>
            <p:ph type="body" sz="quarter" idx="15" hasCustomPrompt="1"/>
          </p:nvPr>
        </p:nvSpPr>
        <p:spPr>
          <a:xfrm>
            <a:off x="518833" y="5530132"/>
            <a:ext cx="3608499" cy="228155"/>
          </a:xfrm>
        </p:spPr>
        <p:txBody>
          <a:bodyPr/>
          <a:lstStyle>
            <a:lvl1pPr>
              <a:defRPr sz="1200" b="0">
                <a:solidFill>
                  <a:schemeClr val="tx1"/>
                </a:solidFill>
              </a:defRPr>
            </a:lvl1pPr>
          </a:lstStyle>
          <a:p>
            <a:pPr lvl="0"/>
            <a:r>
              <a:rPr lang="de-DE" dirty="0"/>
              <a:t>Telefonnummer</a:t>
            </a:r>
          </a:p>
        </p:txBody>
      </p:sp>
      <p:sp>
        <p:nvSpPr>
          <p:cNvPr id="26" name="Textplatzhalter 6">
            <a:extLst>
              <a:ext uri="{FF2B5EF4-FFF2-40B4-BE49-F238E27FC236}">
                <a16:creationId xmlns:a16="http://schemas.microsoft.com/office/drawing/2014/main" id="{26B8DF3F-AF05-AB4A-8DD1-37D9E3451E49}"/>
              </a:ext>
            </a:extLst>
          </p:cNvPr>
          <p:cNvSpPr>
            <a:spLocks noGrp="1"/>
          </p:cNvSpPr>
          <p:nvPr>
            <p:ph type="body" sz="quarter" idx="16" hasCustomPrompt="1"/>
          </p:nvPr>
        </p:nvSpPr>
        <p:spPr>
          <a:xfrm>
            <a:off x="518833" y="5826804"/>
            <a:ext cx="3608499" cy="228155"/>
          </a:xfrm>
        </p:spPr>
        <p:txBody>
          <a:bodyPr/>
          <a:lstStyle>
            <a:lvl1pPr>
              <a:defRPr sz="1200" b="0">
                <a:solidFill>
                  <a:schemeClr val="tx1"/>
                </a:solidFill>
              </a:defRPr>
            </a:lvl1pPr>
          </a:lstStyle>
          <a:p>
            <a:pPr lvl="0"/>
            <a:r>
              <a:rPr lang="de-DE" dirty="0"/>
              <a:t>E-Mailadresse</a:t>
            </a:r>
          </a:p>
        </p:txBody>
      </p:sp>
      <p:pic>
        <p:nvPicPr>
          <p:cNvPr id="16" name="Grafik 15">
            <a:extLst>
              <a:ext uri="{FF2B5EF4-FFF2-40B4-BE49-F238E27FC236}">
                <a16:creationId xmlns:a16="http://schemas.microsoft.com/office/drawing/2014/main" id="{E252068B-45B4-4995-89D4-76549E8FF8B9}"/>
              </a:ext>
            </a:extLst>
          </p:cNvPr>
          <p:cNvPicPr>
            <a:picLocks noChangeAspect="1"/>
          </p:cNvPicPr>
          <p:nvPr userDrawn="1"/>
        </p:nvPicPr>
        <p:blipFill>
          <a:blip r:embed="rId5"/>
          <a:stretch>
            <a:fillRect/>
          </a:stretch>
        </p:blipFill>
        <p:spPr>
          <a:xfrm>
            <a:off x="403860" y="3212413"/>
            <a:ext cx="2346511" cy="790140"/>
          </a:xfrm>
          <a:prstGeom prst="rect">
            <a:avLst/>
          </a:prstGeom>
        </p:spPr>
      </p:pic>
    </p:spTree>
    <p:extLst>
      <p:ext uri="{BB962C8B-B14F-4D97-AF65-F5344CB8AC3E}">
        <p14:creationId xmlns:p14="http://schemas.microsoft.com/office/powerpoint/2010/main" val="1406591040"/>
      </p:ext>
    </p:extLst>
  </p:cSld>
  <p:clrMapOvr>
    <a:masterClrMapping/>
  </p:clrMapOvr>
  <p:hf hd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ntact Slide_TRUMPF">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34011D-FC5D-41C9-A6F5-E3DD18E9BFD5}"/>
              </a:ext>
            </a:extLst>
          </p:cNvPr>
          <p:cNvSpPr>
            <a:spLocks noGrp="1"/>
          </p:cNvSpPr>
          <p:nvPr>
            <p:ph type="title"/>
          </p:nvPr>
        </p:nvSpPr>
        <p:spPr/>
        <p:txBody>
          <a:bodyPr/>
          <a:lstStyle>
            <a:lvl1pPr>
              <a:defRPr>
                <a:latin typeface="+mj-lt"/>
              </a:defRPr>
            </a:lvl1pPr>
          </a:lstStyle>
          <a:p>
            <a:r>
              <a:rPr lang="de-DE"/>
              <a:t>Mastertitelformat bearbeiten</a:t>
            </a:r>
          </a:p>
        </p:txBody>
      </p:sp>
      <p:sp>
        <p:nvSpPr>
          <p:cNvPr id="5" name="TRUMPF Website">
            <a:extLst>
              <a:ext uri="{FF2B5EF4-FFF2-40B4-BE49-F238E27FC236}">
                <a16:creationId xmlns:a16="http://schemas.microsoft.com/office/drawing/2014/main" id="{59038479-5C93-41EA-B0E7-C419ED89BB02}"/>
              </a:ext>
            </a:extLst>
          </p:cNvPr>
          <p:cNvSpPr>
            <a:spLocks noGrp="1"/>
          </p:cNvSpPr>
          <p:nvPr>
            <p:ph type="dt" sz="half" idx="12"/>
          </p:nvPr>
        </p:nvSpPr>
        <p:spPr/>
        <p:txBody>
          <a:bodyPr/>
          <a:lstStyle>
            <a:lvl1pPr>
              <a:defRPr>
                <a:latin typeface="+mj-lt"/>
              </a:defRPr>
            </a:lvl1pPr>
          </a:lstStyle>
          <a:p>
            <a:fld id="{55C42471-9C52-4118-8A00-F58301F9146D}" type="datetime1">
              <a:rPr lang="de-DE" smtClean="0"/>
              <a:pPr/>
              <a:t>20.04.2023</a:t>
            </a:fld>
            <a:endParaRPr lang="de-DE" dirty="0"/>
          </a:p>
        </p:txBody>
      </p:sp>
      <p:pic>
        <p:nvPicPr>
          <p:cNvPr id="6" name="Hauptpforte">
            <a:extLst>
              <a:ext uri="{FF2B5EF4-FFF2-40B4-BE49-F238E27FC236}">
                <a16:creationId xmlns:a16="http://schemas.microsoft.com/office/drawing/2014/main" id="{EA5A5E46-6E32-4189-A8C7-6B12C67735ED}"/>
              </a:ext>
            </a:extLst>
          </p:cNvPr>
          <p:cNvPicPr>
            <a:picLocks noChangeAspect="1"/>
          </p:cNvPicPr>
          <p:nvPr userDrawn="1">
            <p:custDataLst>
              <p:tags r:id="rId1"/>
            </p:custDataLst>
          </p:nvPr>
        </p:nvPicPr>
        <p:blipFill rotWithShape="1">
          <a:blip r:embed="rId3" cstate="screen">
            <a:extLst>
              <a:ext uri="{28A0092B-C50C-407E-A947-70E740481C1C}">
                <a14:useLocalDpi xmlns:a14="http://schemas.microsoft.com/office/drawing/2010/main"/>
              </a:ext>
            </a:extLst>
          </a:blip>
          <a:srcRect b="4363"/>
          <a:stretch/>
        </p:blipFill>
        <p:spPr>
          <a:xfrm>
            <a:off x="-1" y="858"/>
            <a:ext cx="12192001" cy="6857142"/>
          </a:xfrm>
          <a:prstGeom prst="rect">
            <a:avLst/>
          </a:prstGeom>
        </p:spPr>
      </p:pic>
      <p:sp>
        <p:nvSpPr>
          <p:cNvPr id="20" name="Titel 4">
            <a:extLst>
              <a:ext uri="{FF2B5EF4-FFF2-40B4-BE49-F238E27FC236}">
                <a16:creationId xmlns:a16="http://schemas.microsoft.com/office/drawing/2014/main" id="{2D024F42-39BD-8046-8FA4-B132C12269D6}"/>
              </a:ext>
            </a:extLst>
          </p:cNvPr>
          <p:cNvSpPr txBox="1">
            <a:spLocks/>
          </p:cNvSpPr>
          <p:nvPr userDrawn="1"/>
        </p:nvSpPr>
        <p:spPr>
          <a:xfrm>
            <a:off x="515938" y="6510262"/>
            <a:ext cx="1419971" cy="156683"/>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000" err="1">
                <a:solidFill>
                  <a:prstClr val="white"/>
                </a:solidFill>
                <a:latin typeface="+mj-lt"/>
                <a:cs typeface="Segoe UI" panose="020B0502040204020203" pitchFamily="34" charset="0"/>
              </a:rPr>
              <a:t>www.trumpf.com</a:t>
            </a:r>
            <a:endParaRPr lang="de-DE" sz="1000">
              <a:solidFill>
                <a:prstClr val="white"/>
              </a:solidFill>
              <a:latin typeface="+mj-lt"/>
              <a:cs typeface="Segoe UI" panose="020B0502040204020203" pitchFamily="34" charset="0"/>
            </a:endParaRPr>
          </a:p>
        </p:txBody>
      </p:sp>
      <p:sp>
        <p:nvSpPr>
          <p:cNvPr id="3" name="Rechteck 2">
            <a:hlinkClick r:id="rId4"/>
            <a:extLst>
              <a:ext uri="{FF2B5EF4-FFF2-40B4-BE49-F238E27FC236}">
                <a16:creationId xmlns:a16="http://schemas.microsoft.com/office/drawing/2014/main" id="{100B09FF-D191-244F-A67F-B62A7C7886D4}"/>
              </a:ext>
            </a:extLst>
          </p:cNvPr>
          <p:cNvSpPr/>
          <p:nvPr userDrawn="1"/>
        </p:nvSpPr>
        <p:spPr>
          <a:xfrm>
            <a:off x="365760" y="6510262"/>
            <a:ext cx="1306286" cy="15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b="1" dirty="0"/>
          </a:p>
        </p:txBody>
      </p:sp>
      <p:sp>
        <p:nvSpPr>
          <p:cNvPr id="17" name="Rechteck 16">
            <a:extLst>
              <a:ext uri="{FF2B5EF4-FFF2-40B4-BE49-F238E27FC236}">
                <a16:creationId xmlns:a16="http://schemas.microsoft.com/office/drawing/2014/main" id="{285DEA54-B57E-4A3F-8626-3917E19AF3A1}"/>
              </a:ext>
            </a:extLst>
          </p:cNvPr>
          <p:cNvSpPr/>
          <p:nvPr userDrawn="1"/>
        </p:nvSpPr>
        <p:spPr>
          <a:xfrm>
            <a:off x="1" y="3124200"/>
            <a:ext cx="4669025" cy="3155193"/>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mj-lt"/>
              <a:ea typeface="+mn-ea"/>
              <a:cs typeface="+mn-cs"/>
            </a:endParaRPr>
          </a:p>
        </p:txBody>
      </p:sp>
      <p:sp>
        <p:nvSpPr>
          <p:cNvPr id="21" name="Titel 4">
            <a:extLst>
              <a:ext uri="{FF2B5EF4-FFF2-40B4-BE49-F238E27FC236}">
                <a16:creationId xmlns:a16="http://schemas.microsoft.com/office/drawing/2014/main" id="{F0348EAF-679D-4728-9335-EC9DD8940AC5}"/>
              </a:ext>
            </a:extLst>
          </p:cNvPr>
          <p:cNvSpPr txBox="1">
            <a:spLocks/>
          </p:cNvSpPr>
          <p:nvPr userDrawn="1"/>
        </p:nvSpPr>
        <p:spPr>
          <a:xfrm>
            <a:off x="515938" y="4688163"/>
            <a:ext cx="3611394" cy="228155"/>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200" dirty="0">
                <a:solidFill>
                  <a:srgbClr val="5F5F5F"/>
                </a:solidFill>
                <a:latin typeface="+mj-lt"/>
              </a:rPr>
              <a:t>Contact Person</a:t>
            </a:r>
          </a:p>
        </p:txBody>
      </p:sp>
      <p:sp>
        <p:nvSpPr>
          <p:cNvPr id="22" name="Titel 4">
            <a:extLst>
              <a:ext uri="{FF2B5EF4-FFF2-40B4-BE49-F238E27FC236}">
                <a16:creationId xmlns:a16="http://schemas.microsoft.com/office/drawing/2014/main" id="{812C48B3-F225-4797-8C40-3B338DA339C7}"/>
              </a:ext>
            </a:extLst>
          </p:cNvPr>
          <p:cNvSpPr txBox="1">
            <a:spLocks/>
          </p:cNvSpPr>
          <p:nvPr userDrawn="1"/>
        </p:nvSpPr>
        <p:spPr>
          <a:xfrm>
            <a:off x="515938" y="4112832"/>
            <a:ext cx="2638292" cy="490597"/>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3600" b="0" dirty="0" err="1">
                <a:solidFill>
                  <a:prstClr val="black"/>
                </a:solidFill>
                <a:latin typeface="+mj-lt"/>
                <a:cs typeface="Segoe UI" panose="020B0502040204020203" pitchFamily="34" charset="0"/>
              </a:rPr>
              <a:t>Thank</a:t>
            </a:r>
            <a:r>
              <a:rPr lang="de-DE" sz="3600" b="0" dirty="0">
                <a:solidFill>
                  <a:prstClr val="black"/>
                </a:solidFill>
                <a:latin typeface="+mj-lt"/>
                <a:cs typeface="Segoe UI" panose="020B0502040204020203" pitchFamily="34" charset="0"/>
              </a:rPr>
              <a:t> </a:t>
            </a:r>
            <a:r>
              <a:rPr lang="de-DE" sz="3600" b="0" dirty="0" err="1">
                <a:solidFill>
                  <a:prstClr val="black"/>
                </a:solidFill>
                <a:latin typeface="+mj-lt"/>
                <a:cs typeface="Segoe UI" panose="020B0502040204020203" pitchFamily="34" charset="0"/>
              </a:rPr>
              <a:t>You</a:t>
            </a:r>
            <a:r>
              <a:rPr lang="de-DE" sz="3600" b="0" dirty="0">
                <a:solidFill>
                  <a:prstClr val="black"/>
                </a:solidFill>
                <a:latin typeface="+mj-lt"/>
                <a:cs typeface="Segoe UI" panose="020B0502040204020203" pitchFamily="34" charset="0"/>
              </a:rPr>
              <a:t>.</a:t>
            </a:r>
          </a:p>
        </p:txBody>
      </p:sp>
      <p:sp>
        <p:nvSpPr>
          <p:cNvPr id="27" name="Textplatzhalter 6">
            <a:extLst>
              <a:ext uri="{FF2B5EF4-FFF2-40B4-BE49-F238E27FC236}">
                <a16:creationId xmlns:a16="http://schemas.microsoft.com/office/drawing/2014/main" id="{62BED932-9411-4A51-BD49-18BBE3E915CD}"/>
              </a:ext>
            </a:extLst>
          </p:cNvPr>
          <p:cNvSpPr>
            <a:spLocks noGrp="1"/>
          </p:cNvSpPr>
          <p:nvPr>
            <p:ph type="body" sz="quarter" idx="13" hasCustomPrompt="1"/>
          </p:nvPr>
        </p:nvSpPr>
        <p:spPr>
          <a:xfrm>
            <a:off x="518833" y="4936788"/>
            <a:ext cx="3608499" cy="228155"/>
          </a:xfrm>
        </p:spPr>
        <p:txBody>
          <a:bodyPr/>
          <a:lstStyle>
            <a:lvl1pPr>
              <a:defRPr sz="1200" b="0">
                <a:solidFill>
                  <a:schemeClr val="tx1"/>
                </a:solidFill>
              </a:defRPr>
            </a:lvl1pPr>
          </a:lstStyle>
          <a:p>
            <a:pPr lvl="0"/>
            <a:r>
              <a:rPr lang="de-DE" dirty="0"/>
              <a:t>Name</a:t>
            </a:r>
          </a:p>
        </p:txBody>
      </p:sp>
      <p:sp>
        <p:nvSpPr>
          <p:cNvPr id="28" name="Textplatzhalter 6">
            <a:extLst>
              <a:ext uri="{FF2B5EF4-FFF2-40B4-BE49-F238E27FC236}">
                <a16:creationId xmlns:a16="http://schemas.microsoft.com/office/drawing/2014/main" id="{69E6D455-C132-4E88-A034-2DD452FAE205}"/>
              </a:ext>
            </a:extLst>
          </p:cNvPr>
          <p:cNvSpPr>
            <a:spLocks noGrp="1"/>
          </p:cNvSpPr>
          <p:nvPr>
            <p:ph type="body" sz="quarter" idx="14" hasCustomPrompt="1"/>
          </p:nvPr>
        </p:nvSpPr>
        <p:spPr>
          <a:xfrm>
            <a:off x="518833" y="5233460"/>
            <a:ext cx="3608499" cy="228155"/>
          </a:xfrm>
        </p:spPr>
        <p:txBody>
          <a:bodyPr/>
          <a:lstStyle>
            <a:lvl1pPr>
              <a:defRPr sz="1200" b="0">
                <a:solidFill>
                  <a:schemeClr val="tx1"/>
                </a:solidFill>
              </a:defRPr>
            </a:lvl1pPr>
          </a:lstStyle>
          <a:p>
            <a:pPr lvl="0"/>
            <a:r>
              <a:rPr lang="de-DE" dirty="0"/>
              <a:t>Department</a:t>
            </a:r>
          </a:p>
        </p:txBody>
      </p:sp>
      <p:sp>
        <p:nvSpPr>
          <p:cNvPr id="29" name="Textplatzhalter 6">
            <a:extLst>
              <a:ext uri="{FF2B5EF4-FFF2-40B4-BE49-F238E27FC236}">
                <a16:creationId xmlns:a16="http://schemas.microsoft.com/office/drawing/2014/main" id="{3C480363-0218-48FE-B0FF-0B9723D696E3}"/>
              </a:ext>
            </a:extLst>
          </p:cNvPr>
          <p:cNvSpPr>
            <a:spLocks noGrp="1"/>
          </p:cNvSpPr>
          <p:nvPr>
            <p:ph type="body" sz="quarter" idx="15" hasCustomPrompt="1"/>
          </p:nvPr>
        </p:nvSpPr>
        <p:spPr>
          <a:xfrm>
            <a:off x="518833" y="5530132"/>
            <a:ext cx="3608499" cy="228155"/>
          </a:xfrm>
        </p:spPr>
        <p:txBody>
          <a:bodyPr/>
          <a:lstStyle>
            <a:lvl1pPr>
              <a:defRPr sz="1200" b="0">
                <a:solidFill>
                  <a:schemeClr val="tx1"/>
                </a:solidFill>
              </a:defRPr>
            </a:lvl1pPr>
          </a:lstStyle>
          <a:p>
            <a:pPr lvl="0"/>
            <a:r>
              <a:rPr lang="de-DE" dirty="0"/>
              <a:t>Phone </a:t>
            </a:r>
            <a:r>
              <a:rPr lang="de-DE" dirty="0" err="1"/>
              <a:t>number</a:t>
            </a:r>
            <a:endParaRPr lang="de-DE" dirty="0"/>
          </a:p>
        </p:txBody>
      </p:sp>
      <p:sp>
        <p:nvSpPr>
          <p:cNvPr id="30" name="Textplatzhalter 6">
            <a:extLst>
              <a:ext uri="{FF2B5EF4-FFF2-40B4-BE49-F238E27FC236}">
                <a16:creationId xmlns:a16="http://schemas.microsoft.com/office/drawing/2014/main" id="{E79A091A-16DF-4ED4-8F2A-D9DAA74E8535}"/>
              </a:ext>
            </a:extLst>
          </p:cNvPr>
          <p:cNvSpPr>
            <a:spLocks noGrp="1"/>
          </p:cNvSpPr>
          <p:nvPr>
            <p:ph type="body" sz="quarter" idx="16" hasCustomPrompt="1"/>
          </p:nvPr>
        </p:nvSpPr>
        <p:spPr>
          <a:xfrm>
            <a:off x="518833" y="5826804"/>
            <a:ext cx="3608499" cy="228155"/>
          </a:xfrm>
        </p:spPr>
        <p:txBody>
          <a:bodyPr/>
          <a:lstStyle>
            <a:lvl1pPr>
              <a:defRPr sz="1200" b="0">
                <a:solidFill>
                  <a:schemeClr val="tx1"/>
                </a:solidFill>
              </a:defRPr>
            </a:lvl1pPr>
          </a:lstStyle>
          <a:p>
            <a:pPr lvl="0"/>
            <a:r>
              <a:rPr lang="de-DE" dirty="0" err="1"/>
              <a:t>E-mail</a:t>
            </a:r>
            <a:r>
              <a:rPr lang="de-DE" dirty="0"/>
              <a:t> </a:t>
            </a:r>
            <a:r>
              <a:rPr lang="de-DE" dirty="0" err="1"/>
              <a:t>address</a:t>
            </a:r>
            <a:endParaRPr lang="de-DE" dirty="0"/>
          </a:p>
        </p:txBody>
      </p:sp>
      <p:pic>
        <p:nvPicPr>
          <p:cNvPr id="31" name="Grafik 30">
            <a:extLst>
              <a:ext uri="{FF2B5EF4-FFF2-40B4-BE49-F238E27FC236}">
                <a16:creationId xmlns:a16="http://schemas.microsoft.com/office/drawing/2014/main" id="{AB7B5B0C-1AD3-4DB7-B48F-F05E7BE73570}"/>
              </a:ext>
            </a:extLst>
          </p:cNvPr>
          <p:cNvPicPr>
            <a:picLocks noChangeAspect="1"/>
          </p:cNvPicPr>
          <p:nvPr userDrawn="1"/>
        </p:nvPicPr>
        <p:blipFill>
          <a:blip r:embed="rId5"/>
          <a:stretch>
            <a:fillRect/>
          </a:stretch>
        </p:blipFill>
        <p:spPr>
          <a:xfrm>
            <a:off x="403860" y="3212413"/>
            <a:ext cx="2346511" cy="790140"/>
          </a:xfrm>
          <a:prstGeom prst="rect">
            <a:avLst/>
          </a:prstGeom>
        </p:spPr>
      </p:pic>
    </p:spTree>
    <p:extLst>
      <p:ext uri="{BB962C8B-B14F-4D97-AF65-F5344CB8AC3E}">
        <p14:creationId xmlns:p14="http://schemas.microsoft.com/office/powerpoint/2010/main" val="271275706"/>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bild ganzseitig 0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79469B77-4928-4FF2-8529-F45439CA0C4E}"/>
              </a:ext>
            </a:extLst>
          </p:cNvPr>
          <p:cNvSpPr>
            <a:spLocks noGrp="1"/>
          </p:cNvSpPr>
          <p:nvPr>
            <p:ph type="pic" sz="quarter" idx="11"/>
          </p:nvPr>
        </p:nvSpPr>
        <p:spPr>
          <a:xfrm>
            <a:off x="0" y="0"/>
            <a:ext cx="12192000" cy="6858000"/>
          </a:xfrm>
          <a:custGeom>
            <a:avLst/>
            <a:gdLst>
              <a:gd name="connsiteX0" fmla="*/ 9590058 w 12192000"/>
              <a:gd name="connsiteY0" fmla="*/ 5814134 h 6858000"/>
              <a:gd name="connsiteX1" fmla="*/ 9590058 w 12192000"/>
              <a:gd name="connsiteY1" fmla="*/ 6604274 h 6858000"/>
              <a:gd name="connsiteX2" fmla="*/ 11936569 w 12192000"/>
              <a:gd name="connsiteY2" fmla="*/ 6604274 h 6858000"/>
              <a:gd name="connsiteX3" fmla="*/ 11936569 w 12192000"/>
              <a:gd name="connsiteY3" fmla="*/ 581413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590058" y="5814134"/>
                </a:moveTo>
                <a:lnTo>
                  <a:pt x="9590058" y="6604274"/>
                </a:lnTo>
                <a:lnTo>
                  <a:pt x="11936569" y="6604274"/>
                </a:lnTo>
                <a:lnTo>
                  <a:pt x="11936569" y="5814134"/>
                </a:lnTo>
                <a:close/>
                <a:moveTo>
                  <a:pt x="0" y="0"/>
                </a:moveTo>
                <a:lnTo>
                  <a:pt x="12192000" y="0"/>
                </a:lnTo>
                <a:lnTo>
                  <a:pt x="12192000" y="6858000"/>
                </a:lnTo>
                <a:lnTo>
                  <a:pt x="0" y="6858000"/>
                </a:lnTo>
                <a:close/>
              </a:path>
            </a:pathLst>
          </a:custGeom>
          <a:solidFill>
            <a:schemeClr val="tx2"/>
          </a:solidFill>
        </p:spPr>
        <p:txBody>
          <a:bodyPr vert="horz" wrap="square" lIns="0" tIns="0" rIns="0" bIns="0" rtlCol="0" anchor="t">
            <a:noAutofit/>
          </a:bodyPr>
          <a:lstStyle>
            <a:lvl1pPr>
              <a:defRPr lang="en-US" sz="2000" b="0">
                <a:solidFill>
                  <a:schemeClr val="accent4"/>
                </a:solidFill>
                <a:latin typeface="+mn-lt"/>
              </a:defRPr>
            </a:lvl1pPr>
          </a:lstStyle>
          <a:p>
            <a:pPr lvl="0" algn="ctr"/>
            <a:r>
              <a:rPr lang="de-DE"/>
              <a:t>Bild durch Klicken auf Symbol hinzufügen</a:t>
            </a:r>
            <a:endParaRPr lang="en-US" dirty="0"/>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515938" y="3777363"/>
            <a:ext cx="4875212" cy="215444"/>
          </a:xfrm>
          <a:noFill/>
        </p:spPr>
        <p:txBody>
          <a:bodyPr wrap="square" lIns="216000" tIns="0" rIns="0" bIns="0" anchor="ctr">
            <a:spAutoFit/>
          </a:bodyPr>
          <a:lstStyle>
            <a:lvl1pPr marL="0" indent="0" algn="l">
              <a:buNone/>
              <a:defRPr lang="de-DE" sz="1400" b="0" kern="1200" dirty="0">
                <a:solidFill>
                  <a:schemeClr val="bg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 I </a:t>
            </a:r>
            <a:r>
              <a:rPr lang="de-DE" dirty="0" err="1"/>
              <a:t>Overline</a:t>
            </a:r>
            <a:endParaRPr lang="de-DE" dirty="0"/>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515938" y="4068000"/>
            <a:ext cx="11198984" cy="1064355"/>
          </a:xfrm>
          <a:noFill/>
          <a:effectLst/>
        </p:spPr>
        <p:txBody>
          <a:bodyPr vert="horz" lIns="198000" tIns="0" rIns="0" anchor="b" anchorCtr="0">
            <a:noAutofit/>
          </a:bodyPr>
          <a:lstStyle>
            <a:lvl1pPr marL="0" algn="l" defTabSz="914355" rtl="0" eaLnBrk="1" latinLnBrk="0" hangingPunct="1">
              <a:lnSpc>
                <a:spcPct val="90000"/>
              </a:lnSpc>
              <a:spcBef>
                <a:spcPct val="0"/>
              </a:spcBef>
              <a:buNone/>
              <a:defRPr lang="de-DE" sz="3600" b="0" kern="1200" cap="none" baseline="0" dirty="0">
                <a:solidFill>
                  <a:schemeClr val="bg1"/>
                </a:solidFill>
                <a:latin typeface="+mn-lt"/>
                <a:ea typeface="+mj-ea"/>
                <a:cs typeface="Arial" panose="020B0604020202020204" pitchFamily="34" charset="0"/>
              </a:defRPr>
            </a:lvl1pPr>
          </a:lstStyle>
          <a:p>
            <a:r>
              <a:rPr lang="de-DE" dirty="0"/>
              <a:t>Überschrift</a:t>
            </a:r>
            <a:br>
              <a:rPr lang="de-DE" dirty="0"/>
            </a:br>
            <a:r>
              <a:rPr lang="de-DE" dirty="0"/>
              <a:t>Headline</a:t>
            </a:r>
          </a:p>
        </p:txBody>
      </p:sp>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74962" y="5390460"/>
            <a:ext cx="257789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5E31E8C8-7C50-4010-8FA8-5E3FC76DB094}"/>
              </a:ext>
            </a:extLst>
          </p:cNvPr>
          <p:cNvSpPr>
            <a:spLocks noGrp="1"/>
          </p:cNvSpPr>
          <p:nvPr>
            <p:ph type="ftr" sz="quarter" idx="13"/>
          </p:nvPr>
        </p:nvSpPr>
        <p:spPr>
          <a:xfrm>
            <a:off x="537680" y="5582714"/>
            <a:ext cx="4782950" cy="215444"/>
          </a:xfrm>
        </p:spPr>
        <p:txBody>
          <a:bodyPr lIns="216000" tIns="0" rIns="0" bIns="0"/>
          <a:lstStyle>
            <a:lvl1pPr>
              <a:spcBef>
                <a:spcPts val="600"/>
              </a:spcBef>
              <a:spcAft>
                <a:spcPts val="600"/>
              </a:spcAft>
              <a:defRPr sz="1400">
                <a:solidFill>
                  <a:schemeClr val="bg1"/>
                </a:solidFill>
                <a:latin typeface="+mn-lt"/>
              </a:defRPr>
            </a:lvl1pPr>
          </a:lstStyle>
          <a:p>
            <a:r>
              <a:rPr lang="de-DE"/>
              <a:t>Technischer Kundendienst</a:t>
            </a:r>
          </a:p>
        </p:txBody>
      </p:sp>
      <p:pic>
        <p:nvPicPr>
          <p:cNvPr id="13" name="Grafik 12">
            <a:extLst>
              <a:ext uri="{FF2B5EF4-FFF2-40B4-BE49-F238E27FC236}">
                <a16:creationId xmlns:a16="http://schemas.microsoft.com/office/drawing/2014/main" id="{0C708E70-C117-45C9-A543-69237EA4A5C3}"/>
              </a:ext>
            </a:extLst>
          </p:cNvPr>
          <p:cNvPicPr>
            <a:picLocks noChangeAspect="1"/>
          </p:cNvPicPr>
          <p:nvPr userDrawn="1"/>
        </p:nvPicPr>
        <p:blipFill>
          <a:blip r:embed="rId2"/>
          <a:stretch>
            <a:fillRect/>
          </a:stretch>
        </p:blipFill>
        <p:spPr>
          <a:xfrm>
            <a:off x="9590058" y="5814134"/>
            <a:ext cx="2346511" cy="790140"/>
          </a:xfrm>
          <a:prstGeom prst="rect">
            <a:avLst/>
          </a:prstGeom>
        </p:spPr>
      </p:pic>
    </p:spTree>
    <p:extLst>
      <p:ext uri="{BB962C8B-B14F-4D97-AF65-F5344CB8AC3E}">
        <p14:creationId xmlns:p14="http://schemas.microsoft.com/office/powerpoint/2010/main" val="287606137"/>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04 Titel I Tit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241653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solidFill>
            <a:schemeClr val="tx2"/>
          </a:solidFill>
        </p:spPr>
        <p:txBody>
          <a:bodyPr vert="horz" lIns="0" tIns="0" rIns="0" bIns="0" rtlCol="0" anchor="ctr">
            <a:noAutofit/>
          </a:bodyPr>
          <a:lstStyle>
            <a:lvl1pPr>
              <a:defRPr lang="de-DE" sz="2000" b="0" dirty="0">
                <a:solidFill>
                  <a:schemeClr val="accent4"/>
                </a:solidFill>
              </a:defRPr>
            </a:lvl1pPr>
          </a:lstStyle>
          <a:p>
            <a:pPr lvl="0" algn="ctr"/>
            <a:r>
              <a:rPr lang="de-DE" dirty="0"/>
              <a:t>Bild durch Klicken auf Symbol hinzufügen I Add </a:t>
            </a:r>
            <a:r>
              <a:rPr lang="de-DE" dirty="0" err="1"/>
              <a:t>image</a:t>
            </a:r>
            <a:r>
              <a:rPr lang="de-DE" dirty="0"/>
              <a:t> </a:t>
            </a:r>
            <a:r>
              <a:rPr lang="de-DE" dirty="0" err="1"/>
              <a:t>by</a:t>
            </a:r>
            <a:r>
              <a:rPr lang="de-DE" dirty="0"/>
              <a:t> </a:t>
            </a:r>
            <a:r>
              <a:rPr lang="de-DE" dirty="0" err="1"/>
              <a:t>clicking</a:t>
            </a:r>
            <a:r>
              <a:rPr lang="de-DE" dirty="0"/>
              <a:t> </a:t>
            </a:r>
            <a:r>
              <a:rPr lang="de-DE" dirty="0" err="1"/>
              <a:t>icon</a:t>
            </a:r>
            <a:endParaRPr lang="en-US" dirty="0"/>
          </a:p>
        </p:txBody>
      </p:sp>
      <p:sp>
        <p:nvSpPr>
          <p:cNvPr id="12" name="Untertitel 2">
            <a:extLst>
              <a:ext uri="{FF2B5EF4-FFF2-40B4-BE49-F238E27FC236}">
                <a16:creationId xmlns:a16="http://schemas.microsoft.com/office/drawing/2014/main" id="{6917DA5D-DFE8-7C4C-8AB4-CAC5CA368F84}"/>
              </a:ext>
            </a:extLst>
          </p:cNvPr>
          <p:cNvSpPr>
            <a:spLocks noGrp="1"/>
          </p:cNvSpPr>
          <p:nvPr>
            <p:ph type="subTitle" idx="1" hasCustomPrompt="1"/>
          </p:nvPr>
        </p:nvSpPr>
        <p:spPr>
          <a:xfrm>
            <a:off x="6276064" y="1499263"/>
            <a:ext cx="1760070" cy="215444"/>
          </a:xfrm>
          <a:noFill/>
        </p:spPr>
        <p:txBody>
          <a:bodyPr wrap="none" lIns="216000" tIns="0" rIns="0" bIns="0" anchor="ctr">
            <a:spAutoFit/>
          </a:bodyPr>
          <a:lstStyle>
            <a:lvl1pPr marL="0" indent="0" algn="l">
              <a:buNone/>
              <a:defRPr lang="de-DE" sz="1400" b="0" kern="1200" dirty="0">
                <a:solidFill>
                  <a:srgbClr val="575756"/>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dirty="0"/>
              <a:t>Dachzeile I </a:t>
            </a:r>
            <a:r>
              <a:rPr lang="de-DE" dirty="0" err="1"/>
              <a:t>O</a:t>
            </a:r>
            <a:r>
              <a:rPr lang="de-DE" b="0" i="0" dirty="0" err="1">
                <a:solidFill>
                  <a:srgbClr val="242424"/>
                </a:solidFill>
                <a:effectLst/>
                <a:latin typeface="-apple-system"/>
              </a:rPr>
              <a:t>verline</a:t>
            </a:r>
            <a:endParaRPr lang="de-DE" dirty="0"/>
          </a:p>
        </p:txBody>
      </p:sp>
      <p:sp>
        <p:nvSpPr>
          <p:cNvPr id="17" name="Titel 1">
            <a:extLst>
              <a:ext uri="{FF2B5EF4-FFF2-40B4-BE49-F238E27FC236}">
                <a16:creationId xmlns:a16="http://schemas.microsoft.com/office/drawing/2014/main" id="{3E4B09D7-D09D-1144-A835-68CC3D5E8ABD}"/>
              </a:ext>
            </a:extLst>
          </p:cNvPr>
          <p:cNvSpPr>
            <a:spLocks noGrp="1"/>
          </p:cNvSpPr>
          <p:nvPr>
            <p:ph type="ctrTitle" hasCustomPrompt="1"/>
          </p:nvPr>
        </p:nvSpPr>
        <p:spPr>
          <a:xfrm>
            <a:off x="6276063" y="1745628"/>
            <a:ext cx="4782951"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0" kern="1200" cap="none" baseline="0" dirty="0">
                <a:solidFill>
                  <a:schemeClr val="tx1">
                    <a:lumMod val="50000"/>
                  </a:schemeClr>
                </a:solidFill>
                <a:latin typeface="+mn-lt"/>
                <a:ea typeface="+mj-ea"/>
                <a:cs typeface="Arial" panose="020B0604020202020204" pitchFamily="34" charset="0"/>
              </a:defRPr>
            </a:lvl1pPr>
          </a:lstStyle>
          <a:p>
            <a:r>
              <a:rPr lang="de-DE" dirty="0"/>
              <a:t>Überschrift</a:t>
            </a:r>
            <a:br>
              <a:rPr lang="de-DE" dirty="0"/>
            </a:br>
            <a:r>
              <a:rPr lang="de-DE" dirty="0"/>
              <a:t>Headline</a:t>
            </a:r>
          </a:p>
        </p:txBody>
      </p:sp>
      <p:sp>
        <p:nvSpPr>
          <p:cNvPr id="18" name="Fußzeilenplatzhalter 4">
            <a:extLst>
              <a:ext uri="{FF2B5EF4-FFF2-40B4-BE49-F238E27FC236}">
                <a16:creationId xmlns:a16="http://schemas.microsoft.com/office/drawing/2014/main" id="{6D46DD6D-39B6-7346-8FB3-30800BFB33D8}"/>
              </a:ext>
            </a:extLst>
          </p:cNvPr>
          <p:cNvSpPr>
            <a:spLocks noGrp="1"/>
          </p:cNvSpPr>
          <p:nvPr>
            <p:ph type="ftr" sz="quarter" idx="13"/>
          </p:nvPr>
        </p:nvSpPr>
        <p:spPr>
          <a:xfrm>
            <a:off x="6276064" y="3241250"/>
            <a:ext cx="4782950" cy="215444"/>
          </a:xfrm>
        </p:spPr>
        <p:txBody>
          <a:bodyPr lIns="216000" tIns="0" rIns="0" bIns="0"/>
          <a:lstStyle>
            <a:lvl1pPr>
              <a:spcBef>
                <a:spcPts val="600"/>
              </a:spcBef>
              <a:spcAft>
                <a:spcPts val="600"/>
              </a:spcAft>
              <a:defRPr sz="1400">
                <a:solidFill>
                  <a:schemeClr val="tx1">
                    <a:lumMod val="50000"/>
                  </a:schemeClr>
                </a:solidFill>
                <a:latin typeface="+mn-lt"/>
              </a:defRPr>
            </a:lvl1pPr>
          </a:lstStyle>
          <a:p>
            <a:r>
              <a:rPr lang="de-DE"/>
              <a:t>Technischer Kundendienst</a:t>
            </a:r>
          </a:p>
        </p:txBody>
      </p:sp>
      <p:pic>
        <p:nvPicPr>
          <p:cNvPr id="9" name="Grafik 8">
            <a:extLst>
              <a:ext uri="{FF2B5EF4-FFF2-40B4-BE49-F238E27FC236}">
                <a16:creationId xmlns:a16="http://schemas.microsoft.com/office/drawing/2014/main" id="{5CC90D94-1694-408E-ACC5-1A98DAEA84E3}"/>
              </a:ext>
            </a:extLst>
          </p:cNvPr>
          <p:cNvPicPr>
            <a:picLocks noChangeAspect="1"/>
          </p:cNvPicPr>
          <p:nvPr userDrawn="1"/>
        </p:nvPicPr>
        <p:blipFill>
          <a:blip r:embed="rId5"/>
          <a:stretch>
            <a:fillRect/>
          </a:stretch>
        </p:blipFill>
        <p:spPr>
          <a:xfrm>
            <a:off x="9026151" y="5707580"/>
            <a:ext cx="3021965" cy="1017587"/>
          </a:xfrm>
          <a:prstGeom prst="rect">
            <a:avLst/>
          </a:prstGeom>
        </p:spPr>
      </p:pic>
    </p:spTree>
    <p:extLst>
      <p:ext uri="{BB962C8B-B14F-4D97-AF65-F5344CB8AC3E}">
        <p14:creationId xmlns:p14="http://schemas.microsoft.com/office/powerpoint/2010/main" val="2314052521"/>
      </p:ext>
    </p:extLst>
  </p:cSld>
  <p:clrMapOvr>
    <a:masterClrMapping/>
  </p:clrMapOvr>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nhal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33FEF4F-8B79-41EE-AB78-33ED69B9B379}"/>
              </a:ext>
            </a:extLst>
          </p:cNvPr>
          <p:cNvGraphicFramePr>
            <a:graphicFrameLocks noChangeAspect="1"/>
          </p:cNvGraphicFramePr>
          <p:nvPr userDrawn="1">
            <p:custDataLst>
              <p:tags r:id="rId1"/>
            </p:custDataLst>
            <p:extLst>
              <p:ext uri="{D42A27DB-BD31-4B8C-83A1-F6EECF244321}">
                <p14:modId xmlns:p14="http://schemas.microsoft.com/office/powerpoint/2010/main" val="30016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kt 8" hidden="1">
                        <a:extLst>
                          <a:ext uri="{FF2B5EF4-FFF2-40B4-BE49-F238E27FC236}">
                            <a16:creationId xmlns:a16="http://schemas.microsoft.com/office/drawing/2014/main" id="{133FEF4F-8B79-41EE-AB78-33ED69B9B3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B03FE40-B22A-7341-B28C-28DFD29DF85F}"/>
              </a:ext>
            </a:extLst>
          </p:cNvPr>
          <p:cNvSpPr>
            <a:spLocks noGrp="1"/>
          </p:cNvSpPr>
          <p:nvPr>
            <p:ph type="title" hasCustomPrompt="1"/>
          </p:nvPr>
        </p:nvSpPr>
        <p:spPr>
          <a:xfrm>
            <a:off x="515938" y="474663"/>
            <a:ext cx="11160125" cy="318665"/>
          </a:xfrm>
        </p:spPr>
        <p:txBody>
          <a:bodyPr vert="horz"/>
          <a:lstStyle>
            <a:lvl1pPr>
              <a:defRPr lang="de-DE" sz="2800" b="0" kern="1200" dirty="0">
                <a:solidFill>
                  <a:schemeClr val="tx1"/>
                </a:solidFill>
                <a:latin typeface="+mn-lt"/>
                <a:ea typeface="+mj-ea"/>
                <a:cs typeface="Arial" panose="020B0604020202020204" pitchFamily="34" charset="0"/>
              </a:defRPr>
            </a:lvl1pPr>
          </a:lstStyle>
          <a:p>
            <a:r>
              <a:rPr lang="de-DE" dirty="0"/>
              <a:t>Überschrift I Headline</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3200"/>
            <a:ext cx="11160125" cy="4345200"/>
          </a:xfrm>
        </p:spPr>
        <p:txBody>
          <a:bodyPr/>
          <a:lstStyle>
            <a:lvl1pPr>
              <a:defRPr b="0">
                <a:solidFill>
                  <a:schemeClr val="tx1"/>
                </a:solidFill>
                <a:latin typeface="+mn-lt"/>
              </a:defRPr>
            </a:lvl1pPr>
          </a:lstStyle>
          <a:p>
            <a:pPr lvl="0"/>
            <a:r>
              <a:rPr lang="de-DE"/>
              <a:t>Mastertextformat bearbeiten</a:t>
            </a:r>
          </a:p>
        </p:txBody>
      </p:sp>
      <p:sp>
        <p:nvSpPr>
          <p:cNvPr id="8" name="Textplatzhalter 4">
            <a:extLst>
              <a:ext uri="{FF2B5EF4-FFF2-40B4-BE49-F238E27FC236}">
                <a16:creationId xmlns:a16="http://schemas.microsoft.com/office/drawing/2014/main" id="{11FF463F-7FBF-4DC6-8720-3FD91D564364}"/>
              </a:ext>
            </a:extLst>
          </p:cNvPr>
          <p:cNvSpPr>
            <a:spLocks noGrp="1"/>
          </p:cNvSpPr>
          <p:nvPr>
            <p:ph type="body" sz="quarter" idx="17" hasCustomPrompt="1"/>
          </p:nvPr>
        </p:nvSpPr>
        <p:spPr>
          <a:xfrm>
            <a:off x="515938" y="831428"/>
            <a:ext cx="11160000" cy="387798"/>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I </a:t>
            </a:r>
            <a:r>
              <a:rPr lang="de-DE" dirty="0" err="1"/>
              <a:t>Subtitles</a:t>
            </a:r>
            <a:endParaRPr lang="de-DE" dirty="0"/>
          </a:p>
        </p:txBody>
      </p:sp>
      <p:sp>
        <p:nvSpPr>
          <p:cNvPr id="13" name="Foliennummernplatzhalter 5">
            <a:extLst>
              <a:ext uri="{FF2B5EF4-FFF2-40B4-BE49-F238E27FC236}">
                <a16:creationId xmlns:a16="http://schemas.microsoft.com/office/drawing/2014/main" id="{8D4C688C-3055-41E2-8896-2737A0573C3B}"/>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4" name="Fußzeilenplatzhalter 3">
            <a:extLst>
              <a:ext uri="{FF2B5EF4-FFF2-40B4-BE49-F238E27FC236}">
                <a16:creationId xmlns:a16="http://schemas.microsoft.com/office/drawing/2014/main" id="{DBC6C2D0-1056-4181-81F1-C02E4CC91E43}"/>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15" name="Datumsplatzhalter 8">
            <a:extLst>
              <a:ext uri="{FF2B5EF4-FFF2-40B4-BE49-F238E27FC236}">
                <a16:creationId xmlns:a16="http://schemas.microsoft.com/office/drawing/2014/main" id="{96942B6F-6432-449E-93DB-86445774FF79}"/>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30C76355-53E4-49C6-9671-B4A1238F1331}" type="datetime1">
              <a:rPr lang="de-DE" smtClean="0"/>
              <a:pPr/>
              <a:t>20.04.2023</a:t>
            </a:fld>
            <a:endParaRPr lang="de-DE" dirty="0"/>
          </a:p>
        </p:txBody>
      </p:sp>
    </p:spTree>
    <p:extLst>
      <p:ext uri="{BB962C8B-B14F-4D97-AF65-F5344CB8AC3E}">
        <p14:creationId xmlns:p14="http://schemas.microsoft.com/office/powerpoint/2010/main" val="71023303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Überschrift mit Untertit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CD7C520-2B80-4E26-8B78-40EFBE6A9766}"/>
              </a:ext>
            </a:extLst>
          </p:cNvPr>
          <p:cNvGraphicFramePr>
            <a:graphicFrameLocks noChangeAspect="1"/>
          </p:cNvGraphicFramePr>
          <p:nvPr userDrawn="1">
            <p:custDataLst>
              <p:tags r:id="rId1"/>
            </p:custDataLst>
            <p:extLst>
              <p:ext uri="{D42A27DB-BD31-4B8C-83A1-F6EECF244321}">
                <p14:modId xmlns:p14="http://schemas.microsoft.com/office/powerpoint/2010/main" val="385503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8" name="Objekt 7" hidden="1">
                        <a:extLst>
                          <a:ext uri="{FF2B5EF4-FFF2-40B4-BE49-F238E27FC236}">
                            <a16:creationId xmlns:a16="http://schemas.microsoft.com/office/drawing/2014/main" id="{BCD7C520-2B80-4E26-8B78-40EFBE6A97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4">
            <a:extLst>
              <a:ext uri="{FF2B5EF4-FFF2-40B4-BE49-F238E27FC236}">
                <a16:creationId xmlns:a16="http://schemas.microsoft.com/office/drawing/2014/main" id="{78D6160A-CFC0-3346-A4DF-C308B2C5A1A4}"/>
              </a:ext>
            </a:extLst>
          </p:cNvPr>
          <p:cNvSpPr>
            <a:spLocks noGrp="1"/>
          </p:cNvSpPr>
          <p:nvPr>
            <p:ph type="body" sz="quarter" idx="18" hasCustomPrompt="1"/>
          </p:nvPr>
        </p:nvSpPr>
        <p:spPr>
          <a:xfrm>
            <a:off x="515938" y="831428"/>
            <a:ext cx="11160000" cy="387798"/>
          </a:xfrm>
        </p:spPr>
        <p:txBody>
          <a:bodyPr vert="horz" lIns="0" tIns="0" rIns="0" bIns="0" rtlCol="0" anchor="t">
            <a:noAutofit/>
          </a:bodyPr>
          <a:lstStyle>
            <a:lvl1pPr>
              <a:defRPr lang="de-DE" sz="2000" b="0">
                <a:solidFill>
                  <a:schemeClr val="tx1"/>
                </a:solidFill>
                <a:latin typeface="+mn-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dirty="0"/>
              <a:t>Untertitel I </a:t>
            </a:r>
            <a:r>
              <a:rPr lang="de-DE" dirty="0" err="1"/>
              <a:t>Subtitles</a:t>
            </a:r>
            <a:endParaRPr lang="de-DE" dirty="0"/>
          </a:p>
        </p:txBody>
      </p:sp>
      <p:sp>
        <p:nvSpPr>
          <p:cNvPr id="14" name="Foliennummernplatzhalter 5">
            <a:extLst>
              <a:ext uri="{FF2B5EF4-FFF2-40B4-BE49-F238E27FC236}">
                <a16:creationId xmlns:a16="http://schemas.microsoft.com/office/drawing/2014/main" id="{823985D0-4F3A-4F8D-ACB8-C2D8748D710D}"/>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5" name="Fußzeilenplatzhalter 3">
            <a:extLst>
              <a:ext uri="{FF2B5EF4-FFF2-40B4-BE49-F238E27FC236}">
                <a16:creationId xmlns:a16="http://schemas.microsoft.com/office/drawing/2014/main" id="{DD2F819B-3D0D-4E9C-B6A3-323FEE2D96B2}"/>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16" name="Datumsplatzhalter 8">
            <a:extLst>
              <a:ext uri="{FF2B5EF4-FFF2-40B4-BE49-F238E27FC236}">
                <a16:creationId xmlns:a16="http://schemas.microsoft.com/office/drawing/2014/main" id="{D0448C96-C7A5-4D51-ADCB-AC08FC3B747E}"/>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DC7AD8E2-F493-49EB-A575-6654E88C8CC2}" type="datetime1">
              <a:rPr lang="de-DE" smtClean="0"/>
              <a:pPr/>
              <a:t>20.04.2023</a:t>
            </a:fld>
            <a:endParaRPr lang="de-DE" dirty="0"/>
          </a:p>
        </p:txBody>
      </p:sp>
      <p:sp>
        <p:nvSpPr>
          <p:cNvPr id="11" name="Titel 1">
            <a:extLst>
              <a:ext uri="{FF2B5EF4-FFF2-40B4-BE49-F238E27FC236}">
                <a16:creationId xmlns:a16="http://schemas.microsoft.com/office/drawing/2014/main" id="{405AEC9C-974A-4A12-A4A1-F9CC2FA81215}"/>
              </a:ext>
            </a:extLst>
          </p:cNvPr>
          <p:cNvSpPr>
            <a:spLocks noGrp="1"/>
          </p:cNvSpPr>
          <p:nvPr>
            <p:ph type="title" hasCustomPrompt="1"/>
          </p:nvPr>
        </p:nvSpPr>
        <p:spPr>
          <a:xfrm>
            <a:off x="515938" y="340234"/>
            <a:ext cx="11160125" cy="491194"/>
          </a:xfrm>
        </p:spPr>
        <p:txBody>
          <a:bodyPr vert="horz"/>
          <a:lstStyle>
            <a:lvl1pPr>
              <a:defRPr b="0">
                <a:solidFill>
                  <a:schemeClr val="tx1"/>
                </a:solidFill>
                <a:latin typeface="+mn-lt"/>
              </a:defRPr>
            </a:lvl1pPr>
          </a:lstStyle>
          <a:p>
            <a:r>
              <a:rPr lang="de-DE" dirty="0"/>
              <a:t>Überschrift I Headline</a:t>
            </a:r>
          </a:p>
        </p:txBody>
      </p:sp>
    </p:spTree>
    <p:extLst>
      <p:ext uri="{BB962C8B-B14F-4D97-AF65-F5344CB8AC3E}">
        <p14:creationId xmlns:p14="http://schemas.microsoft.com/office/powerpoint/2010/main" val="1396888352"/>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Leerfolie_Blank_Slide">
    <p:spTree>
      <p:nvGrpSpPr>
        <p:cNvPr id="1" name=""/>
        <p:cNvGrpSpPr/>
        <p:nvPr/>
      </p:nvGrpSpPr>
      <p:grpSpPr>
        <a:xfrm>
          <a:off x="0" y="0"/>
          <a:ext cx="0" cy="0"/>
          <a:chOff x="0" y="0"/>
          <a:chExt cx="0" cy="0"/>
        </a:xfrm>
      </p:grpSpPr>
      <p:sp>
        <p:nvSpPr>
          <p:cNvPr id="11" name="Foliennummernplatzhalter 5">
            <a:extLst>
              <a:ext uri="{FF2B5EF4-FFF2-40B4-BE49-F238E27FC236}">
                <a16:creationId xmlns:a16="http://schemas.microsoft.com/office/drawing/2014/main" id="{EDC1379C-8CED-41CA-8430-72D9E90D71E2}"/>
              </a:ext>
            </a:extLst>
          </p:cNvPr>
          <p:cNvSpPr>
            <a:spLocks noGrp="1"/>
          </p:cNvSpPr>
          <p:nvPr>
            <p:ph type="sldNum" sz="quarter" idx="4"/>
          </p:nvPr>
        </p:nvSpPr>
        <p:spPr>
          <a:xfrm>
            <a:off x="515938"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2" name="Fußzeilenplatzhalter 3">
            <a:extLst>
              <a:ext uri="{FF2B5EF4-FFF2-40B4-BE49-F238E27FC236}">
                <a16:creationId xmlns:a16="http://schemas.microsoft.com/office/drawing/2014/main" id="{3B797276-7B97-44E6-80A7-8A978EF26643}"/>
              </a:ext>
            </a:extLst>
          </p:cNvPr>
          <p:cNvSpPr>
            <a:spLocks noGrp="1"/>
          </p:cNvSpPr>
          <p:nvPr>
            <p:ph type="ftr" sz="quarter" idx="3"/>
          </p:nvPr>
        </p:nvSpPr>
        <p:spPr>
          <a:xfrm>
            <a:off x="1696661" y="6356349"/>
            <a:ext cx="4113163"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13" name="Datumsplatzhalter 8">
            <a:extLst>
              <a:ext uri="{FF2B5EF4-FFF2-40B4-BE49-F238E27FC236}">
                <a16:creationId xmlns:a16="http://schemas.microsoft.com/office/drawing/2014/main" id="{5892E75D-6086-44ED-A3F2-C52076A2B07B}"/>
              </a:ext>
            </a:extLst>
          </p:cNvPr>
          <p:cNvSpPr>
            <a:spLocks noGrp="1"/>
          </p:cNvSpPr>
          <p:nvPr>
            <p:ph type="dt" sz="half" idx="2"/>
          </p:nvPr>
        </p:nvSpPr>
        <p:spPr>
          <a:xfrm>
            <a:off x="1002474" y="6359524"/>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75BB9DB3-039C-4331-BF0B-B3A32EA99BC1}" type="datetime1">
              <a:rPr lang="de-DE" smtClean="0"/>
              <a:pPr/>
              <a:t>20.04.2023</a:t>
            </a:fld>
            <a:endParaRPr lang="de-DE" dirty="0"/>
          </a:p>
        </p:txBody>
      </p:sp>
    </p:spTree>
    <p:extLst>
      <p:ext uri="{BB962C8B-B14F-4D97-AF65-F5344CB8AC3E}">
        <p14:creationId xmlns:p14="http://schemas.microsoft.com/office/powerpoint/2010/main" val="54716520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 Bild-Text ohne Hintergrun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A2C08B9-AEF0-4978-B065-A228A3077D05}"/>
              </a:ext>
            </a:extLst>
          </p:cNvPr>
          <p:cNvGraphicFramePr>
            <a:graphicFrameLocks noChangeAspect="1"/>
          </p:cNvGraphicFramePr>
          <p:nvPr userDrawn="1">
            <p:custDataLst>
              <p:tags r:id="rId1"/>
            </p:custDataLst>
            <p:extLst>
              <p:ext uri="{D42A27DB-BD31-4B8C-83A1-F6EECF244321}">
                <p14:modId xmlns:p14="http://schemas.microsoft.com/office/powerpoint/2010/main" val="3308646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3" name="Objekt 2" hidden="1">
                        <a:extLst>
                          <a:ext uri="{FF2B5EF4-FFF2-40B4-BE49-F238E27FC236}">
                            <a16:creationId xmlns:a16="http://schemas.microsoft.com/office/drawing/2014/main" id="{6A2C08B9-AEF0-4978-B065-A228A3077D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2">
            <a:extLst>
              <a:ext uri="{FF2B5EF4-FFF2-40B4-BE49-F238E27FC236}">
                <a16:creationId xmlns:a16="http://schemas.microsoft.com/office/drawing/2014/main" id="{AC9107A1-72E3-1644-8027-D7B089F5146B}"/>
              </a:ext>
            </a:extLst>
          </p:cNvPr>
          <p:cNvSpPr>
            <a:spLocks noGrp="1"/>
          </p:cNvSpPr>
          <p:nvPr>
            <p:ph type="pic" idx="19"/>
          </p:nvPr>
        </p:nvSpPr>
        <p:spPr>
          <a:xfrm>
            <a:off x="0" y="1"/>
            <a:ext cx="5664200" cy="6858000"/>
          </a:xfrm>
          <a:solidFill>
            <a:schemeClr val="accent2"/>
          </a:solidFill>
        </p:spPr>
        <p:txBody>
          <a:bodyPr anchor="ctr"/>
          <a:lstStyle>
            <a:lvl1pPr marL="0" indent="0" algn="ctr">
              <a:buNone/>
              <a:defRPr sz="2000" b="0">
                <a:solidFill>
                  <a:schemeClr val="bg1">
                    <a:lumMod val="6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DE" dirty="0"/>
          </a:p>
        </p:txBody>
      </p:sp>
      <p:sp>
        <p:nvSpPr>
          <p:cNvPr id="16" name="Titel 1">
            <a:extLst>
              <a:ext uri="{FF2B5EF4-FFF2-40B4-BE49-F238E27FC236}">
                <a16:creationId xmlns:a16="http://schemas.microsoft.com/office/drawing/2014/main" id="{C3864067-953C-644E-BB2F-9707B5D6D52B}"/>
              </a:ext>
            </a:extLst>
          </p:cNvPr>
          <p:cNvSpPr>
            <a:spLocks noGrp="1"/>
          </p:cNvSpPr>
          <p:nvPr>
            <p:ph type="ctrTitle" hasCustomPrompt="1"/>
          </p:nvPr>
        </p:nvSpPr>
        <p:spPr>
          <a:xfrm>
            <a:off x="6103524" y="333375"/>
            <a:ext cx="5510856" cy="647700"/>
          </a:xfrm>
        </p:spPr>
        <p:txBody>
          <a:bodyPr vert="horz" anchor="t"/>
          <a:lstStyle>
            <a:lvl1pPr algn="l">
              <a:lnSpc>
                <a:spcPct val="100000"/>
              </a:lnSpc>
              <a:defRPr sz="2800" b="0">
                <a:solidFill>
                  <a:schemeClr val="tx1"/>
                </a:solidFill>
              </a:defRPr>
            </a:lvl1pPr>
          </a:lstStyle>
          <a:p>
            <a:r>
              <a:rPr lang="de-DE" dirty="0"/>
              <a:t>Überschrift I Headline</a:t>
            </a:r>
          </a:p>
        </p:txBody>
      </p:sp>
      <p:sp>
        <p:nvSpPr>
          <p:cNvPr id="30" name="Textplatzhalter 2">
            <a:extLst>
              <a:ext uri="{FF2B5EF4-FFF2-40B4-BE49-F238E27FC236}">
                <a16:creationId xmlns:a16="http://schemas.microsoft.com/office/drawing/2014/main" id="{DD003BDC-D64F-C349-9E09-52BB53F4D9FF}"/>
              </a:ext>
            </a:extLst>
          </p:cNvPr>
          <p:cNvSpPr>
            <a:spLocks noGrp="1"/>
          </p:cNvSpPr>
          <p:nvPr>
            <p:ph type="body" idx="10"/>
          </p:nvPr>
        </p:nvSpPr>
        <p:spPr>
          <a:xfrm>
            <a:off x="6085915" y="1530628"/>
            <a:ext cx="5528466" cy="384460"/>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32" name="Textplatzhalter 2">
            <a:extLst>
              <a:ext uri="{FF2B5EF4-FFF2-40B4-BE49-F238E27FC236}">
                <a16:creationId xmlns:a16="http://schemas.microsoft.com/office/drawing/2014/main" id="{7F5FA6DA-3ED9-534E-8A19-DA2C8DE56A77}"/>
              </a:ext>
            </a:extLst>
          </p:cNvPr>
          <p:cNvSpPr>
            <a:spLocks noGrp="1"/>
          </p:cNvSpPr>
          <p:nvPr>
            <p:ph type="body" idx="11"/>
          </p:nvPr>
        </p:nvSpPr>
        <p:spPr>
          <a:xfrm>
            <a:off x="6085915" y="3793766"/>
            <a:ext cx="5528466" cy="384460"/>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9" name="Textplatzhalter 2">
            <a:extLst>
              <a:ext uri="{FF2B5EF4-FFF2-40B4-BE49-F238E27FC236}">
                <a16:creationId xmlns:a16="http://schemas.microsoft.com/office/drawing/2014/main" id="{C959BF03-5949-4783-91F7-72F3EB1F27E1}"/>
              </a:ext>
            </a:extLst>
          </p:cNvPr>
          <p:cNvSpPr>
            <a:spLocks noGrp="1"/>
          </p:cNvSpPr>
          <p:nvPr>
            <p:ph idx="1"/>
          </p:nvPr>
        </p:nvSpPr>
        <p:spPr>
          <a:xfrm>
            <a:off x="6086683" y="2017790"/>
            <a:ext cx="5511571"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539750" indent="-177800">
              <a:spcAft>
                <a:spcPts val="0"/>
              </a:spcAft>
              <a:buClr>
                <a:schemeClr val="tx1">
                  <a:lumMod val="50000"/>
                </a:schemeClr>
              </a:buClr>
              <a:buFont typeface="Wingdings" pitchFamily="2" charset="2"/>
              <a:buChar char="§"/>
              <a:defRPr sz="1200">
                <a:solidFill>
                  <a:schemeClr val="tx1"/>
                </a:solidFill>
              </a:defRPr>
            </a:lvl3pPr>
            <a:lvl4pPr marL="717550" indent="-177800">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platzhalter 2">
            <a:extLst>
              <a:ext uri="{FF2B5EF4-FFF2-40B4-BE49-F238E27FC236}">
                <a16:creationId xmlns:a16="http://schemas.microsoft.com/office/drawing/2014/main" id="{1789210D-C9B4-49FA-9612-E029C3523EA7}"/>
              </a:ext>
            </a:extLst>
          </p:cNvPr>
          <p:cNvSpPr>
            <a:spLocks noGrp="1"/>
          </p:cNvSpPr>
          <p:nvPr>
            <p:ph idx="20"/>
          </p:nvPr>
        </p:nvSpPr>
        <p:spPr>
          <a:xfrm>
            <a:off x="6103523" y="4327268"/>
            <a:ext cx="5511571"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539750" indent="-177800">
              <a:spcAft>
                <a:spcPts val="0"/>
              </a:spcAft>
              <a:buClr>
                <a:schemeClr val="tx1">
                  <a:lumMod val="50000"/>
                </a:schemeClr>
              </a:buClr>
              <a:buFont typeface="Wingdings" pitchFamily="2" charset="2"/>
              <a:buChar char="§"/>
              <a:defRPr sz="1200">
                <a:solidFill>
                  <a:schemeClr val="tx1"/>
                </a:solidFill>
              </a:defRPr>
            </a:lvl3pPr>
            <a:lvl4pPr marL="717550" indent="-177800">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2" name="Foliennummernplatzhalter 5">
            <a:extLst>
              <a:ext uri="{FF2B5EF4-FFF2-40B4-BE49-F238E27FC236}">
                <a16:creationId xmlns:a16="http://schemas.microsoft.com/office/drawing/2014/main" id="{E6C3D5C7-6C25-4745-BF31-C511F59A2EC3}"/>
              </a:ext>
            </a:extLst>
          </p:cNvPr>
          <p:cNvSpPr>
            <a:spLocks noGrp="1"/>
          </p:cNvSpPr>
          <p:nvPr>
            <p:ph type="sldNum" sz="quarter" idx="4"/>
          </p:nvPr>
        </p:nvSpPr>
        <p:spPr>
          <a:xfrm>
            <a:off x="6116638" y="6323015"/>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3" name="Fußzeilenplatzhalter 3">
            <a:extLst>
              <a:ext uri="{FF2B5EF4-FFF2-40B4-BE49-F238E27FC236}">
                <a16:creationId xmlns:a16="http://schemas.microsoft.com/office/drawing/2014/main" id="{CA0514DA-B83B-43CA-831A-887FA1B6C041}"/>
              </a:ext>
            </a:extLst>
          </p:cNvPr>
          <p:cNvSpPr>
            <a:spLocks noGrp="1"/>
          </p:cNvSpPr>
          <p:nvPr>
            <p:ph type="ftr" sz="quarter" idx="3"/>
          </p:nvPr>
        </p:nvSpPr>
        <p:spPr>
          <a:xfrm>
            <a:off x="7297361" y="6323016"/>
            <a:ext cx="2870369"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14" name="Datumsplatzhalter 8">
            <a:extLst>
              <a:ext uri="{FF2B5EF4-FFF2-40B4-BE49-F238E27FC236}">
                <a16:creationId xmlns:a16="http://schemas.microsoft.com/office/drawing/2014/main" id="{7FEC9BB5-BB03-4D9C-84E4-F96931FFA530}"/>
              </a:ext>
            </a:extLst>
          </p:cNvPr>
          <p:cNvSpPr>
            <a:spLocks noGrp="1"/>
          </p:cNvSpPr>
          <p:nvPr>
            <p:ph type="dt" sz="half" idx="2"/>
          </p:nvPr>
        </p:nvSpPr>
        <p:spPr>
          <a:xfrm>
            <a:off x="6603174" y="6326191"/>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2F0153D8-D818-4EC7-8AFD-C85ECBFE02BB}" type="datetime1">
              <a:rPr lang="de-DE" smtClean="0"/>
              <a:pPr/>
              <a:t>20.04.2023</a:t>
            </a:fld>
            <a:endParaRPr lang="de-DE" dirty="0"/>
          </a:p>
        </p:txBody>
      </p:sp>
    </p:spTree>
    <p:extLst>
      <p:ext uri="{BB962C8B-B14F-4D97-AF65-F5344CB8AC3E}">
        <p14:creationId xmlns:p14="http://schemas.microsoft.com/office/powerpoint/2010/main" val="3493397678"/>
      </p:ext>
    </p:extLst>
  </p:cSld>
  <p:clrMapOvr>
    <a:masterClrMapping/>
  </p:clrMapOvr>
  <p:hf hdr="0"/>
  <p:extLst>
    <p:ext uri="{DCECCB84-F9BA-43D5-87BE-67443E8EF086}">
      <p15:sldGuideLst xmlns:p15="http://schemas.microsoft.com/office/powerpoint/2012/main">
        <p15:guide id="1" pos="356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x Bilder links + Textbaustein ohne Hintergru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19A594C-56E4-440E-AAB5-539DD1078192}"/>
              </a:ext>
            </a:extLst>
          </p:cNvPr>
          <p:cNvGraphicFramePr>
            <a:graphicFrameLocks noChangeAspect="1"/>
          </p:cNvGraphicFramePr>
          <p:nvPr userDrawn="1">
            <p:custDataLst>
              <p:tags r:id="rId1"/>
            </p:custDataLst>
            <p:extLst>
              <p:ext uri="{D42A27DB-BD31-4B8C-83A1-F6EECF244321}">
                <p14:modId xmlns:p14="http://schemas.microsoft.com/office/powerpoint/2010/main" val="1799613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6" progId="TCLayout.ActiveDocument.1">
                  <p:embed/>
                </p:oleObj>
              </mc:Choice>
              <mc:Fallback>
                <p:oleObj name="think-cell Folie" r:id="rId3" imgW="347" imgH="346" progId="TCLayout.ActiveDocument.1">
                  <p:embed/>
                  <p:pic>
                    <p:nvPicPr>
                      <p:cNvPr id="4" name="Objekt 3" hidden="1">
                        <a:extLst>
                          <a:ext uri="{FF2B5EF4-FFF2-40B4-BE49-F238E27FC236}">
                            <a16:creationId xmlns:a16="http://schemas.microsoft.com/office/drawing/2014/main" id="{E19A594C-56E4-440E-AAB5-539DD10781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327D00DF-9EDC-41CE-BFD9-C2C6C9E53162}"/>
              </a:ext>
            </a:extLst>
          </p:cNvPr>
          <p:cNvSpPr/>
          <p:nvPr userDrawn="1"/>
        </p:nvSpPr>
        <p:spPr>
          <a:xfrm>
            <a:off x="0" y="0"/>
            <a:ext cx="300038" cy="288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17" name="Rechteck 16">
            <a:extLst>
              <a:ext uri="{FF2B5EF4-FFF2-40B4-BE49-F238E27FC236}">
                <a16:creationId xmlns:a16="http://schemas.microsoft.com/office/drawing/2014/main" id="{EDC4A3E0-6C0D-EB4D-833B-5856DFA8AEE6}"/>
              </a:ext>
            </a:extLst>
          </p:cNvPr>
          <p:cNvSpPr/>
          <p:nvPr userDrawn="1"/>
        </p:nvSpPr>
        <p:spPr>
          <a:xfrm>
            <a:off x="0" y="0"/>
            <a:ext cx="75255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Bildplatzhalter 2">
            <a:extLst>
              <a:ext uri="{FF2B5EF4-FFF2-40B4-BE49-F238E27FC236}">
                <a16:creationId xmlns:a16="http://schemas.microsoft.com/office/drawing/2014/main" id="{6FAD938C-AD49-F544-BA01-63F44E5FECFA}"/>
              </a:ext>
            </a:extLst>
          </p:cNvPr>
          <p:cNvSpPr>
            <a:spLocks noGrp="1"/>
          </p:cNvSpPr>
          <p:nvPr>
            <p:ph type="pic" idx="19"/>
          </p:nvPr>
        </p:nvSpPr>
        <p:spPr>
          <a:xfrm>
            <a:off x="0" y="0"/>
            <a:ext cx="5664200" cy="3429000"/>
          </a:xfrm>
          <a:solidFill>
            <a:schemeClr val="accent2"/>
          </a:solidFill>
        </p:spPr>
        <p:txBody>
          <a:bodyPr anchor="ctr"/>
          <a:lstStyle>
            <a:lvl1pPr marL="0" indent="0" algn="ctr">
              <a:buNone/>
              <a:defRPr sz="2000" b="0">
                <a:solidFill>
                  <a:schemeClr val="bg1">
                    <a:lumMod val="6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DE" dirty="0"/>
          </a:p>
        </p:txBody>
      </p:sp>
      <p:sp>
        <p:nvSpPr>
          <p:cNvPr id="19" name="Bildplatzhalter 2">
            <a:extLst>
              <a:ext uri="{FF2B5EF4-FFF2-40B4-BE49-F238E27FC236}">
                <a16:creationId xmlns:a16="http://schemas.microsoft.com/office/drawing/2014/main" id="{F55CC908-F16A-274A-B039-6DBD18AB914D}"/>
              </a:ext>
            </a:extLst>
          </p:cNvPr>
          <p:cNvSpPr>
            <a:spLocks noGrp="1"/>
          </p:cNvSpPr>
          <p:nvPr>
            <p:ph type="pic" idx="20"/>
          </p:nvPr>
        </p:nvSpPr>
        <p:spPr>
          <a:xfrm>
            <a:off x="0" y="3429000"/>
            <a:ext cx="5664200" cy="3429000"/>
          </a:xfrm>
          <a:solidFill>
            <a:schemeClr val="accent2"/>
          </a:solidFill>
        </p:spPr>
        <p:txBody>
          <a:bodyPr anchor="ctr"/>
          <a:lstStyle>
            <a:lvl1pPr marL="0" indent="0" algn="ctr">
              <a:buNone/>
              <a:defRPr sz="2000" b="0">
                <a:solidFill>
                  <a:schemeClr val="bg1">
                    <a:lumMod val="6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DE" dirty="0"/>
          </a:p>
        </p:txBody>
      </p:sp>
      <p:cxnSp>
        <p:nvCxnSpPr>
          <p:cNvPr id="20" name="Gerade Verbindung 19">
            <a:extLst>
              <a:ext uri="{FF2B5EF4-FFF2-40B4-BE49-F238E27FC236}">
                <a16:creationId xmlns:a16="http://schemas.microsoft.com/office/drawing/2014/main" id="{C603A484-4D38-5B4B-A2A0-E0BD4B4E03FC}"/>
              </a:ext>
            </a:extLst>
          </p:cNvPr>
          <p:cNvCxnSpPr>
            <a:cxnSpLocks/>
          </p:cNvCxnSpPr>
          <p:nvPr userDrawn="1"/>
        </p:nvCxnSpPr>
        <p:spPr>
          <a:xfrm flipH="1">
            <a:off x="-14139" y="3429000"/>
            <a:ext cx="575762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el 1">
            <a:extLst>
              <a:ext uri="{FF2B5EF4-FFF2-40B4-BE49-F238E27FC236}">
                <a16:creationId xmlns:a16="http://schemas.microsoft.com/office/drawing/2014/main" id="{8654251A-3CCD-A24E-8979-624593CB2EAC}"/>
              </a:ext>
            </a:extLst>
          </p:cNvPr>
          <p:cNvSpPr>
            <a:spLocks noGrp="1"/>
          </p:cNvSpPr>
          <p:nvPr>
            <p:ph type="ctrTitle" hasCustomPrompt="1"/>
          </p:nvPr>
        </p:nvSpPr>
        <p:spPr>
          <a:xfrm>
            <a:off x="6413860" y="285032"/>
            <a:ext cx="5300638" cy="793523"/>
          </a:xfrm>
        </p:spPr>
        <p:txBody>
          <a:bodyPr vert="horz" anchor="t"/>
          <a:lstStyle>
            <a:lvl1pPr algn="l">
              <a:lnSpc>
                <a:spcPct val="100000"/>
              </a:lnSpc>
              <a:defRPr sz="2800" b="0">
                <a:solidFill>
                  <a:schemeClr val="tx1"/>
                </a:solidFill>
              </a:defRPr>
            </a:lvl1pPr>
          </a:lstStyle>
          <a:p>
            <a:r>
              <a:rPr lang="de-DE" dirty="0"/>
              <a:t>Überschrift I Headline</a:t>
            </a:r>
          </a:p>
        </p:txBody>
      </p:sp>
      <p:sp>
        <p:nvSpPr>
          <p:cNvPr id="14" name="Textplatzhalter 2">
            <a:extLst>
              <a:ext uri="{FF2B5EF4-FFF2-40B4-BE49-F238E27FC236}">
                <a16:creationId xmlns:a16="http://schemas.microsoft.com/office/drawing/2014/main" id="{B820B7BB-4FC3-EB4C-B3DB-67A28E98C77A}"/>
              </a:ext>
            </a:extLst>
          </p:cNvPr>
          <p:cNvSpPr>
            <a:spLocks noGrp="1"/>
          </p:cNvSpPr>
          <p:nvPr>
            <p:ph type="body" idx="10"/>
          </p:nvPr>
        </p:nvSpPr>
        <p:spPr>
          <a:xfrm>
            <a:off x="6414575" y="1525771"/>
            <a:ext cx="5277133" cy="498648"/>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2" name="Textplatzhalter 2">
            <a:extLst>
              <a:ext uri="{FF2B5EF4-FFF2-40B4-BE49-F238E27FC236}">
                <a16:creationId xmlns:a16="http://schemas.microsoft.com/office/drawing/2014/main" id="{3813661B-2175-A444-B7DE-8B0371A27277}"/>
              </a:ext>
            </a:extLst>
          </p:cNvPr>
          <p:cNvSpPr>
            <a:spLocks noGrp="1"/>
          </p:cNvSpPr>
          <p:nvPr>
            <p:ph type="body" idx="11"/>
          </p:nvPr>
        </p:nvSpPr>
        <p:spPr>
          <a:xfrm>
            <a:off x="6414575" y="3896141"/>
            <a:ext cx="5277133" cy="391416"/>
          </a:xfrm>
        </p:spPr>
        <p:txBody>
          <a:bodyPr anchor="b"/>
          <a:lstStyle>
            <a:lvl1pPr marL="0" indent="0">
              <a:lnSpc>
                <a:spcPct val="100000"/>
              </a:lnSpc>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24" name="Textplatzhalter 2">
            <a:extLst>
              <a:ext uri="{FF2B5EF4-FFF2-40B4-BE49-F238E27FC236}">
                <a16:creationId xmlns:a16="http://schemas.microsoft.com/office/drawing/2014/main" id="{766EC86B-CFB4-4A90-A302-82ADE46E9216}"/>
              </a:ext>
            </a:extLst>
          </p:cNvPr>
          <p:cNvSpPr>
            <a:spLocks noGrp="1"/>
          </p:cNvSpPr>
          <p:nvPr>
            <p:ph idx="1"/>
          </p:nvPr>
        </p:nvSpPr>
        <p:spPr>
          <a:xfrm>
            <a:off x="6433676" y="2155035"/>
            <a:ext cx="5261006"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5" name="Textplatzhalter 2">
            <a:extLst>
              <a:ext uri="{FF2B5EF4-FFF2-40B4-BE49-F238E27FC236}">
                <a16:creationId xmlns:a16="http://schemas.microsoft.com/office/drawing/2014/main" id="{EFD10ABA-461E-4505-AA85-13D7BCE5C2C9}"/>
              </a:ext>
            </a:extLst>
          </p:cNvPr>
          <p:cNvSpPr>
            <a:spLocks noGrp="1"/>
          </p:cNvSpPr>
          <p:nvPr>
            <p:ph idx="21"/>
          </p:nvPr>
        </p:nvSpPr>
        <p:spPr>
          <a:xfrm>
            <a:off x="6423675" y="4417187"/>
            <a:ext cx="5261006" cy="1313768"/>
          </a:xfrm>
          <a:prstGeom prst="rect">
            <a:avLst/>
          </a:prstGeom>
        </p:spPr>
        <p:txBody>
          <a:bodyPr vert="horz" lIns="91440" tIns="45720" rIns="91440" bIns="45720" rtlCol="0">
            <a:normAutofit/>
          </a:bodyPr>
          <a:lstStyle>
            <a:lvl1pPr>
              <a:buClr>
                <a:schemeClr val="tx1">
                  <a:lumMod val="50000"/>
                </a:schemeClr>
              </a:buClr>
              <a:buFont typeface="Wingdings" pitchFamily="2" charset="2"/>
              <a:buNone/>
              <a:defRPr sz="1200" b="0">
                <a:solidFill>
                  <a:schemeClr val="tx1"/>
                </a:solidFill>
              </a:defRPr>
            </a:lvl1pPr>
            <a:lvl2pPr marL="0" indent="177800">
              <a:spcAft>
                <a:spcPts val="0"/>
              </a:spcAft>
              <a:buClr>
                <a:schemeClr val="tx1">
                  <a:lumMod val="50000"/>
                </a:schemeClr>
              </a:buClr>
              <a:buFont typeface="Wingdings" pitchFamily="2" charset="2"/>
              <a:buChar char="§"/>
              <a:defRPr sz="1200">
                <a:solidFill>
                  <a:schemeClr val="tx1"/>
                </a:solidFill>
              </a:defRPr>
            </a:lvl2pPr>
            <a:lvl3pPr marL="357188" indent="-177800">
              <a:spcAft>
                <a:spcPts val="0"/>
              </a:spcAft>
              <a:buClr>
                <a:schemeClr val="tx1">
                  <a:lumMod val="50000"/>
                </a:schemeClr>
              </a:buClr>
              <a:buFont typeface="Wingdings" pitchFamily="2" charset="2"/>
              <a:buChar char="§"/>
              <a:defRPr sz="1200">
                <a:solidFill>
                  <a:schemeClr val="tx1"/>
                </a:solidFill>
              </a:defRPr>
            </a:lvl3pPr>
            <a:lvl4pPr marL="536575" indent="-179388">
              <a:buClr>
                <a:schemeClr val="tx1">
                  <a:lumMod val="50000"/>
                </a:schemeClr>
              </a:buClr>
              <a:buFont typeface="Wingdings" pitchFamily="2" charset="2"/>
              <a:buChar char="§"/>
              <a:defRPr sz="1200">
                <a:solidFill>
                  <a:schemeClr val="tx1"/>
                </a:solidFill>
              </a:defRPr>
            </a:lvl4pPr>
            <a:lvl5pPr>
              <a:buFont typeface="Wingdings" pitchFamily="2" charset="2"/>
              <a:buChar char="§"/>
              <a:defRPr sz="12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29" name="Foliennummernplatzhalter 5">
            <a:extLst>
              <a:ext uri="{FF2B5EF4-FFF2-40B4-BE49-F238E27FC236}">
                <a16:creationId xmlns:a16="http://schemas.microsoft.com/office/drawing/2014/main" id="{582C89E3-815E-49D3-8AEC-F4E35FEF38E7}"/>
              </a:ext>
            </a:extLst>
          </p:cNvPr>
          <p:cNvSpPr>
            <a:spLocks noGrp="1"/>
          </p:cNvSpPr>
          <p:nvPr>
            <p:ph type="sldNum" sz="quarter" idx="4"/>
          </p:nvPr>
        </p:nvSpPr>
        <p:spPr>
          <a:xfrm>
            <a:off x="6116638" y="6323015"/>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b="0">
                <a:solidFill>
                  <a:schemeClr val="tx1"/>
                </a:solidFill>
              </a:rPr>
              <a:pPr/>
              <a:t>‹Nr.›</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30" name="Fußzeilenplatzhalter 3">
            <a:extLst>
              <a:ext uri="{FF2B5EF4-FFF2-40B4-BE49-F238E27FC236}">
                <a16:creationId xmlns:a16="http://schemas.microsoft.com/office/drawing/2014/main" id="{2A8504A7-0A5A-40BE-8AFC-C8FF122450A6}"/>
              </a:ext>
            </a:extLst>
          </p:cNvPr>
          <p:cNvSpPr>
            <a:spLocks noGrp="1"/>
          </p:cNvSpPr>
          <p:nvPr>
            <p:ph type="ftr" sz="quarter" idx="3"/>
          </p:nvPr>
        </p:nvSpPr>
        <p:spPr>
          <a:xfrm>
            <a:off x="7297361" y="6323016"/>
            <a:ext cx="2870369" cy="305989"/>
          </a:xfrm>
          <a:prstGeom prst="rect">
            <a:avLst/>
          </a:prstGeom>
        </p:spPr>
        <p:txBody>
          <a:bodyPr vert="horz" wrap="none" lIns="0" tIns="0" rIns="0" bIns="0" rtlCol="0" anchor="ctr"/>
          <a:lstStyle>
            <a:lvl1pPr algn="l">
              <a:defRPr lang="de-DE" sz="1000" b="0">
                <a:solidFill>
                  <a:schemeClr val="accent1"/>
                </a:solidFill>
                <a:latin typeface="+mn-lt"/>
                <a:cs typeface="Arial" panose="020B0604020202020204" pitchFamily="34" charset="0"/>
              </a:defRPr>
            </a:lvl1pPr>
          </a:lstStyle>
          <a:p>
            <a:r>
              <a:rPr lang="de-DE"/>
              <a:t>Technischer Kundendienst</a:t>
            </a:r>
            <a:endParaRPr lang="de-DE" dirty="0"/>
          </a:p>
        </p:txBody>
      </p:sp>
      <p:sp>
        <p:nvSpPr>
          <p:cNvPr id="31" name="Datumsplatzhalter 8">
            <a:extLst>
              <a:ext uri="{FF2B5EF4-FFF2-40B4-BE49-F238E27FC236}">
                <a16:creationId xmlns:a16="http://schemas.microsoft.com/office/drawing/2014/main" id="{9AB4B1FB-4818-4EBC-9655-8FF3990886AE}"/>
              </a:ext>
            </a:extLst>
          </p:cNvPr>
          <p:cNvSpPr>
            <a:spLocks noGrp="1"/>
          </p:cNvSpPr>
          <p:nvPr>
            <p:ph type="dt" sz="half" idx="2"/>
          </p:nvPr>
        </p:nvSpPr>
        <p:spPr>
          <a:xfrm>
            <a:off x="6603174" y="6326191"/>
            <a:ext cx="639002" cy="305989"/>
          </a:xfrm>
          <a:prstGeom prst="rect">
            <a:avLst/>
          </a:prstGeom>
        </p:spPr>
        <p:txBody>
          <a:bodyPr vert="horz" wrap="none" lIns="0" tIns="0" rIns="0" bIns="0" rtlCol="0" anchor="ctr"/>
          <a:lstStyle>
            <a:lvl1pPr algn="l">
              <a:defRPr sz="1000">
                <a:solidFill>
                  <a:schemeClr val="accent1"/>
                </a:solidFill>
                <a:latin typeface="+mn-lt"/>
              </a:defRPr>
            </a:lvl1pPr>
          </a:lstStyle>
          <a:p>
            <a:fld id="{062858BC-49EB-4959-B176-36A9056DA66B}" type="datetime1">
              <a:rPr lang="de-DE" smtClean="0"/>
              <a:pPr/>
              <a:t>20.04.2023</a:t>
            </a:fld>
            <a:endParaRPr lang="de-DE" dirty="0"/>
          </a:p>
        </p:txBody>
      </p:sp>
    </p:spTree>
    <p:extLst>
      <p:ext uri="{BB962C8B-B14F-4D97-AF65-F5344CB8AC3E}">
        <p14:creationId xmlns:p14="http://schemas.microsoft.com/office/powerpoint/2010/main" val="700827987"/>
      </p:ext>
    </p:extLst>
  </p:cSld>
  <p:clrMapOvr>
    <a:masterClrMapping/>
  </p:clrMapOvr>
  <p:hf hdr="0"/>
  <p:extLst>
    <p:ext uri="{DCECCB84-F9BA-43D5-87BE-67443E8EF086}">
      <p15:sldGuideLst xmlns:p15="http://schemas.microsoft.com/office/powerpoint/2012/main">
        <p15:guide id="1" pos="3568">
          <p15:clr>
            <a:srgbClr val="FBAE40"/>
          </p15:clr>
        </p15:guide>
        <p15:guide id="2" orient="horz" pos="191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9"/>
            </p:custDataLst>
            <p:extLst>
              <p:ext uri="{D42A27DB-BD31-4B8C-83A1-F6EECF244321}">
                <p14:modId xmlns:p14="http://schemas.microsoft.com/office/powerpoint/2010/main" val="1523552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1" imgW="353" imgH="353" progId="TCLayout.ActiveDocument.1">
                  <p:embed/>
                </p:oleObj>
              </mc:Choice>
              <mc:Fallback>
                <p:oleObj name="think-cell Folie" r:id="rId31" imgW="353" imgH="353" progId="TCLayout.ActiveDocument.1">
                  <p:embed/>
                  <p:pic>
                    <p:nvPicPr>
                      <p:cNvPr id="5" name="Objekt 4"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EE5D475-DF19-4144-995E-F7C3970B86A2}"/>
              </a:ext>
            </a:extLst>
          </p:cNvPr>
          <p:cNvSpPr>
            <a:spLocks noGrp="1"/>
          </p:cNvSpPr>
          <p:nvPr>
            <p:ph type="title"/>
          </p:nvPr>
        </p:nvSpPr>
        <p:spPr>
          <a:xfrm>
            <a:off x="515938" y="512763"/>
            <a:ext cx="11160125" cy="868362"/>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F3A34782-E3A2-CF42-9904-29EE5398AD9A}"/>
              </a:ext>
            </a:extLst>
          </p:cNvPr>
          <p:cNvSpPr>
            <a:spLocks noGrp="1"/>
          </p:cNvSpPr>
          <p:nvPr>
            <p:ph type="body" idx="1"/>
          </p:nvPr>
        </p:nvSpPr>
        <p:spPr>
          <a:xfrm>
            <a:off x="515938" y="1483200"/>
            <a:ext cx="11160125" cy="43452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a:extLst>
              <a:ext uri="{FF2B5EF4-FFF2-40B4-BE49-F238E27FC236}">
                <a16:creationId xmlns:a16="http://schemas.microsoft.com/office/drawing/2014/main" id="{8F3E9BB6-5D8A-8147-AD61-F2C10BA13284}"/>
              </a:ext>
            </a:extLst>
          </p:cNvPr>
          <p:cNvSpPr>
            <a:spLocks noGrp="1"/>
          </p:cNvSpPr>
          <p:nvPr>
            <p:ph type="sldNum" sz="quarter" idx="4"/>
          </p:nvPr>
        </p:nvSpPr>
        <p:spPr>
          <a:xfrm>
            <a:off x="103534" y="6356348"/>
            <a:ext cx="432000" cy="306407"/>
          </a:xfrm>
          <a:prstGeom prst="rect">
            <a:avLst/>
          </a:prstGeom>
        </p:spPr>
        <p:txBody>
          <a:bodyPr vert="horz" lIns="0" tIns="0" rIns="0" bIns="0" rtlCol="0" anchor="ctr"/>
          <a:lstStyle>
            <a:lvl1pPr algn="r">
              <a:defRPr sz="1000" b="1">
                <a:solidFill>
                  <a:schemeClr val="tx1"/>
                </a:solidFill>
                <a:latin typeface="+mn-lt"/>
                <a:cs typeface="Arial" panose="020B0604020202020204" pitchFamily="34" charset="0"/>
              </a:defRPr>
            </a:lvl1pPr>
          </a:lstStyle>
          <a:p>
            <a:fld id="{8D57957C-F0F3-7842-B0E2-B762F92D6487}" type="slidenum">
              <a:rPr lang="de-DE"/>
              <a:pPr/>
              <a:t>‹Nr.›</a:t>
            </a:fld>
            <a:r>
              <a:rPr lang="de-DE" dirty="0"/>
              <a:t>  |</a:t>
            </a:r>
            <a:endParaRPr lang="de-DE" sz="900" dirty="0"/>
          </a:p>
        </p:txBody>
      </p:sp>
      <p:sp>
        <p:nvSpPr>
          <p:cNvPr id="4" name="Fußzeilenplatzhalter 3">
            <a:extLst>
              <a:ext uri="{FF2B5EF4-FFF2-40B4-BE49-F238E27FC236}">
                <a16:creationId xmlns:a16="http://schemas.microsoft.com/office/drawing/2014/main" id="{3983328E-748D-3F4E-9827-CEDBAE65A398}"/>
              </a:ext>
            </a:extLst>
          </p:cNvPr>
          <p:cNvSpPr>
            <a:spLocks noGrp="1"/>
          </p:cNvSpPr>
          <p:nvPr>
            <p:ph type="ftr" sz="quarter" idx="3"/>
          </p:nvPr>
        </p:nvSpPr>
        <p:spPr>
          <a:xfrm>
            <a:off x="1294747" y="6356349"/>
            <a:ext cx="2743200" cy="305989"/>
          </a:xfrm>
          <a:prstGeom prst="rect">
            <a:avLst/>
          </a:prstGeom>
        </p:spPr>
        <p:txBody>
          <a:bodyPr vert="horz" wrap="none" lIns="0" tIns="0" rIns="0" bIns="0" rtlCol="0" anchor="ctr"/>
          <a:lstStyle>
            <a:lvl1pPr algn="l">
              <a:defRPr lang="de-DE" sz="1000" b="0">
                <a:solidFill>
                  <a:schemeClr val="accent1"/>
                </a:solidFill>
                <a:cs typeface="Arial" panose="020B0604020202020204" pitchFamily="34" charset="0"/>
              </a:defRPr>
            </a:lvl1pPr>
          </a:lstStyle>
          <a:p>
            <a:r>
              <a:rPr lang="de-DE"/>
              <a:t>Technischer Kundendienst</a:t>
            </a:r>
            <a:endParaRPr lang="de-DE" dirty="0"/>
          </a:p>
        </p:txBody>
      </p:sp>
      <p:sp>
        <p:nvSpPr>
          <p:cNvPr id="9" name="Datumsplatzhalter 8">
            <a:extLst>
              <a:ext uri="{FF2B5EF4-FFF2-40B4-BE49-F238E27FC236}">
                <a16:creationId xmlns:a16="http://schemas.microsoft.com/office/drawing/2014/main" id="{9DB09A8C-0A47-46B9-974A-D9A1F4E4F2AC}"/>
              </a:ext>
            </a:extLst>
          </p:cNvPr>
          <p:cNvSpPr>
            <a:spLocks noGrp="1"/>
          </p:cNvSpPr>
          <p:nvPr>
            <p:ph type="dt" sz="half" idx="2"/>
          </p:nvPr>
        </p:nvSpPr>
        <p:spPr>
          <a:xfrm>
            <a:off x="585930" y="6356349"/>
            <a:ext cx="655495" cy="305989"/>
          </a:xfrm>
          <a:prstGeom prst="rect">
            <a:avLst/>
          </a:prstGeom>
        </p:spPr>
        <p:txBody>
          <a:bodyPr vert="horz" wrap="none" lIns="0" tIns="0" rIns="0" bIns="0" rtlCol="0" anchor="ctr"/>
          <a:lstStyle>
            <a:lvl1pPr algn="l">
              <a:defRPr sz="1000">
                <a:solidFill>
                  <a:schemeClr val="accent1"/>
                </a:solidFill>
              </a:defRPr>
            </a:lvl1pPr>
          </a:lstStyle>
          <a:p>
            <a:fld id="{F9867AD1-2C88-4BCB-89A0-C565DB3113A9}" type="datetime1">
              <a:rPr lang="de-DE" smtClean="0"/>
              <a:pPr/>
              <a:t>20.04.2023</a:t>
            </a:fld>
            <a:endParaRPr lang="de-DE" dirty="0"/>
          </a:p>
        </p:txBody>
      </p:sp>
      <p:sp>
        <p:nvSpPr>
          <p:cNvPr id="8" name="empower - DO NOT DELETE!!!" hidden="1">
            <a:extLst>
              <a:ext uri="{FF2B5EF4-FFF2-40B4-BE49-F238E27FC236}">
                <a16:creationId xmlns:a16="http://schemas.microsoft.com/office/drawing/2014/main" id="{3B045111-8DB6-4E89-8ACE-F9267DF8EF55}"/>
              </a:ext>
            </a:extLst>
          </p:cNvPr>
          <p:cNvSpPr/>
          <p:nvPr>
            <p:custDataLst>
              <p:tags r:id="rId30"/>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endParaRPr lang="de-DE" dirty="0" err="1"/>
          </a:p>
        </p:txBody>
      </p:sp>
      <p:pic>
        <p:nvPicPr>
          <p:cNvPr id="14" name="Grafik 13">
            <a:extLst>
              <a:ext uri="{FF2B5EF4-FFF2-40B4-BE49-F238E27FC236}">
                <a16:creationId xmlns:a16="http://schemas.microsoft.com/office/drawing/2014/main" id="{DC28AA3B-B076-4FC3-86A9-1B6A560113CC}"/>
              </a:ext>
            </a:extLst>
          </p:cNvPr>
          <p:cNvPicPr>
            <a:picLocks noChangeAspect="1"/>
          </p:cNvPicPr>
          <p:nvPr/>
        </p:nvPicPr>
        <p:blipFill>
          <a:blip r:embed="rId33"/>
          <a:stretch>
            <a:fillRect/>
          </a:stretch>
        </p:blipFill>
        <p:spPr>
          <a:xfrm>
            <a:off x="10169826" y="6048375"/>
            <a:ext cx="1817476" cy="611999"/>
          </a:xfrm>
          <a:prstGeom prst="rect">
            <a:avLst/>
          </a:prstGeom>
        </p:spPr>
      </p:pic>
    </p:spTree>
    <p:extLst>
      <p:ext uri="{BB962C8B-B14F-4D97-AF65-F5344CB8AC3E}">
        <p14:creationId xmlns:p14="http://schemas.microsoft.com/office/powerpoint/2010/main" val="328724782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Lst>
  <p:hf hdr="0"/>
  <p:txStyles>
    <p:titleStyle>
      <a:lvl1pPr algn="l" defTabSz="914355" rtl="0" eaLnBrk="1" latinLnBrk="0" hangingPunct="1">
        <a:lnSpc>
          <a:spcPct val="90000"/>
        </a:lnSpc>
        <a:spcBef>
          <a:spcPct val="0"/>
        </a:spcBef>
        <a:buNone/>
        <a:defRPr sz="2800" b="0" kern="1200">
          <a:solidFill>
            <a:schemeClr val="tx1"/>
          </a:solidFill>
          <a:latin typeface="+mj-lt"/>
          <a:ea typeface="+mj-ea"/>
          <a:cs typeface="Arial" panose="020B0604020202020204" pitchFamily="34" charset="0"/>
        </a:defRPr>
      </a:lvl1pPr>
    </p:titleStyle>
    <p:body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1"/>
          </a:solidFill>
          <a:latin typeface="+mn-lt"/>
          <a:ea typeface="+mn-ea"/>
          <a:cs typeface="Arial" panose="020B0604020202020204" pitchFamily="34" charset="0"/>
        </a:defRPr>
      </a:lvl1pPr>
      <a:lvl2pPr marL="0" indent="0" algn="l" defTabSz="914355" rtl="0" eaLnBrk="1" latinLnBrk="0" hangingPunct="1">
        <a:lnSpc>
          <a:spcPct val="100000"/>
        </a:lnSpc>
        <a:spcBef>
          <a:spcPts val="60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600"/>
        </a:spcBef>
        <a:buClrTx/>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600"/>
        </a:spcBef>
        <a:buClrTx/>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600"/>
        </a:spcBef>
        <a:buClrTx/>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600"/>
        </a:spcBef>
        <a:buClrTx/>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600"/>
        </a:spcBef>
        <a:buClrTx/>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600"/>
        </a:spcBef>
        <a:buClrTx/>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600"/>
        </a:spcBef>
        <a:buClrTx/>
        <a:buFont typeface="Wingdings" panose="05000000000000000000" pitchFamily="2" charset="2"/>
        <a:buChar char="§"/>
        <a:defRPr sz="1600" kern="1200" baseline="0">
          <a:solidFill>
            <a:schemeClr val="tx1"/>
          </a:solidFill>
          <a:latin typeface="+mn-lt"/>
          <a:ea typeface="+mn-ea"/>
          <a:cs typeface="+mn-cs"/>
        </a:defRPr>
      </a:lvl9pPr>
    </p:bodyStyle>
    <p:other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
          <p15:clr>
            <a:srgbClr val="F26B43"/>
          </p15:clr>
        </p15:guide>
        <p15:guide id="2" pos="325">
          <p15:clr>
            <a:srgbClr val="F26B43"/>
          </p15:clr>
        </p15:guide>
        <p15:guide id="3" orient="horz" pos="4137">
          <p15:clr>
            <a:srgbClr val="F26B43"/>
          </p15:clr>
        </p15:guide>
        <p15:guide id="4" pos="7491">
          <p15:clr>
            <a:srgbClr val="F26B43"/>
          </p15:clr>
        </p15:guide>
        <p15:guide id="6" pos="189">
          <p15:clr>
            <a:srgbClr val="F26B43"/>
          </p15:clr>
        </p15:guide>
        <p15:guide id="7" orient="horz" pos="323">
          <p15:clr>
            <a:srgbClr val="F26B43"/>
          </p15:clr>
        </p15:guide>
        <p15:guide id="8" orient="horz" pos="3997">
          <p15:clr>
            <a:srgbClr val="F26B43"/>
          </p15:clr>
        </p15:guide>
        <p15:guide id="9" pos="7355">
          <p15:clr>
            <a:srgbClr val="F26B43"/>
          </p15:clr>
        </p15:guide>
        <p15:guide id="10" orient="horz" pos="935">
          <p15:clr>
            <a:srgbClr val="F26B43"/>
          </p15:clr>
        </p15:guide>
        <p15:guide id="12" orient="horz" pos="36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7.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25.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png"/><Relationship Id="rId15" Type="http://schemas.openxmlformats.org/officeDocument/2006/relationships/image" Target="../media/image37.svg"/><Relationship Id="rId10" Type="http://schemas.openxmlformats.org/officeDocument/2006/relationships/image" Target="../media/image32.png"/><Relationship Id="rId4" Type="http://schemas.openxmlformats.org/officeDocument/2006/relationships/image" Target="../media/image26.jpeg"/><Relationship Id="rId9" Type="http://schemas.openxmlformats.org/officeDocument/2006/relationships/image" Target="../media/image31.svg"/><Relationship Id="rId14"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18" Type="http://schemas.openxmlformats.org/officeDocument/2006/relationships/image" Target="../media/image51.png"/><Relationship Id="rId3" Type="http://schemas.openxmlformats.org/officeDocument/2006/relationships/image" Target="../media/image38.png"/><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31.svg"/><Relationship Id="rId2" Type="http://schemas.openxmlformats.org/officeDocument/2006/relationships/notesSlide" Target="../notesSlides/notesSlide11.xml"/><Relationship Id="rId16" Type="http://schemas.openxmlformats.org/officeDocument/2006/relationships/image" Target="../media/image30.png"/><Relationship Id="rId1" Type="http://schemas.openxmlformats.org/officeDocument/2006/relationships/slideLayout" Target="../slideLayouts/slideLayout25.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png"/><Relationship Id="rId15" Type="http://schemas.openxmlformats.org/officeDocument/2006/relationships/image" Target="../media/image50.svg"/><Relationship Id="rId10" Type="http://schemas.openxmlformats.org/officeDocument/2006/relationships/image" Target="../media/image45.png"/><Relationship Id="rId19" Type="http://schemas.microsoft.com/office/2007/relationships/hdphoto" Target="../media/hdphoto1.wdp"/><Relationship Id="rId4" Type="http://schemas.openxmlformats.org/officeDocument/2006/relationships/image" Target="../media/image39.png"/><Relationship Id="rId9" Type="http://schemas.openxmlformats.org/officeDocument/2006/relationships/image" Target="../media/image44.svg"/><Relationship Id="rId14"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25.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2.jpeg"/><Relationship Id="rId5" Type="http://schemas.openxmlformats.org/officeDocument/2006/relationships/image" Target="../media/image11.jpeg"/><Relationship Id="rId10" Type="http://schemas.openxmlformats.org/officeDocument/2006/relationships/image" Target="../media/image16.jpg"/><Relationship Id="rId4" Type="http://schemas.openxmlformats.org/officeDocument/2006/relationships/image" Target="../media/image10.jpeg"/><Relationship Id="rId9" Type="http://schemas.openxmlformats.org/officeDocument/2006/relationships/image" Target="../media/image15.jp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slide" Target="slide10.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9.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25.xml"/><Relationship Id="rId5" Type="http://schemas.openxmlformats.org/officeDocument/2006/relationships/tags" Target="../tags/tag34.xml"/><Relationship Id="rId15" Type="http://schemas.openxmlformats.org/officeDocument/2006/relationships/slide" Target="slide9.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slide" Target="slide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4C60ADA1-D7E1-E1F3-5BC8-124FB7E9D6CC}"/>
              </a:ext>
            </a:extLst>
          </p:cNvPr>
          <p:cNvSpPr>
            <a:spLocks noGrp="1"/>
          </p:cNvSpPr>
          <p:nvPr>
            <p:ph type="subTitle" idx="1"/>
          </p:nvPr>
        </p:nvSpPr>
        <p:spPr/>
        <p:txBody>
          <a:bodyPr/>
          <a:lstStyle/>
          <a:p>
            <a:r>
              <a:rPr lang="de-DE" dirty="0">
                <a:solidFill>
                  <a:schemeClr val="accent1"/>
                </a:solidFill>
              </a:rPr>
              <a:t>Technischer Kundendienst</a:t>
            </a:r>
          </a:p>
        </p:txBody>
      </p:sp>
      <p:sp>
        <p:nvSpPr>
          <p:cNvPr id="4" name="Titel 3">
            <a:extLst>
              <a:ext uri="{FF2B5EF4-FFF2-40B4-BE49-F238E27FC236}">
                <a16:creationId xmlns:a16="http://schemas.microsoft.com/office/drawing/2014/main" id="{7B9E7702-CFD3-1401-7B95-DBA97E16428A}"/>
              </a:ext>
            </a:extLst>
          </p:cNvPr>
          <p:cNvSpPr>
            <a:spLocks noGrp="1"/>
          </p:cNvSpPr>
          <p:nvPr>
            <p:ph type="ctrTitle"/>
          </p:nvPr>
        </p:nvSpPr>
        <p:spPr/>
        <p:txBody>
          <a:bodyPr/>
          <a:lstStyle/>
          <a:p>
            <a:r>
              <a:rPr lang="de-DE" dirty="0"/>
              <a:t>Remote Support</a:t>
            </a:r>
          </a:p>
        </p:txBody>
      </p:sp>
      <p:pic>
        <p:nvPicPr>
          <p:cNvPr id="11" name="Technical Service">
            <a:extLst>
              <a:ext uri="{FF2B5EF4-FFF2-40B4-BE49-F238E27FC236}">
                <a16:creationId xmlns:a16="http://schemas.microsoft.com/office/drawing/2014/main" id="{334081FC-2C31-9AE7-461B-674E0DE8ADD9}"/>
              </a:ext>
            </a:extLst>
          </p:cNvPr>
          <p:cNvPicPr>
            <a:picLocks noGrp="1" noChangeAspect="1"/>
          </p:cNvPicPr>
          <p:nvPr>
            <p:ph type="pic" sz="quarter" idx="11"/>
            <p:custDataLst>
              <p:tags r:id="rId1"/>
            </p:custDataLst>
          </p:nvPr>
        </p:nvPicPr>
        <p:blipFill>
          <a:blip r:embed="rId4"/>
          <a:srcRect t="7769" b="7769"/>
          <a:stretch>
            <a:fillRect/>
          </a:stretch>
        </p:blipFill>
        <p:spPr>
          <a:xfrm>
            <a:off x="-2724" y="-1"/>
            <a:ext cx="12194724" cy="6861319"/>
          </a:xfrm>
        </p:spPr>
      </p:pic>
      <p:sp>
        <p:nvSpPr>
          <p:cNvPr id="12" name="Fußzeilenplatzhalter 11">
            <a:extLst>
              <a:ext uri="{FF2B5EF4-FFF2-40B4-BE49-F238E27FC236}">
                <a16:creationId xmlns:a16="http://schemas.microsoft.com/office/drawing/2014/main" id="{115B966D-9F8E-F019-D4AC-47A2EF9AADFF}"/>
              </a:ext>
            </a:extLst>
          </p:cNvPr>
          <p:cNvSpPr>
            <a:spLocks noGrp="1"/>
          </p:cNvSpPr>
          <p:nvPr>
            <p:ph type="ftr" sz="quarter" idx="13"/>
          </p:nvPr>
        </p:nvSpPr>
        <p:spPr/>
        <p:txBody>
          <a:bodyPr/>
          <a:lstStyle/>
          <a:p>
            <a:r>
              <a:rPr lang="de-DE"/>
              <a:t>Technischer Kundendienst</a:t>
            </a:r>
            <a:endParaRPr lang="de-DE" dirty="0"/>
          </a:p>
        </p:txBody>
      </p:sp>
    </p:spTree>
    <p:extLst>
      <p:ext uri="{BB962C8B-B14F-4D97-AF65-F5344CB8AC3E}">
        <p14:creationId xmlns:p14="http://schemas.microsoft.com/office/powerpoint/2010/main" val="1066416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FC706960-11A8-7101-802A-B0F60BEAE79D}"/>
              </a:ext>
            </a:extLst>
          </p:cNvPr>
          <p:cNvSpPr>
            <a:spLocks noGrp="1"/>
          </p:cNvSpPr>
          <p:nvPr>
            <p:ph type="title"/>
          </p:nvPr>
        </p:nvSpPr>
        <p:spPr/>
        <p:txBody>
          <a:bodyPr/>
          <a:lstStyle/>
          <a:p>
            <a:r>
              <a:rPr lang="de-DE" b="0" dirty="0" err="1">
                <a:solidFill>
                  <a:srgbClr val="333333"/>
                </a:solidFill>
                <a:latin typeface="Segoe UI" panose="020B0502040204020203" pitchFamily="34" charset="0"/>
              </a:rPr>
              <a:t>Predictive</a:t>
            </a:r>
            <a:r>
              <a:rPr lang="de-DE" b="0" dirty="0">
                <a:solidFill>
                  <a:srgbClr val="333333"/>
                </a:solidFill>
                <a:latin typeface="Segoe UI" panose="020B0502040204020203" pitchFamily="34" charset="0"/>
              </a:rPr>
              <a:t> Service Center  </a:t>
            </a:r>
            <a:br>
              <a:rPr kumimoji="0" lang="de-DE" sz="4000" b="1" i="0" u="none" strike="noStrike" kern="1200" cap="none" spc="0" normalizeH="0" baseline="0" noProof="0" dirty="0">
                <a:ln>
                  <a:noFill/>
                </a:ln>
                <a:effectLst/>
                <a:uLnTx/>
                <a:uFillTx/>
                <a:latin typeface="Arial" panose="020B0604020202020204"/>
                <a:ea typeface="+mj-ea"/>
                <a:cs typeface="Arial"/>
              </a:rPr>
            </a:br>
            <a:r>
              <a:rPr kumimoji="0" lang="de-DE" sz="4000" b="1" i="0" u="none" strike="noStrike" kern="1200" cap="none" spc="0" normalizeH="0" baseline="0" noProof="0" dirty="0">
                <a:ln>
                  <a:noFill/>
                </a:ln>
                <a:effectLst/>
                <a:uLnTx/>
                <a:uFillTx/>
                <a:latin typeface="Arial" panose="020B0604020202020204"/>
                <a:ea typeface="+mj-ea"/>
                <a:cs typeface="Arial" panose="020B0604020202020204" pitchFamily="34" charset="0"/>
              </a:rPr>
              <a:t> </a:t>
            </a:r>
            <a:br>
              <a:rPr kumimoji="0" lang="de-DE" sz="4000" b="1" i="0" u="none" strike="noStrike" kern="1200" cap="none" spc="0" normalizeH="0" baseline="0" noProof="0" dirty="0">
                <a:ln>
                  <a:noFill/>
                </a:ln>
                <a:effectLst/>
                <a:uLnTx/>
                <a:uFillTx/>
                <a:latin typeface="Arial" panose="020B0604020202020204"/>
                <a:ea typeface="+mj-ea"/>
                <a:cs typeface="Arial" panose="020B0604020202020204" pitchFamily="34" charset="0"/>
              </a:rPr>
            </a:br>
            <a:endParaRPr lang="de-DE" dirty="0"/>
          </a:p>
        </p:txBody>
      </p:sp>
      <p:sp>
        <p:nvSpPr>
          <p:cNvPr id="12" name="Textplatzhalter 11">
            <a:extLst>
              <a:ext uri="{FF2B5EF4-FFF2-40B4-BE49-F238E27FC236}">
                <a16:creationId xmlns:a16="http://schemas.microsoft.com/office/drawing/2014/main" id="{43C5ED29-52DE-D404-4D8C-B1ADC62938B1}"/>
              </a:ext>
            </a:extLst>
          </p:cNvPr>
          <p:cNvSpPr>
            <a:spLocks noGrp="1"/>
          </p:cNvSpPr>
          <p:nvPr>
            <p:ph type="body" sz="quarter" idx="17"/>
          </p:nvPr>
        </p:nvSpPr>
        <p:spPr/>
        <p:txBody>
          <a:bodyPr/>
          <a:lstStyle/>
          <a:p>
            <a:endParaRPr lang="de-DE" sz="2000" dirty="0"/>
          </a:p>
        </p:txBody>
      </p:sp>
      <p:sp>
        <p:nvSpPr>
          <p:cNvPr id="13" name="Foliennummernplatzhalter 12">
            <a:extLst>
              <a:ext uri="{FF2B5EF4-FFF2-40B4-BE49-F238E27FC236}">
                <a16:creationId xmlns:a16="http://schemas.microsoft.com/office/drawing/2014/main" id="{47C7963C-F72E-0091-783C-63323B969B2E}"/>
              </a:ext>
            </a:extLst>
          </p:cNvPr>
          <p:cNvSpPr>
            <a:spLocks noGrp="1"/>
          </p:cNvSpPr>
          <p:nvPr>
            <p:ph type="sldNum" sz="quarter" idx="4"/>
          </p:nvPr>
        </p:nvSpPr>
        <p:spPr/>
        <p:txBody>
          <a:bodyPr/>
          <a:lstStyle/>
          <a:p>
            <a:fld id="{8D57957C-F0F3-7842-B0E2-B762F92D6487}" type="slidenum">
              <a:rPr lang="de-DE" b="0" smtClean="0">
                <a:solidFill>
                  <a:schemeClr val="tx1"/>
                </a:solidFill>
              </a:rPr>
              <a:pPr/>
              <a:t>10</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4" name="Fußzeilenplatzhalter 13">
            <a:extLst>
              <a:ext uri="{FF2B5EF4-FFF2-40B4-BE49-F238E27FC236}">
                <a16:creationId xmlns:a16="http://schemas.microsoft.com/office/drawing/2014/main" id="{CC2ADE52-F17F-0C47-3206-816D34D59D30}"/>
              </a:ext>
            </a:extLst>
          </p:cNvPr>
          <p:cNvSpPr>
            <a:spLocks noGrp="1"/>
          </p:cNvSpPr>
          <p:nvPr>
            <p:ph type="ftr" sz="quarter" idx="3"/>
          </p:nvPr>
        </p:nvSpPr>
        <p:spPr/>
        <p:txBody>
          <a:bodyPr/>
          <a:lstStyle/>
          <a:p>
            <a:r>
              <a:rPr lang="de-DE"/>
              <a:t>Technischer Kundendienst</a:t>
            </a:r>
            <a:endParaRPr lang="de-DE" dirty="0"/>
          </a:p>
        </p:txBody>
      </p:sp>
      <p:sp>
        <p:nvSpPr>
          <p:cNvPr id="55" name="Datumsplatzhalter 54">
            <a:extLst>
              <a:ext uri="{FF2B5EF4-FFF2-40B4-BE49-F238E27FC236}">
                <a16:creationId xmlns:a16="http://schemas.microsoft.com/office/drawing/2014/main" id="{834ED672-3BD6-0C35-3328-94B677B07D8D}"/>
              </a:ext>
            </a:extLst>
          </p:cNvPr>
          <p:cNvSpPr>
            <a:spLocks noGrp="1"/>
          </p:cNvSpPr>
          <p:nvPr>
            <p:ph type="dt" sz="half" idx="2"/>
          </p:nvPr>
        </p:nvSpPr>
        <p:spPr/>
        <p:txBody>
          <a:bodyPr/>
          <a:lstStyle/>
          <a:p>
            <a:fld id="{27C0C552-54B7-4F0D-B901-96BCDB04340B}" type="datetime1">
              <a:rPr lang="de-DE" smtClean="0"/>
              <a:pPr/>
              <a:t>20.04.2023</a:t>
            </a:fld>
            <a:endParaRPr lang="de-DE" dirty="0"/>
          </a:p>
        </p:txBody>
      </p:sp>
      <p:sp>
        <p:nvSpPr>
          <p:cNvPr id="2" name="Oval 11">
            <a:extLst>
              <a:ext uri="{FF2B5EF4-FFF2-40B4-BE49-F238E27FC236}">
                <a16:creationId xmlns:a16="http://schemas.microsoft.com/office/drawing/2014/main" id="{74CAFD66-8F2D-BB22-A62F-96561F5A18D0}"/>
              </a:ext>
            </a:extLst>
          </p:cNvPr>
          <p:cNvSpPr/>
          <p:nvPr/>
        </p:nvSpPr>
        <p:spPr>
          <a:xfrm>
            <a:off x="2417920" y="2000593"/>
            <a:ext cx="2666152" cy="2666152"/>
          </a:xfrm>
          <a:prstGeom prst="ellipse">
            <a:avLst/>
          </a:prstGeom>
          <a:solidFill>
            <a:schemeClr val="accent5"/>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57263" rtl="0" eaLnBrk="0" fontAlgn="base" latinLnBrk="0" hangingPunct="0">
              <a:lnSpc>
                <a:spcPct val="100000"/>
              </a:lnSpc>
              <a:spcBef>
                <a:spcPct val="0"/>
              </a:spcBef>
              <a:spcAft>
                <a:spcPct val="0"/>
              </a:spcAft>
              <a:buClrTx/>
              <a:buSzTx/>
              <a:buFontTx/>
              <a:buNone/>
              <a:tabLst/>
              <a:defRPr/>
            </a:pPr>
            <a:endParaRPr kumimoji="0" lang="de-DE" altLang="en-US" sz="14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3" name="Oval 12">
            <a:extLst>
              <a:ext uri="{FF2B5EF4-FFF2-40B4-BE49-F238E27FC236}">
                <a16:creationId xmlns:a16="http://schemas.microsoft.com/office/drawing/2014/main" id="{1BAA125F-970F-8693-1C41-7A0DAAF341C1}"/>
              </a:ext>
            </a:extLst>
          </p:cNvPr>
          <p:cNvSpPr/>
          <p:nvPr/>
        </p:nvSpPr>
        <p:spPr>
          <a:xfrm>
            <a:off x="451953" y="1224716"/>
            <a:ext cx="1336126" cy="132911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57263" rtl="0" eaLnBrk="0" fontAlgn="base" latinLnBrk="0" hangingPunct="0">
              <a:lnSpc>
                <a:spcPct val="100000"/>
              </a:lnSpc>
              <a:spcBef>
                <a:spcPct val="0"/>
              </a:spcBef>
              <a:spcAft>
                <a:spcPct val="0"/>
              </a:spcAft>
              <a:buClrTx/>
              <a:buSzTx/>
              <a:buFontTx/>
              <a:buNone/>
              <a:tabLst/>
              <a:defRPr/>
            </a:pPr>
            <a:endParaRPr kumimoji="0" lang="de-DE" altLang="en-US" sz="14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4" name="Oval 11">
            <a:extLst>
              <a:ext uri="{FF2B5EF4-FFF2-40B4-BE49-F238E27FC236}">
                <a16:creationId xmlns:a16="http://schemas.microsoft.com/office/drawing/2014/main" id="{FB410E74-7860-0319-0423-A4E1BE81EE89}"/>
              </a:ext>
            </a:extLst>
          </p:cNvPr>
          <p:cNvSpPr/>
          <p:nvPr/>
        </p:nvSpPr>
        <p:spPr>
          <a:xfrm>
            <a:off x="2328996" y="1919621"/>
            <a:ext cx="2844000" cy="284400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57263" rtl="0" eaLnBrk="0" fontAlgn="base" latinLnBrk="0" hangingPunct="0">
              <a:lnSpc>
                <a:spcPct val="100000"/>
              </a:lnSpc>
              <a:spcBef>
                <a:spcPct val="0"/>
              </a:spcBef>
              <a:spcAft>
                <a:spcPct val="0"/>
              </a:spcAft>
              <a:buClrTx/>
              <a:buSzTx/>
              <a:buFontTx/>
              <a:buNone/>
              <a:tabLst/>
              <a:defRPr/>
            </a:pPr>
            <a:endParaRPr kumimoji="0" lang="de-DE" altLang="en-US" sz="14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5" name="TextBox 61">
            <a:extLst>
              <a:ext uri="{FF2B5EF4-FFF2-40B4-BE49-F238E27FC236}">
                <a16:creationId xmlns:a16="http://schemas.microsoft.com/office/drawing/2014/main" id="{3D7DE14B-7055-8539-A484-872A17B6BCDA}"/>
              </a:ext>
            </a:extLst>
          </p:cNvPr>
          <p:cNvSpPr txBox="1">
            <a:spLocks noChangeArrowheads="1"/>
          </p:cNvSpPr>
          <p:nvPr/>
        </p:nvSpPr>
        <p:spPr bwMode="auto">
          <a:xfrm>
            <a:off x="429469" y="2587085"/>
            <a:ext cx="140971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rPr>
              <a:t>PSC TW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Competence Center </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TruPunch</a:t>
            </a: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 &amp; </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TruMatic</a:t>
            </a:r>
            <a:endPar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endParaRPr>
          </a:p>
        </p:txBody>
      </p:sp>
      <p:sp>
        <p:nvSpPr>
          <p:cNvPr id="6" name="Textfeld 17">
            <a:extLst>
              <a:ext uri="{FF2B5EF4-FFF2-40B4-BE49-F238E27FC236}">
                <a16:creationId xmlns:a16="http://schemas.microsoft.com/office/drawing/2014/main" id="{1FE1DDD5-8143-2CF8-BE43-C3714D09339C}"/>
              </a:ext>
            </a:extLst>
          </p:cNvPr>
          <p:cNvSpPr txBox="1">
            <a:spLocks noChangeArrowheads="1"/>
          </p:cNvSpPr>
          <p:nvPr/>
        </p:nvSpPr>
        <p:spPr bwMode="auto">
          <a:xfrm>
            <a:off x="3058557" y="2168899"/>
            <a:ext cx="137752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marL="0" marR="0" lvl="0" indent="0" algn="ctr" defTabSz="957263" rtl="0" eaLnBrk="1" fontAlgn="base" latinLnBrk="0" hangingPunct="1">
              <a:lnSpc>
                <a:spcPct val="100000"/>
              </a:lnSpc>
              <a:spcBef>
                <a:spcPct val="0"/>
              </a:spcBef>
              <a:spcAft>
                <a:spcPct val="0"/>
              </a:spcAft>
              <a:buClrTx/>
              <a:buSzTx/>
              <a:buFontTx/>
              <a:buNone/>
              <a:tabLst/>
              <a:defRPr/>
            </a:pPr>
            <a:r>
              <a:rPr kumimoji="0" lang="de-DE" altLang="en-US" sz="10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edictive</a:t>
            </a:r>
            <a:r>
              <a:rPr kumimoji="0" lang="de-DE" alt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ervice Center</a:t>
            </a:r>
          </a:p>
        </p:txBody>
      </p:sp>
      <p:pic>
        <p:nvPicPr>
          <p:cNvPr id="7" name="Grafik 6">
            <a:extLst>
              <a:ext uri="{FF2B5EF4-FFF2-40B4-BE49-F238E27FC236}">
                <a16:creationId xmlns:a16="http://schemas.microsoft.com/office/drawing/2014/main" id="{16BA4D2B-32BB-D07E-732F-03AF32889D0E}"/>
              </a:ext>
            </a:extLst>
          </p:cNvPr>
          <p:cNvPicPr>
            <a:picLocks noChangeAspect="1"/>
          </p:cNvPicPr>
          <p:nvPr/>
        </p:nvPicPr>
        <p:blipFill rotWithShape="1">
          <a:blip r:embed="rId3"/>
          <a:srcRect l="25097" t="-5389" r="28808" b="5389"/>
          <a:stretch/>
        </p:blipFill>
        <p:spPr>
          <a:xfrm>
            <a:off x="582020" y="1365599"/>
            <a:ext cx="1075992" cy="1047351"/>
          </a:xfrm>
          <a:prstGeom prst="flowChartConnector">
            <a:avLst/>
          </a:prstGeom>
          <a:ln>
            <a:solidFill>
              <a:schemeClr val="bg1"/>
            </a:solidFill>
          </a:ln>
        </p:spPr>
      </p:pic>
      <p:sp>
        <p:nvSpPr>
          <p:cNvPr id="8" name="Rechteck 7">
            <a:extLst>
              <a:ext uri="{FF2B5EF4-FFF2-40B4-BE49-F238E27FC236}">
                <a16:creationId xmlns:a16="http://schemas.microsoft.com/office/drawing/2014/main" id="{37E0AA19-E18B-9A3E-6832-2ACC121F52CE}"/>
              </a:ext>
            </a:extLst>
          </p:cNvPr>
          <p:cNvSpPr/>
          <p:nvPr/>
        </p:nvSpPr>
        <p:spPr>
          <a:xfrm rot="1680655">
            <a:off x="1660799" y="2301662"/>
            <a:ext cx="1054293" cy="234192"/>
          </a:xfrm>
          <a:prstGeom prst="rect">
            <a:avLst/>
          </a:prstGeom>
          <a:gradFill flip="none" rotWithShape="1">
            <a:gsLst>
              <a:gs pos="0">
                <a:schemeClr val="bg1"/>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TextBox 61">
            <a:extLst>
              <a:ext uri="{FF2B5EF4-FFF2-40B4-BE49-F238E27FC236}">
                <a16:creationId xmlns:a16="http://schemas.microsoft.com/office/drawing/2014/main" id="{58361236-5CCF-50F3-E1A3-6DBA4DD4F80C}"/>
              </a:ext>
            </a:extLst>
          </p:cNvPr>
          <p:cNvSpPr txBox="1">
            <a:spLocks noChangeArrowheads="1"/>
          </p:cNvSpPr>
          <p:nvPr/>
        </p:nvSpPr>
        <p:spPr bwMode="auto">
          <a:xfrm>
            <a:off x="499007" y="4902543"/>
            <a:ext cx="127112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rPr>
              <a:t>PSC T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Competence Center </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TruBend</a:t>
            </a:r>
            <a:endPar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endParaRPr>
          </a:p>
        </p:txBody>
      </p:sp>
      <p:sp>
        <p:nvSpPr>
          <p:cNvPr id="10" name="Rechteck 9">
            <a:extLst>
              <a:ext uri="{FF2B5EF4-FFF2-40B4-BE49-F238E27FC236}">
                <a16:creationId xmlns:a16="http://schemas.microsoft.com/office/drawing/2014/main" id="{726A9D21-96EC-43E3-0E19-6ADF1A512A08}"/>
              </a:ext>
            </a:extLst>
          </p:cNvPr>
          <p:cNvSpPr/>
          <p:nvPr/>
        </p:nvSpPr>
        <p:spPr>
          <a:xfrm rot="20017314">
            <a:off x="1744213" y="3790188"/>
            <a:ext cx="857603" cy="234192"/>
          </a:xfrm>
          <a:prstGeom prst="rect">
            <a:avLst/>
          </a:prstGeom>
          <a:gradFill flip="none" rotWithShape="1">
            <a:gsLst>
              <a:gs pos="0">
                <a:schemeClr val="bg1"/>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5" name="Bildplatzhalter 7">
            <a:extLst>
              <a:ext uri="{FF2B5EF4-FFF2-40B4-BE49-F238E27FC236}">
                <a16:creationId xmlns:a16="http://schemas.microsoft.com/office/drawing/2014/main" id="{18B35088-027D-3025-8583-8B14F16846D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35500" t="2563" r="37675"/>
          <a:stretch/>
        </p:blipFill>
        <p:spPr>
          <a:xfrm>
            <a:off x="634118" y="3817183"/>
            <a:ext cx="1045061" cy="1044000"/>
          </a:xfrm>
          <a:prstGeom prst="flowChartConnector">
            <a:avLst/>
          </a:prstGeom>
          <a:ln>
            <a:solidFill>
              <a:schemeClr val="bg1"/>
            </a:solidFill>
          </a:ln>
        </p:spPr>
      </p:pic>
      <p:pic>
        <p:nvPicPr>
          <p:cNvPr id="16" name="Grafik 15">
            <a:extLst>
              <a:ext uri="{FF2B5EF4-FFF2-40B4-BE49-F238E27FC236}">
                <a16:creationId xmlns:a16="http://schemas.microsoft.com/office/drawing/2014/main" id="{D5FA428B-DFE0-2791-6483-949165942AD8}"/>
              </a:ext>
            </a:extLst>
          </p:cNvPr>
          <p:cNvPicPr>
            <a:picLocks noChangeAspect="1"/>
          </p:cNvPicPr>
          <p:nvPr/>
        </p:nvPicPr>
        <p:blipFill rotWithShape="1">
          <a:blip r:embed="rId5"/>
          <a:srcRect l="34867" t="19370" r="36122" b="19137"/>
          <a:stretch/>
        </p:blipFill>
        <p:spPr>
          <a:xfrm>
            <a:off x="2372408" y="5291136"/>
            <a:ext cx="1078441" cy="1080000"/>
          </a:xfrm>
          <a:prstGeom prst="flowChartConnector">
            <a:avLst/>
          </a:prstGeom>
          <a:ln>
            <a:solidFill>
              <a:schemeClr val="bg1"/>
            </a:solidFill>
          </a:ln>
        </p:spPr>
      </p:pic>
      <p:sp>
        <p:nvSpPr>
          <p:cNvPr id="17" name="Oval 12">
            <a:extLst>
              <a:ext uri="{FF2B5EF4-FFF2-40B4-BE49-F238E27FC236}">
                <a16:creationId xmlns:a16="http://schemas.microsoft.com/office/drawing/2014/main" id="{D1FA0AF4-5EF8-DEA7-9CDA-0E4D648E127D}"/>
              </a:ext>
            </a:extLst>
          </p:cNvPr>
          <p:cNvSpPr/>
          <p:nvPr/>
        </p:nvSpPr>
        <p:spPr>
          <a:xfrm>
            <a:off x="488585" y="3674625"/>
            <a:ext cx="1336126" cy="1329116"/>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57263" rtl="0" eaLnBrk="0" fontAlgn="base" latinLnBrk="0" hangingPunct="0">
              <a:lnSpc>
                <a:spcPct val="100000"/>
              </a:lnSpc>
              <a:spcBef>
                <a:spcPct val="0"/>
              </a:spcBef>
              <a:spcAft>
                <a:spcPct val="0"/>
              </a:spcAft>
              <a:buClrTx/>
              <a:buSzTx/>
              <a:buFontTx/>
              <a:buNone/>
              <a:tabLst/>
              <a:defRPr/>
            </a:pPr>
            <a:endParaRPr kumimoji="0" lang="de-DE" altLang="en-US" sz="14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sp>
        <p:nvSpPr>
          <p:cNvPr id="18" name="Rechteck 17">
            <a:extLst>
              <a:ext uri="{FF2B5EF4-FFF2-40B4-BE49-F238E27FC236}">
                <a16:creationId xmlns:a16="http://schemas.microsoft.com/office/drawing/2014/main" id="{60632322-C839-B849-D918-BDE4604F3B71}"/>
              </a:ext>
            </a:extLst>
          </p:cNvPr>
          <p:cNvSpPr/>
          <p:nvPr/>
        </p:nvSpPr>
        <p:spPr>
          <a:xfrm rot="17380554">
            <a:off x="2883649" y="4763047"/>
            <a:ext cx="653628" cy="234192"/>
          </a:xfrm>
          <a:prstGeom prst="rect">
            <a:avLst/>
          </a:prstGeom>
          <a:gradFill flip="none" rotWithShape="1">
            <a:gsLst>
              <a:gs pos="0">
                <a:schemeClr val="bg1"/>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TextBox 61">
            <a:extLst>
              <a:ext uri="{FF2B5EF4-FFF2-40B4-BE49-F238E27FC236}">
                <a16:creationId xmlns:a16="http://schemas.microsoft.com/office/drawing/2014/main" id="{0CC20C70-2F51-952F-A78B-F9B8662BD181}"/>
              </a:ext>
            </a:extLst>
          </p:cNvPr>
          <p:cNvSpPr txBox="1">
            <a:spLocks noChangeArrowheads="1"/>
          </p:cNvSpPr>
          <p:nvPr/>
        </p:nvSpPr>
        <p:spPr bwMode="auto">
          <a:xfrm>
            <a:off x="3665000" y="5316831"/>
            <a:ext cx="127112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rPr>
              <a:t>PSC TU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Competence Center </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TruLaser</a:t>
            </a:r>
            <a:endPar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endParaRPr>
          </a:p>
        </p:txBody>
      </p:sp>
      <p:pic>
        <p:nvPicPr>
          <p:cNvPr id="20" name="Picture 2">
            <a:extLst>
              <a:ext uri="{FF2B5EF4-FFF2-40B4-BE49-F238E27FC236}">
                <a16:creationId xmlns:a16="http://schemas.microsoft.com/office/drawing/2014/main" id="{A6DBC0E2-458B-ABA5-1F09-FE53B04EFEFA}"/>
              </a:ext>
            </a:extLst>
          </p:cNvPr>
          <p:cNvPicPr>
            <a:picLocks noChangeAspect="1" noChangeArrowheads="1"/>
          </p:cNvPicPr>
          <p:nvPr/>
        </p:nvPicPr>
        <p:blipFill>
          <a:blip r:embed="rId6" cstate="print"/>
          <a:srcRect/>
          <a:stretch>
            <a:fillRect/>
          </a:stretch>
        </p:blipFill>
        <p:spPr bwMode="auto">
          <a:xfrm>
            <a:off x="2705357" y="2793724"/>
            <a:ext cx="1246625" cy="939424"/>
          </a:xfrm>
          <a:prstGeom prst="rect">
            <a:avLst/>
          </a:prstGeom>
          <a:noFill/>
          <a:ln w="9525">
            <a:noFill/>
            <a:miter lim="800000"/>
            <a:headEnd/>
            <a:tailEnd/>
          </a:ln>
        </p:spPr>
      </p:pic>
      <p:pic>
        <p:nvPicPr>
          <p:cNvPr id="21" name="Grafik 20">
            <a:extLst>
              <a:ext uri="{FF2B5EF4-FFF2-40B4-BE49-F238E27FC236}">
                <a16:creationId xmlns:a16="http://schemas.microsoft.com/office/drawing/2014/main" id="{83D9D6DB-307B-E724-F102-D896BDE3D22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7476" y="2999649"/>
            <a:ext cx="1350139" cy="930218"/>
          </a:xfrm>
          <a:prstGeom prst="rect">
            <a:avLst/>
          </a:prstGeom>
        </p:spPr>
      </p:pic>
      <p:sp>
        <p:nvSpPr>
          <p:cNvPr id="22" name="Textfeld 17">
            <a:extLst>
              <a:ext uri="{FF2B5EF4-FFF2-40B4-BE49-F238E27FC236}">
                <a16:creationId xmlns:a16="http://schemas.microsoft.com/office/drawing/2014/main" id="{6BABB2E3-F896-0AA8-ECA1-F06213C6B13C}"/>
              </a:ext>
            </a:extLst>
          </p:cNvPr>
          <p:cNvSpPr txBox="1">
            <a:spLocks noChangeArrowheads="1"/>
          </p:cNvSpPr>
          <p:nvPr/>
        </p:nvSpPr>
        <p:spPr bwMode="auto">
          <a:xfrm>
            <a:off x="2840526" y="3939073"/>
            <a:ext cx="192621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900">
                <a:solidFill>
                  <a:schemeClr val="tx1"/>
                </a:solidFill>
                <a:latin typeface="Arial" panose="020B0604020202020204" pitchFamily="34" charset="0"/>
              </a:defRPr>
            </a:lvl1pPr>
            <a:lvl2pPr marL="742950" indent="-285750">
              <a:defRPr sz="1900">
                <a:solidFill>
                  <a:schemeClr val="tx1"/>
                </a:solidFill>
                <a:latin typeface="Arial" panose="020B0604020202020204" pitchFamily="34" charset="0"/>
              </a:defRPr>
            </a:lvl2pPr>
            <a:lvl3pPr marL="1143000" indent="-228600">
              <a:defRPr sz="1900">
                <a:solidFill>
                  <a:schemeClr val="tx1"/>
                </a:solidFill>
                <a:latin typeface="Arial" panose="020B0604020202020204" pitchFamily="34" charset="0"/>
              </a:defRPr>
            </a:lvl3pPr>
            <a:lvl4pPr marL="1600200" indent="-228600">
              <a:defRPr sz="1900">
                <a:solidFill>
                  <a:schemeClr val="tx1"/>
                </a:solidFill>
                <a:latin typeface="Arial" panose="020B0604020202020204" pitchFamily="34" charset="0"/>
              </a:defRPr>
            </a:lvl4pPr>
            <a:lvl5pPr marL="2057400" indent="-228600">
              <a:defRPr sz="1900">
                <a:solidFill>
                  <a:schemeClr val="tx1"/>
                </a:solidFill>
                <a:latin typeface="Arial" panose="020B0604020202020204" pitchFamily="34" charset="0"/>
              </a:defRPr>
            </a:lvl5pPr>
            <a:lvl6pPr marL="2514600" indent="-228600" defTabSz="957263" eaLnBrk="0" fontAlgn="base" hangingPunct="0">
              <a:spcBef>
                <a:spcPct val="0"/>
              </a:spcBef>
              <a:spcAft>
                <a:spcPct val="0"/>
              </a:spcAft>
              <a:defRPr sz="1900">
                <a:solidFill>
                  <a:schemeClr val="tx1"/>
                </a:solidFill>
                <a:latin typeface="Arial" panose="020B0604020202020204" pitchFamily="34" charset="0"/>
              </a:defRPr>
            </a:lvl6pPr>
            <a:lvl7pPr marL="2971800" indent="-228600" defTabSz="957263" eaLnBrk="0" fontAlgn="base" hangingPunct="0">
              <a:spcBef>
                <a:spcPct val="0"/>
              </a:spcBef>
              <a:spcAft>
                <a:spcPct val="0"/>
              </a:spcAft>
              <a:defRPr sz="1900">
                <a:solidFill>
                  <a:schemeClr val="tx1"/>
                </a:solidFill>
                <a:latin typeface="Arial" panose="020B0604020202020204" pitchFamily="34" charset="0"/>
              </a:defRPr>
            </a:lvl7pPr>
            <a:lvl8pPr marL="3429000" indent="-228600" defTabSz="957263" eaLnBrk="0" fontAlgn="base" hangingPunct="0">
              <a:spcBef>
                <a:spcPct val="0"/>
              </a:spcBef>
              <a:spcAft>
                <a:spcPct val="0"/>
              </a:spcAft>
              <a:defRPr sz="1900">
                <a:solidFill>
                  <a:schemeClr val="tx1"/>
                </a:solidFill>
                <a:latin typeface="Arial" panose="020B0604020202020204" pitchFamily="34" charset="0"/>
              </a:defRPr>
            </a:lvl8pPr>
            <a:lvl9pPr marL="3886200" indent="-228600" defTabSz="957263" eaLnBrk="0" fontAlgn="base" hangingPunct="0">
              <a:spcBef>
                <a:spcPct val="0"/>
              </a:spcBef>
              <a:spcAft>
                <a:spcPct val="0"/>
              </a:spcAft>
              <a:defRPr sz="1900">
                <a:solidFill>
                  <a:schemeClr val="tx1"/>
                </a:solidFill>
                <a:latin typeface="Arial" panose="020B0604020202020204" pitchFamily="34" charset="0"/>
              </a:defRPr>
            </a:lvl9pPr>
          </a:lstStyle>
          <a:p>
            <a:pPr marL="0" marR="0" lvl="0" indent="0" algn="ctr" defTabSz="957263" rtl="0" eaLnBrk="1" fontAlgn="base" latinLnBrk="0" hangingPunct="1">
              <a:lnSpc>
                <a:spcPct val="100000"/>
              </a:lnSpc>
              <a:spcBef>
                <a:spcPct val="0"/>
              </a:spcBef>
              <a:spcAft>
                <a:spcPct val="0"/>
              </a:spcAft>
              <a:buClrTx/>
              <a:buSzTx/>
              <a:buFontTx/>
              <a:buNone/>
              <a:tabLst/>
              <a:defRPr/>
            </a:pPr>
            <a:r>
              <a:rPr kumimoji="0" lang="de-DE" alt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gelverarbeitung und aktives Maschinenmonitoring. </a:t>
            </a:r>
          </a:p>
        </p:txBody>
      </p:sp>
      <p:sp>
        <p:nvSpPr>
          <p:cNvPr id="23" name="Oval 19">
            <a:extLst>
              <a:ext uri="{FF2B5EF4-FFF2-40B4-BE49-F238E27FC236}">
                <a16:creationId xmlns:a16="http://schemas.microsoft.com/office/drawing/2014/main" id="{C9C016DB-0866-7A36-5077-095756F1186C}"/>
              </a:ext>
            </a:extLst>
          </p:cNvPr>
          <p:cNvSpPr/>
          <p:nvPr/>
        </p:nvSpPr>
        <p:spPr>
          <a:xfrm>
            <a:off x="7924014" y="1777080"/>
            <a:ext cx="1226520" cy="1226520"/>
          </a:xfrm>
          <a:prstGeom prst="ellipse">
            <a:avLst/>
          </a:prstGeom>
          <a:solidFill>
            <a:schemeClr val="bg1"/>
          </a:solidFill>
          <a:ln w="508000" cap="flat" cmpd="sng" algn="ctr">
            <a:solidFill>
              <a:schemeClr val="l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rPr>
              <a:t>TWDE NSC</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de-DE" sz="800" b="1" i="0" u="none" strike="noStrike" kern="1200" cap="none" spc="0" normalizeH="0" baseline="0" noProof="0" dirty="0">
              <a:ln>
                <a:noFill/>
              </a:ln>
              <a:solidFill>
                <a:srgbClr val="285172"/>
              </a:solidFill>
              <a:effectLst/>
              <a:uLnTx/>
              <a:uFillTx/>
              <a:latin typeface="Arial" panose="020B0604020202020204"/>
              <a:ea typeface="+mn-ea"/>
              <a:cs typeface="Times New Roman"/>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85172"/>
                </a:solidFill>
                <a:effectLst/>
                <a:uLnTx/>
                <a:uFillTx/>
                <a:latin typeface="Arial" panose="020B0604020202020204"/>
                <a:ea typeface="+mn-ea"/>
                <a:cs typeface="Times New Roman"/>
              </a:rPr>
              <a:t>Kontaktiert Kunden mit Lösungen.</a:t>
            </a:r>
            <a:endParaRPr kumimoji="0" lang="de-DE" sz="1000" b="1" i="0" u="none" strike="noStrike" kern="1200" cap="none" spc="0" normalizeH="0" baseline="0" noProof="0" dirty="0">
              <a:ln>
                <a:noFill/>
              </a:ln>
              <a:solidFill>
                <a:srgbClr val="285172"/>
              </a:solidFill>
              <a:effectLst/>
              <a:uLnTx/>
              <a:uFillTx/>
              <a:latin typeface="Arial" panose="020B0604020202020204"/>
              <a:ea typeface="+mn-ea"/>
              <a:cs typeface="Times New Roman"/>
            </a:endParaRPr>
          </a:p>
        </p:txBody>
      </p:sp>
      <p:sp>
        <p:nvSpPr>
          <p:cNvPr id="24" name="Oval 19">
            <a:extLst>
              <a:ext uri="{FF2B5EF4-FFF2-40B4-BE49-F238E27FC236}">
                <a16:creationId xmlns:a16="http://schemas.microsoft.com/office/drawing/2014/main" id="{75812949-6CBF-8F95-B6CC-D99F57CC7143}"/>
              </a:ext>
            </a:extLst>
          </p:cNvPr>
          <p:cNvSpPr/>
          <p:nvPr/>
        </p:nvSpPr>
        <p:spPr>
          <a:xfrm>
            <a:off x="7923474" y="3907284"/>
            <a:ext cx="1227600" cy="1227600"/>
          </a:xfrm>
          <a:prstGeom prst="ellipse">
            <a:avLst/>
          </a:prstGeom>
          <a:solidFill>
            <a:schemeClr val="bg1"/>
          </a:solidFill>
          <a:ln w="508000" cap="flat" cmpd="sng" algn="ctr">
            <a:solidFill>
              <a:schemeClr val="l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rPr>
              <a:t>TUS NSC</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de-DE" sz="800" b="0" i="0" u="none" strike="noStrike" kern="1200" cap="none" spc="0" normalizeH="0" baseline="0" noProof="0" dirty="0">
              <a:ln>
                <a:noFill/>
              </a:ln>
              <a:solidFill>
                <a:srgbClr val="285172"/>
              </a:solidFill>
              <a:effectLst/>
              <a:uLnTx/>
              <a:uFillTx/>
              <a:latin typeface="Arial" panose="020B0604020202020204"/>
              <a:ea typeface="+mn-ea"/>
              <a:cs typeface="Times New Roman"/>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285172"/>
                </a:solidFill>
                <a:effectLst/>
                <a:uLnTx/>
                <a:uFillTx/>
                <a:latin typeface="Arial" panose="020B0604020202020204"/>
                <a:ea typeface="+mn-ea"/>
                <a:cs typeface="Times New Roman"/>
              </a:rPr>
              <a:t>Kontaktiert Kunden mit Lösungen. </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endParaRPr>
          </a:p>
        </p:txBody>
      </p:sp>
      <p:sp>
        <p:nvSpPr>
          <p:cNvPr id="25" name="Textfeld 24">
            <a:extLst>
              <a:ext uri="{FF2B5EF4-FFF2-40B4-BE49-F238E27FC236}">
                <a16:creationId xmlns:a16="http://schemas.microsoft.com/office/drawing/2014/main" id="{ABC96863-DD3E-7248-81B7-538A1FE1590D}"/>
              </a:ext>
            </a:extLst>
          </p:cNvPr>
          <p:cNvSpPr txBox="1"/>
          <p:nvPr/>
        </p:nvSpPr>
        <p:spPr>
          <a:xfrm>
            <a:off x="2631796" y="1237217"/>
            <a:ext cx="2248737"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TRUMPF Serviceexperten zu jeder Technologie im eigenen </a:t>
            </a:r>
            <a:r>
              <a:rPr kumimoji="0" lang="de-DE" sz="1200" b="1" i="0" u="none" strike="noStrike" kern="1200" cap="none" spc="0" normalizeH="0" baseline="0" noProof="0" dirty="0" err="1">
                <a:ln>
                  <a:noFill/>
                </a:ln>
                <a:solidFill>
                  <a:srgbClr val="285172"/>
                </a:solidFill>
                <a:effectLst/>
                <a:uLnTx/>
                <a:uFillTx/>
                <a:latin typeface="Arial" panose="020B0604020202020204"/>
                <a:ea typeface="+mn-ea"/>
                <a:cs typeface="Times New Roman"/>
              </a:rPr>
              <a:t>Predictive</a:t>
            </a:r>
            <a:r>
              <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rPr>
              <a:t> Service Center </a:t>
            </a:r>
          </a:p>
        </p:txBody>
      </p:sp>
      <p:sp>
        <p:nvSpPr>
          <p:cNvPr id="26" name="Pfeil: Fünfeck 25">
            <a:extLst>
              <a:ext uri="{FF2B5EF4-FFF2-40B4-BE49-F238E27FC236}">
                <a16:creationId xmlns:a16="http://schemas.microsoft.com/office/drawing/2014/main" id="{4B57B38F-F8D7-547B-1412-647A73485B03}"/>
              </a:ext>
            </a:extLst>
          </p:cNvPr>
          <p:cNvSpPr/>
          <p:nvPr/>
        </p:nvSpPr>
        <p:spPr>
          <a:xfrm>
            <a:off x="5046853" y="3174145"/>
            <a:ext cx="2197737" cy="334951"/>
          </a:xfrm>
          <a:prstGeom prst="homePlate">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27" name="Pfeil: Fünfeck 26">
            <a:extLst>
              <a:ext uri="{FF2B5EF4-FFF2-40B4-BE49-F238E27FC236}">
                <a16:creationId xmlns:a16="http://schemas.microsoft.com/office/drawing/2014/main" id="{E8C757D2-4358-9B40-E826-3D87229D1B28}"/>
              </a:ext>
            </a:extLst>
          </p:cNvPr>
          <p:cNvSpPr/>
          <p:nvPr/>
        </p:nvSpPr>
        <p:spPr>
          <a:xfrm>
            <a:off x="6920343" y="2234842"/>
            <a:ext cx="999831" cy="334951"/>
          </a:xfrm>
          <a:prstGeom prst="homePlate">
            <a:avLst>
              <a:gd name="adj" fmla="val 50000"/>
            </a:avLst>
          </a:prstGeom>
          <a:gradFill>
            <a:gsLst>
              <a:gs pos="89759">
                <a:schemeClr val="bg1"/>
              </a:gs>
              <a:gs pos="41000">
                <a:schemeClr val="accent5"/>
              </a:gs>
            </a:gsLst>
            <a:lin ang="0" scaled="1"/>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28" name="Rechteck: abgerundete Ecken 27">
            <a:extLst>
              <a:ext uri="{FF2B5EF4-FFF2-40B4-BE49-F238E27FC236}">
                <a16:creationId xmlns:a16="http://schemas.microsoft.com/office/drawing/2014/main" id="{F087FAAF-19B1-FB30-4746-7BB01B9D96E3}"/>
              </a:ext>
            </a:extLst>
          </p:cNvPr>
          <p:cNvSpPr/>
          <p:nvPr/>
        </p:nvSpPr>
        <p:spPr>
          <a:xfrm>
            <a:off x="6909206" y="2250592"/>
            <a:ext cx="335384" cy="2206295"/>
          </a:xfrm>
          <a:prstGeom prst="roundRect">
            <a:avLst/>
          </a:prstGeom>
          <a:solidFill>
            <a:schemeClr val="accent5"/>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grpSp>
        <p:nvGrpSpPr>
          <p:cNvPr id="29" name="Gruppieren 28">
            <a:extLst>
              <a:ext uri="{FF2B5EF4-FFF2-40B4-BE49-F238E27FC236}">
                <a16:creationId xmlns:a16="http://schemas.microsoft.com/office/drawing/2014/main" id="{25CCF6CF-35C3-4EDD-D95F-89FE0EB43ACD}"/>
              </a:ext>
            </a:extLst>
          </p:cNvPr>
          <p:cNvGrpSpPr/>
          <p:nvPr/>
        </p:nvGrpSpPr>
        <p:grpSpPr>
          <a:xfrm>
            <a:off x="4924379" y="2976641"/>
            <a:ext cx="1575030" cy="949485"/>
            <a:chOff x="5229904" y="3101741"/>
            <a:chExt cx="1575030" cy="949485"/>
          </a:xfrm>
        </p:grpSpPr>
        <p:sp>
          <p:nvSpPr>
            <p:cNvPr id="30" name="Flussdiagramm: Verbinder 29">
              <a:extLst>
                <a:ext uri="{FF2B5EF4-FFF2-40B4-BE49-F238E27FC236}">
                  <a16:creationId xmlns:a16="http://schemas.microsoft.com/office/drawing/2014/main" id="{DCCA5C85-FC8E-221B-91E9-D7F627E6052A}"/>
                </a:ext>
              </a:extLst>
            </p:cNvPr>
            <p:cNvSpPr/>
            <p:nvPr/>
          </p:nvSpPr>
          <p:spPr>
            <a:xfrm>
              <a:off x="5653011" y="3101741"/>
              <a:ext cx="692458" cy="701336"/>
            </a:xfrm>
            <a:prstGeom prst="flowChartConnector">
              <a:avLst/>
            </a:prstGeom>
            <a:solidFill>
              <a:schemeClr val="lt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1" name="Grafik 30" descr="Recherche Silhouette">
              <a:extLst>
                <a:ext uri="{FF2B5EF4-FFF2-40B4-BE49-F238E27FC236}">
                  <a16:creationId xmlns:a16="http://schemas.microsoft.com/office/drawing/2014/main" id="{275A0022-D71C-BD35-867F-C4860DB16B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8819" y="3223809"/>
              <a:ext cx="457200" cy="457200"/>
            </a:xfrm>
            <a:prstGeom prst="rect">
              <a:avLst/>
            </a:prstGeom>
          </p:spPr>
        </p:pic>
        <p:sp>
          <p:nvSpPr>
            <p:cNvPr id="32" name="Textfeld 31">
              <a:extLst>
                <a:ext uri="{FF2B5EF4-FFF2-40B4-BE49-F238E27FC236}">
                  <a16:creationId xmlns:a16="http://schemas.microsoft.com/office/drawing/2014/main" id="{39E8FBD3-AF6F-6707-0DCB-A81AE74E3A79}"/>
                </a:ext>
              </a:extLst>
            </p:cNvPr>
            <p:cNvSpPr txBox="1"/>
            <p:nvPr/>
          </p:nvSpPr>
          <p:spPr>
            <a:xfrm>
              <a:off x="5229904" y="3866560"/>
              <a:ext cx="1575030"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rgbClr val="285172"/>
                  </a:solidFill>
                  <a:effectLst/>
                  <a:uLnTx/>
                  <a:uFillTx/>
                  <a:latin typeface="Arial" panose="020B0604020202020204"/>
                  <a:ea typeface="+mn-ea"/>
                  <a:cs typeface="Times New Roman"/>
                </a:rPr>
                <a:t>Verification</a:t>
              </a:r>
              <a:r>
                <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rPr>
                <a:t> </a:t>
              </a:r>
            </a:p>
          </p:txBody>
        </p:sp>
      </p:grpSp>
      <p:grpSp>
        <p:nvGrpSpPr>
          <p:cNvPr id="33" name="Gruppieren 32">
            <a:extLst>
              <a:ext uri="{FF2B5EF4-FFF2-40B4-BE49-F238E27FC236}">
                <a16:creationId xmlns:a16="http://schemas.microsoft.com/office/drawing/2014/main" id="{62A31899-D55B-1670-62C9-0F44BB069D70}"/>
              </a:ext>
            </a:extLst>
          </p:cNvPr>
          <p:cNvGrpSpPr/>
          <p:nvPr/>
        </p:nvGrpSpPr>
        <p:grpSpPr>
          <a:xfrm>
            <a:off x="6289383" y="2976641"/>
            <a:ext cx="1575030" cy="949485"/>
            <a:chOff x="5229904" y="3101741"/>
            <a:chExt cx="1575030" cy="949485"/>
          </a:xfrm>
        </p:grpSpPr>
        <p:sp>
          <p:nvSpPr>
            <p:cNvPr id="34" name="Flussdiagramm: Verbinder 33">
              <a:extLst>
                <a:ext uri="{FF2B5EF4-FFF2-40B4-BE49-F238E27FC236}">
                  <a16:creationId xmlns:a16="http://schemas.microsoft.com/office/drawing/2014/main" id="{2C8D2076-4982-7943-728D-F64D6CB8DE01}"/>
                </a:ext>
              </a:extLst>
            </p:cNvPr>
            <p:cNvSpPr/>
            <p:nvPr/>
          </p:nvSpPr>
          <p:spPr>
            <a:xfrm>
              <a:off x="5653011" y="3101741"/>
              <a:ext cx="692458" cy="701336"/>
            </a:xfrm>
            <a:prstGeom prst="flowChartConnector">
              <a:avLst/>
            </a:prstGeom>
            <a:solidFill>
              <a:schemeClr val="lt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Textfeld 34">
              <a:extLst>
                <a:ext uri="{FF2B5EF4-FFF2-40B4-BE49-F238E27FC236}">
                  <a16:creationId xmlns:a16="http://schemas.microsoft.com/office/drawing/2014/main" id="{6690A210-1D13-75D8-B4A3-2E733A7EC880}"/>
                </a:ext>
              </a:extLst>
            </p:cNvPr>
            <p:cNvSpPr txBox="1"/>
            <p:nvPr/>
          </p:nvSpPr>
          <p:spPr>
            <a:xfrm>
              <a:off x="5229904" y="3866560"/>
              <a:ext cx="1575030" cy="184666"/>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rPr>
                <a:t>Information </a:t>
              </a:r>
            </a:p>
          </p:txBody>
        </p:sp>
      </p:grpSp>
      <p:pic>
        <p:nvPicPr>
          <p:cNvPr id="36" name="Grafik 35" descr="Megafon1 Silhouette">
            <a:extLst>
              <a:ext uri="{FF2B5EF4-FFF2-40B4-BE49-F238E27FC236}">
                <a16:creationId xmlns:a16="http://schemas.microsoft.com/office/drawing/2014/main" id="{6315393C-6607-2E7E-7139-095727D94D2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75138" y="3021468"/>
            <a:ext cx="563471" cy="563471"/>
          </a:xfrm>
          <a:prstGeom prst="rect">
            <a:avLst/>
          </a:prstGeom>
        </p:spPr>
      </p:pic>
      <p:sp>
        <p:nvSpPr>
          <p:cNvPr id="54" name="Pfeil: Fünfeck 53">
            <a:extLst>
              <a:ext uri="{FF2B5EF4-FFF2-40B4-BE49-F238E27FC236}">
                <a16:creationId xmlns:a16="http://schemas.microsoft.com/office/drawing/2014/main" id="{88556279-C03F-01C9-5280-C9F5D6F01F9B}"/>
              </a:ext>
            </a:extLst>
          </p:cNvPr>
          <p:cNvSpPr/>
          <p:nvPr/>
        </p:nvSpPr>
        <p:spPr>
          <a:xfrm rot="19637925">
            <a:off x="8926489" y="1700379"/>
            <a:ext cx="859183" cy="209155"/>
          </a:xfrm>
          <a:prstGeom prst="homePlate">
            <a:avLst>
              <a:gd name="adj" fmla="val 50000"/>
            </a:avLst>
          </a:prstGeom>
          <a:gradFill flip="none" rotWithShape="1">
            <a:gsLst>
              <a:gs pos="0">
                <a:schemeClr val="bg1"/>
              </a:gs>
              <a:gs pos="84000">
                <a:schemeClr val="accent3"/>
              </a:gs>
            </a:gsLst>
            <a:lin ang="0" scaled="1"/>
            <a:tileRect/>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grpSp>
        <p:nvGrpSpPr>
          <p:cNvPr id="56" name="Gruppieren 55">
            <a:extLst>
              <a:ext uri="{FF2B5EF4-FFF2-40B4-BE49-F238E27FC236}">
                <a16:creationId xmlns:a16="http://schemas.microsoft.com/office/drawing/2014/main" id="{21EC8E64-4D8F-CB77-B6CF-78606812948E}"/>
              </a:ext>
            </a:extLst>
          </p:cNvPr>
          <p:cNvGrpSpPr/>
          <p:nvPr/>
        </p:nvGrpSpPr>
        <p:grpSpPr>
          <a:xfrm>
            <a:off x="10541217" y="1830056"/>
            <a:ext cx="1016621" cy="1016621"/>
            <a:chOff x="9539373" y="927686"/>
            <a:chExt cx="968990" cy="968990"/>
          </a:xfrm>
        </p:grpSpPr>
        <p:sp>
          <p:nvSpPr>
            <p:cNvPr id="57" name="Ellipse 56">
              <a:extLst>
                <a:ext uri="{FF2B5EF4-FFF2-40B4-BE49-F238E27FC236}">
                  <a16:creationId xmlns:a16="http://schemas.microsoft.com/office/drawing/2014/main" id="{8EDD8677-B412-EAFC-C603-2FD472C0AF41}"/>
                </a:ext>
              </a:extLst>
            </p:cNvPr>
            <p:cNvSpPr/>
            <p:nvPr/>
          </p:nvSpPr>
          <p:spPr>
            <a:xfrm>
              <a:off x="9539373" y="927686"/>
              <a:ext cx="968990" cy="968990"/>
            </a:xfrm>
            <a:prstGeom prst="ellipse">
              <a:avLst/>
            </a:prstGeom>
            <a:solidFill>
              <a:srgbClr val="285172">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8" name="Ellipse 57">
              <a:extLst>
                <a:ext uri="{FF2B5EF4-FFF2-40B4-BE49-F238E27FC236}">
                  <a16:creationId xmlns:a16="http://schemas.microsoft.com/office/drawing/2014/main" id="{F29A1873-0474-A39F-B645-ABD48001E3E0}"/>
                </a:ext>
              </a:extLst>
            </p:cNvPr>
            <p:cNvSpPr/>
            <p:nvPr/>
          </p:nvSpPr>
          <p:spPr>
            <a:xfrm>
              <a:off x="9719317" y="1107630"/>
              <a:ext cx="609103" cy="6091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srgbClr val="FFFFFF"/>
                  </a:solidFill>
                  <a:effectLst/>
                  <a:uLnTx/>
                  <a:uFillTx/>
                  <a:latin typeface="Arial" panose="020B0604020202020204"/>
                  <a:ea typeface="+mn-ea"/>
                  <a:cs typeface="+mn-cs"/>
                </a:rPr>
                <a:t>Kunde</a:t>
              </a:r>
            </a:p>
          </p:txBody>
        </p:sp>
      </p:grpSp>
      <p:sp>
        <p:nvSpPr>
          <p:cNvPr id="59" name="Pfeil: Fünfeck 58">
            <a:extLst>
              <a:ext uri="{FF2B5EF4-FFF2-40B4-BE49-F238E27FC236}">
                <a16:creationId xmlns:a16="http://schemas.microsoft.com/office/drawing/2014/main" id="{F75CFAC6-F672-2242-1EDA-FB86D799D9FB}"/>
              </a:ext>
            </a:extLst>
          </p:cNvPr>
          <p:cNvSpPr/>
          <p:nvPr/>
        </p:nvSpPr>
        <p:spPr>
          <a:xfrm>
            <a:off x="9132585" y="2250592"/>
            <a:ext cx="1608407" cy="209155"/>
          </a:xfrm>
          <a:prstGeom prst="homePlate">
            <a:avLst>
              <a:gd name="adj" fmla="val 50000"/>
            </a:avLst>
          </a:prstGeom>
          <a:gradFill flip="none" rotWithShape="1">
            <a:gsLst>
              <a:gs pos="0">
                <a:schemeClr val="bg1"/>
              </a:gs>
              <a:gs pos="84000">
                <a:schemeClr val="accent3"/>
              </a:gs>
            </a:gsLst>
            <a:lin ang="0" scaled="1"/>
            <a:tileRect/>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grpSp>
        <p:nvGrpSpPr>
          <p:cNvPr id="60" name="Gruppieren 59">
            <a:extLst>
              <a:ext uri="{FF2B5EF4-FFF2-40B4-BE49-F238E27FC236}">
                <a16:creationId xmlns:a16="http://schemas.microsoft.com/office/drawing/2014/main" id="{14A6B040-D81D-15D5-FE62-25E333F2295D}"/>
              </a:ext>
            </a:extLst>
          </p:cNvPr>
          <p:cNvGrpSpPr/>
          <p:nvPr/>
        </p:nvGrpSpPr>
        <p:grpSpPr>
          <a:xfrm>
            <a:off x="9956761" y="2681188"/>
            <a:ext cx="1016621" cy="1016621"/>
            <a:chOff x="9539373" y="927686"/>
            <a:chExt cx="968990" cy="968990"/>
          </a:xfrm>
        </p:grpSpPr>
        <p:sp>
          <p:nvSpPr>
            <p:cNvPr id="61" name="Ellipse 60">
              <a:extLst>
                <a:ext uri="{FF2B5EF4-FFF2-40B4-BE49-F238E27FC236}">
                  <a16:creationId xmlns:a16="http://schemas.microsoft.com/office/drawing/2014/main" id="{35299942-CB5E-33B6-97FE-381EC357ECE1}"/>
                </a:ext>
              </a:extLst>
            </p:cNvPr>
            <p:cNvSpPr/>
            <p:nvPr/>
          </p:nvSpPr>
          <p:spPr>
            <a:xfrm>
              <a:off x="9539373" y="927686"/>
              <a:ext cx="968990" cy="968990"/>
            </a:xfrm>
            <a:prstGeom prst="ellipse">
              <a:avLst/>
            </a:prstGeom>
            <a:solidFill>
              <a:srgbClr val="285172">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2" name="Ellipse 61">
              <a:extLst>
                <a:ext uri="{FF2B5EF4-FFF2-40B4-BE49-F238E27FC236}">
                  <a16:creationId xmlns:a16="http://schemas.microsoft.com/office/drawing/2014/main" id="{86ABF605-978D-FB63-FCC5-41ACD6714E6B}"/>
                </a:ext>
              </a:extLst>
            </p:cNvPr>
            <p:cNvSpPr/>
            <p:nvPr/>
          </p:nvSpPr>
          <p:spPr>
            <a:xfrm>
              <a:off x="9719317" y="1107630"/>
              <a:ext cx="609103" cy="6091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srgbClr val="FFFFFF"/>
                  </a:solidFill>
                  <a:effectLst/>
                  <a:uLnTx/>
                  <a:uFillTx/>
                  <a:latin typeface="Arial" panose="020B0604020202020204"/>
                  <a:ea typeface="+mn-ea"/>
                  <a:cs typeface="+mn-cs"/>
                </a:rPr>
                <a:t>Kunde</a:t>
              </a:r>
            </a:p>
          </p:txBody>
        </p:sp>
      </p:grpSp>
      <p:sp>
        <p:nvSpPr>
          <p:cNvPr id="63" name="Pfeil: Fünfeck 62">
            <a:extLst>
              <a:ext uri="{FF2B5EF4-FFF2-40B4-BE49-F238E27FC236}">
                <a16:creationId xmlns:a16="http://schemas.microsoft.com/office/drawing/2014/main" id="{E5256C40-8ED4-457A-D7EF-7C6B7FABD368}"/>
              </a:ext>
            </a:extLst>
          </p:cNvPr>
          <p:cNvSpPr/>
          <p:nvPr/>
        </p:nvSpPr>
        <p:spPr>
          <a:xfrm rot="1174746">
            <a:off x="8993858" y="2753639"/>
            <a:ext cx="1213793" cy="209155"/>
          </a:xfrm>
          <a:prstGeom prst="homePlate">
            <a:avLst>
              <a:gd name="adj" fmla="val 50000"/>
            </a:avLst>
          </a:prstGeom>
          <a:gradFill flip="none" rotWithShape="1">
            <a:gsLst>
              <a:gs pos="0">
                <a:schemeClr val="bg1"/>
              </a:gs>
              <a:gs pos="84000">
                <a:schemeClr val="accent3"/>
              </a:gs>
            </a:gsLst>
            <a:lin ang="0" scaled="1"/>
            <a:tileRect/>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grpSp>
        <p:nvGrpSpPr>
          <p:cNvPr id="64" name="Gruppieren 63">
            <a:extLst>
              <a:ext uri="{FF2B5EF4-FFF2-40B4-BE49-F238E27FC236}">
                <a16:creationId xmlns:a16="http://schemas.microsoft.com/office/drawing/2014/main" id="{19E3B44E-B3B3-AB6F-CEC0-08F36038AEA0}"/>
              </a:ext>
            </a:extLst>
          </p:cNvPr>
          <p:cNvGrpSpPr/>
          <p:nvPr/>
        </p:nvGrpSpPr>
        <p:grpSpPr>
          <a:xfrm>
            <a:off x="8879721" y="5411482"/>
            <a:ext cx="1016621" cy="1016621"/>
            <a:chOff x="9539373" y="927686"/>
            <a:chExt cx="968990" cy="968990"/>
          </a:xfrm>
        </p:grpSpPr>
        <p:sp>
          <p:nvSpPr>
            <p:cNvPr id="65" name="Ellipse 64">
              <a:extLst>
                <a:ext uri="{FF2B5EF4-FFF2-40B4-BE49-F238E27FC236}">
                  <a16:creationId xmlns:a16="http://schemas.microsoft.com/office/drawing/2014/main" id="{CD397425-D151-B46B-9531-79BB89D90460}"/>
                </a:ext>
              </a:extLst>
            </p:cNvPr>
            <p:cNvSpPr/>
            <p:nvPr/>
          </p:nvSpPr>
          <p:spPr>
            <a:xfrm>
              <a:off x="9539373" y="927686"/>
              <a:ext cx="968990" cy="968990"/>
            </a:xfrm>
            <a:prstGeom prst="ellipse">
              <a:avLst/>
            </a:prstGeom>
            <a:solidFill>
              <a:srgbClr val="285172">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6" name="Ellipse 65">
              <a:extLst>
                <a:ext uri="{FF2B5EF4-FFF2-40B4-BE49-F238E27FC236}">
                  <a16:creationId xmlns:a16="http://schemas.microsoft.com/office/drawing/2014/main" id="{B405B801-617E-2941-0D32-C6936527EB6B}"/>
                </a:ext>
              </a:extLst>
            </p:cNvPr>
            <p:cNvSpPr/>
            <p:nvPr/>
          </p:nvSpPr>
          <p:spPr>
            <a:xfrm>
              <a:off x="9719317" y="1107630"/>
              <a:ext cx="609103" cy="6091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srgbClr val="FFFFFF"/>
                  </a:solidFill>
                  <a:effectLst/>
                  <a:uLnTx/>
                  <a:uFillTx/>
                  <a:latin typeface="Arial" panose="020B0604020202020204"/>
                  <a:ea typeface="+mn-ea"/>
                  <a:cs typeface="+mn-cs"/>
                </a:rPr>
                <a:t>Kunde</a:t>
              </a:r>
            </a:p>
          </p:txBody>
        </p:sp>
      </p:grpSp>
      <p:sp>
        <p:nvSpPr>
          <p:cNvPr id="67" name="Pfeil: Fünfeck 66">
            <a:extLst>
              <a:ext uri="{FF2B5EF4-FFF2-40B4-BE49-F238E27FC236}">
                <a16:creationId xmlns:a16="http://schemas.microsoft.com/office/drawing/2014/main" id="{B6C79AD0-3730-46EA-580D-3F5ED69E3A2E}"/>
              </a:ext>
            </a:extLst>
          </p:cNvPr>
          <p:cNvSpPr/>
          <p:nvPr/>
        </p:nvSpPr>
        <p:spPr>
          <a:xfrm rot="3439479">
            <a:off x="8684223" y="5227179"/>
            <a:ext cx="726926" cy="209155"/>
          </a:xfrm>
          <a:prstGeom prst="homePlate">
            <a:avLst>
              <a:gd name="adj" fmla="val 50000"/>
            </a:avLst>
          </a:prstGeom>
          <a:gradFill flip="none" rotWithShape="1">
            <a:gsLst>
              <a:gs pos="0">
                <a:schemeClr val="bg1"/>
              </a:gs>
              <a:gs pos="84000">
                <a:schemeClr val="accent3"/>
              </a:gs>
            </a:gsLst>
            <a:lin ang="0" scaled="1"/>
            <a:tileRect/>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grpSp>
        <p:nvGrpSpPr>
          <p:cNvPr id="68" name="Gruppieren 67">
            <a:extLst>
              <a:ext uri="{FF2B5EF4-FFF2-40B4-BE49-F238E27FC236}">
                <a16:creationId xmlns:a16="http://schemas.microsoft.com/office/drawing/2014/main" id="{D9348007-4DBD-0072-D520-C70DB7515DDC}"/>
              </a:ext>
            </a:extLst>
          </p:cNvPr>
          <p:cNvGrpSpPr/>
          <p:nvPr/>
        </p:nvGrpSpPr>
        <p:grpSpPr>
          <a:xfrm>
            <a:off x="10233361" y="4440487"/>
            <a:ext cx="1016621" cy="1016621"/>
            <a:chOff x="9539373" y="927686"/>
            <a:chExt cx="968990" cy="968990"/>
          </a:xfrm>
        </p:grpSpPr>
        <p:sp>
          <p:nvSpPr>
            <p:cNvPr id="69" name="Ellipse 68">
              <a:extLst>
                <a:ext uri="{FF2B5EF4-FFF2-40B4-BE49-F238E27FC236}">
                  <a16:creationId xmlns:a16="http://schemas.microsoft.com/office/drawing/2014/main" id="{38665BB8-27EF-AB09-8152-376C54D999B5}"/>
                </a:ext>
              </a:extLst>
            </p:cNvPr>
            <p:cNvSpPr/>
            <p:nvPr/>
          </p:nvSpPr>
          <p:spPr>
            <a:xfrm>
              <a:off x="9539373" y="927686"/>
              <a:ext cx="968990" cy="968990"/>
            </a:xfrm>
            <a:prstGeom prst="ellipse">
              <a:avLst/>
            </a:prstGeom>
            <a:solidFill>
              <a:srgbClr val="285172">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0" name="Ellipse 69">
              <a:extLst>
                <a:ext uri="{FF2B5EF4-FFF2-40B4-BE49-F238E27FC236}">
                  <a16:creationId xmlns:a16="http://schemas.microsoft.com/office/drawing/2014/main" id="{0CAFB4A3-8701-5EF0-63A8-ABC4074AA668}"/>
                </a:ext>
              </a:extLst>
            </p:cNvPr>
            <p:cNvSpPr/>
            <p:nvPr/>
          </p:nvSpPr>
          <p:spPr>
            <a:xfrm>
              <a:off x="9719317" y="1107630"/>
              <a:ext cx="609103" cy="6091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srgbClr val="FFFFFF"/>
                  </a:solidFill>
                  <a:effectLst/>
                  <a:uLnTx/>
                  <a:uFillTx/>
                  <a:latin typeface="Arial" panose="020B0604020202020204"/>
                  <a:ea typeface="+mn-ea"/>
                  <a:cs typeface="+mn-cs"/>
                </a:rPr>
                <a:t>Kunde</a:t>
              </a:r>
            </a:p>
          </p:txBody>
        </p:sp>
      </p:grpSp>
      <p:sp>
        <p:nvSpPr>
          <p:cNvPr id="71" name="Pfeil: Fünfeck 70">
            <a:extLst>
              <a:ext uri="{FF2B5EF4-FFF2-40B4-BE49-F238E27FC236}">
                <a16:creationId xmlns:a16="http://schemas.microsoft.com/office/drawing/2014/main" id="{C468DDCE-88F5-5735-6C69-5B5D7C628E6B}"/>
              </a:ext>
            </a:extLst>
          </p:cNvPr>
          <p:cNvSpPr/>
          <p:nvPr/>
        </p:nvSpPr>
        <p:spPr>
          <a:xfrm rot="954185">
            <a:off x="9085375" y="4594681"/>
            <a:ext cx="1387381" cy="209155"/>
          </a:xfrm>
          <a:prstGeom prst="homePlate">
            <a:avLst>
              <a:gd name="adj" fmla="val 50000"/>
            </a:avLst>
          </a:prstGeom>
          <a:gradFill flip="none" rotWithShape="1">
            <a:gsLst>
              <a:gs pos="0">
                <a:schemeClr val="bg1"/>
              </a:gs>
              <a:gs pos="84000">
                <a:schemeClr val="accent3"/>
              </a:gs>
            </a:gsLst>
            <a:lin ang="0" scaled="1"/>
            <a:tileRect/>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72" name="Pfeil: Fünfeck 71">
            <a:extLst>
              <a:ext uri="{FF2B5EF4-FFF2-40B4-BE49-F238E27FC236}">
                <a16:creationId xmlns:a16="http://schemas.microsoft.com/office/drawing/2014/main" id="{45401C8A-642E-7B13-09F5-9F96B5A8A624}"/>
              </a:ext>
            </a:extLst>
          </p:cNvPr>
          <p:cNvSpPr/>
          <p:nvPr/>
        </p:nvSpPr>
        <p:spPr>
          <a:xfrm>
            <a:off x="6920343" y="4356493"/>
            <a:ext cx="999831" cy="334951"/>
          </a:xfrm>
          <a:prstGeom prst="homePlate">
            <a:avLst>
              <a:gd name="adj" fmla="val 50000"/>
            </a:avLst>
          </a:prstGeom>
          <a:gradFill>
            <a:gsLst>
              <a:gs pos="89759">
                <a:schemeClr val="bg1"/>
              </a:gs>
              <a:gs pos="41000">
                <a:schemeClr val="accent5"/>
              </a:gs>
            </a:gsLst>
            <a:lin ang="0" scaled="1"/>
          </a:gra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73" name="Textfeld 72">
            <a:extLst>
              <a:ext uri="{FF2B5EF4-FFF2-40B4-BE49-F238E27FC236}">
                <a16:creationId xmlns:a16="http://schemas.microsoft.com/office/drawing/2014/main" id="{9FCD370D-F9AC-698D-C784-2DDB43BB78EF}"/>
              </a:ext>
            </a:extLst>
          </p:cNvPr>
          <p:cNvSpPr txBox="1"/>
          <p:nvPr/>
        </p:nvSpPr>
        <p:spPr>
          <a:xfrm>
            <a:off x="7855230" y="3241387"/>
            <a:ext cx="136408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one</a:t>
            </a: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 </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face</a:t>
            </a: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 </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to</a:t>
            </a: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 </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our</a:t>
            </a: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 </a:t>
            </a:r>
            <a:r>
              <a:rPr kumimoji="0" lang="de-DE" sz="1200" b="0" i="0" u="none" strike="noStrike" kern="1200" cap="none" spc="0" normalizeH="0" baseline="0" noProof="0" dirty="0" err="1">
                <a:ln>
                  <a:noFill/>
                </a:ln>
                <a:solidFill>
                  <a:srgbClr val="285172"/>
                </a:solidFill>
                <a:effectLst/>
                <a:uLnTx/>
                <a:uFillTx/>
                <a:latin typeface="Arial" panose="020B0604020202020204"/>
                <a:ea typeface="+mn-ea"/>
                <a:cs typeface="Times New Roman"/>
              </a:rPr>
              <a:t>customers</a:t>
            </a:r>
            <a:r>
              <a:rPr kumimoji="0" lang="de-DE" sz="1200" b="0" i="0" u="none" strike="noStrike" kern="1200" cap="none" spc="0" normalizeH="0" baseline="0" noProof="0" dirty="0">
                <a:ln>
                  <a:noFill/>
                </a:ln>
                <a:solidFill>
                  <a:srgbClr val="285172"/>
                </a:solidFill>
                <a:effectLst/>
                <a:uLnTx/>
                <a:uFillTx/>
                <a:latin typeface="Arial" panose="020B0604020202020204"/>
                <a:ea typeface="+mn-ea"/>
                <a:cs typeface="Times New Roman"/>
              </a:rPr>
              <a:t>“</a:t>
            </a:r>
            <a:endParaRPr kumimoji="0" lang="de-DE" sz="1200" b="1" i="0" u="none" strike="noStrike" kern="1200" cap="none" spc="0" normalizeH="0" baseline="0" noProof="0" dirty="0">
              <a:ln>
                <a:noFill/>
              </a:ln>
              <a:solidFill>
                <a:srgbClr val="285172"/>
              </a:solidFill>
              <a:effectLst/>
              <a:uLnTx/>
              <a:uFillTx/>
              <a:latin typeface="Arial" panose="020B0604020202020204"/>
              <a:ea typeface="+mn-ea"/>
              <a:cs typeface="Times New Roman"/>
            </a:endParaRPr>
          </a:p>
        </p:txBody>
      </p:sp>
      <p:grpSp>
        <p:nvGrpSpPr>
          <p:cNvPr id="74" name="Gruppieren 73">
            <a:extLst>
              <a:ext uri="{FF2B5EF4-FFF2-40B4-BE49-F238E27FC236}">
                <a16:creationId xmlns:a16="http://schemas.microsoft.com/office/drawing/2014/main" id="{673DB4B1-FF3E-438F-8544-1DC62C2DCA35}"/>
              </a:ext>
            </a:extLst>
          </p:cNvPr>
          <p:cNvGrpSpPr/>
          <p:nvPr/>
        </p:nvGrpSpPr>
        <p:grpSpPr>
          <a:xfrm>
            <a:off x="1884055" y="2159744"/>
            <a:ext cx="357243" cy="357243"/>
            <a:chOff x="2137321" y="1878983"/>
            <a:chExt cx="692458" cy="701336"/>
          </a:xfrm>
        </p:grpSpPr>
        <p:sp>
          <p:nvSpPr>
            <p:cNvPr id="75" name="Flussdiagramm: Verbinder 74">
              <a:extLst>
                <a:ext uri="{FF2B5EF4-FFF2-40B4-BE49-F238E27FC236}">
                  <a16:creationId xmlns:a16="http://schemas.microsoft.com/office/drawing/2014/main" id="{73840F75-BE80-1245-63CC-B3124895CE6E}"/>
                </a:ext>
              </a:extLst>
            </p:cNvPr>
            <p:cNvSpPr/>
            <p:nvPr/>
          </p:nvSpPr>
          <p:spPr>
            <a:xfrm>
              <a:off x="2137321" y="1878983"/>
              <a:ext cx="692458" cy="701336"/>
            </a:xfrm>
            <a:prstGeom prst="flowChartConnector">
              <a:avLst/>
            </a:prstGeom>
            <a:solidFill>
              <a:schemeClr val="bg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76" name="Grafik 75" descr="Kopf mit Zahnrädern Silhouette">
              <a:extLst>
                <a:ext uri="{FF2B5EF4-FFF2-40B4-BE49-F238E27FC236}">
                  <a16:creationId xmlns:a16="http://schemas.microsoft.com/office/drawing/2014/main" id="{FF17F536-FBA1-8398-69E7-575D10FC733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46407" y="1983799"/>
              <a:ext cx="491704" cy="491704"/>
            </a:xfrm>
            <a:prstGeom prst="rect">
              <a:avLst/>
            </a:prstGeom>
          </p:spPr>
        </p:pic>
      </p:grpSp>
      <p:grpSp>
        <p:nvGrpSpPr>
          <p:cNvPr id="77" name="Gruppieren 76">
            <a:extLst>
              <a:ext uri="{FF2B5EF4-FFF2-40B4-BE49-F238E27FC236}">
                <a16:creationId xmlns:a16="http://schemas.microsoft.com/office/drawing/2014/main" id="{6A40184F-DFFC-0283-ACC8-D09F92A0C060}"/>
              </a:ext>
            </a:extLst>
          </p:cNvPr>
          <p:cNvGrpSpPr/>
          <p:nvPr/>
        </p:nvGrpSpPr>
        <p:grpSpPr>
          <a:xfrm>
            <a:off x="1870031" y="3771545"/>
            <a:ext cx="357243" cy="357243"/>
            <a:chOff x="2137321" y="1878983"/>
            <a:chExt cx="692458" cy="701336"/>
          </a:xfrm>
        </p:grpSpPr>
        <p:sp>
          <p:nvSpPr>
            <p:cNvPr id="78" name="Flussdiagramm: Verbinder 77">
              <a:extLst>
                <a:ext uri="{FF2B5EF4-FFF2-40B4-BE49-F238E27FC236}">
                  <a16:creationId xmlns:a16="http://schemas.microsoft.com/office/drawing/2014/main" id="{1BD4B978-73DC-0A69-C4B9-66E70EBFAAA9}"/>
                </a:ext>
              </a:extLst>
            </p:cNvPr>
            <p:cNvSpPr/>
            <p:nvPr/>
          </p:nvSpPr>
          <p:spPr>
            <a:xfrm>
              <a:off x="2137321" y="1878983"/>
              <a:ext cx="692458" cy="701336"/>
            </a:xfrm>
            <a:prstGeom prst="flowChartConnector">
              <a:avLst/>
            </a:prstGeom>
            <a:solidFill>
              <a:schemeClr val="bg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79" name="Grafik 78" descr="Kopf mit Zahnrädern Silhouette">
              <a:extLst>
                <a:ext uri="{FF2B5EF4-FFF2-40B4-BE49-F238E27FC236}">
                  <a16:creationId xmlns:a16="http://schemas.microsoft.com/office/drawing/2014/main" id="{713B5BB1-1DF7-132D-737F-C675E1B211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46407" y="1983799"/>
              <a:ext cx="491704" cy="491704"/>
            </a:xfrm>
            <a:prstGeom prst="rect">
              <a:avLst/>
            </a:prstGeom>
          </p:spPr>
        </p:pic>
      </p:grpSp>
      <p:grpSp>
        <p:nvGrpSpPr>
          <p:cNvPr id="80" name="Gruppieren 79">
            <a:extLst>
              <a:ext uri="{FF2B5EF4-FFF2-40B4-BE49-F238E27FC236}">
                <a16:creationId xmlns:a16="http://schemas.microsoft.com/office/drawing/2014/main" id="{37E820A6-7241-A65E-3C99-F9781A417C18}"/>
              </a:ext>
            </a:extLst>
          </p:cNvPr>
          <p:cNvGrpSpPr/>
          <p:nvPr/>
        </p:nvGrpSpPr>
        <p:grpSpPr>
          <a:xfrm>
            <a:off x="2989291" y="4780536"/>
            <a:ext cx="357243" cy="357243"/>
            <a:chOff x="2137321" y="1878983"/>
            <a:chExt cx="692458" cy="701336"/>
          </a:xfrm>
        </p:grpSpPr>
        <p:sp>
          <p:nvSpPr>
            <p:cNvPr id="81" name="Flussdiagramm: Verbinder 80">
              <a:extLst>
                <a:ext uri="{FF2B5EF4-FFF2-40B4-BE49-F238E27FC236}">
                  <a16:creationId xmlns:a16="http://schemas.microsoft.com/office/drawing/2014/main" id="{56FCF73E-22A3-1800-8C1E-2F248E8DC0E8}"/>
                </a:ext>
              </a:extLst>
            </p:cNvPr>
            <p:cNvSpPr/>
            <p:nvPr/>
          </p:nvSpPr>
          <p:spPr>
            <a:xfrm>
              <a:off x="2137321" y="1878983"/>
              <a:ext cx="692458" cy="701336"/>
            </a:xfrm>
            <a:prstGeom prst="flowChartConnector">
              <a:avLst/>
            </a:prstGeom>
            <a:solidFill>
              <a:schemeClr val="bg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82" name="Grafik 81" descr="Kopf mit Zahnrädern Silhouette">
              <a:extLst>
                <a:ext uri="{FF2B5EF4-FFF2-40B4-BE49-F238E27FC236}">
                  <a16:creationId xmlns:a16="http://schemas.microsoft.com/office/drawing/2014/main" id="{9D5193BD-30BC-FB67-D4F9-16D92098A0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46407" y="1983799"/>
              <a:ext cx="491704" cy="491704"/>
            </a:xfrm>
            <a:prstGeom prst="rect">
              <a:avLst/>
            </a:prstGeom>
          </p:spPr>
        </p:pic>
      </p:grpSp>
      <p:grpSp>
        <p:nvGrpSpPr>
          <p:cNvPr id="83" name="Gruppieren 82">
            <a:extLst>
              <a:ext uri="{FF2B5EF4-FFF2-40B4-BE49-F238E27FC236}">
                <a16:creationId xmlns:a16="http://schemas.microsoft.com/office/drawing/2014/main" id="{DD280AC6-4288-2705-96CD-81C38E986616}"/>
              </a:ext>
            </a:extLst>
          </p:cNvPr>
          <p:cNvGrpSpPr/>
          <p:nvPr/>
        </p:nvGrpSpPr>
        <p:grpSpPr>
          <a:xfrm>
            <a:off x="9175591" y="1626756"/>
            <a:ext cx="356400" cy="356400"/>
            <a:chOff x="9110558" y="1610454"/>
            <a:chExt cx="409436" cy="414685"/>
          </a:xfrm>
        </p:grpSpPr>
        <p:sp>
          <p:nvSpPr>
            <p:cNvPr id="84" name="Flussdiagramm: Verbinder 83">
              <a:extLst>
                <a:ext uri="{FF2B5EF4-FFF2-40B4-BE49-F238E27FC236}">
                  <a16:creationId xmlns:a16="http://schemas.microsoft.com/office/drawing/2014/main" id="{63CCE05E-456E-CC8A-132A-FE05EA3E0E8E}"/>
                </a:ext>
              </a:extLst>
            </p:cNvPr>
            <p:cNvSpPr/>
            <p:nvPr/>
          </p:nvSpPr>
          <p:spPr>
            <a:xfrm>
              <a:off x="9110558" y="1610454"/>
              <a:ext cx="409436" cy="414685"/>
            </a:xfrm>
            <a:prstGeom prst="flowChartConnector">
              <a:avLst/>
            </a:prstGeom>
            <a:solidFill>
              <a:schemeClr val="bg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85" name="Grafik 84" descr="Callcenter Silhouette">
              <a:extLst>
                <a:ext uri="{FF2B5EF4-FFF2-40B4-BE49-F238E27FC236}">
                  <a16:creationId xmlns:a16="http://schemas.microsoft.com/office/drawing/2014/main" id="{1119E4B2-C35B-59FF-3373-41C49B5C0A8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56648" y="1648684"/>
              <a:ext cx="309895" cy="309895"/>
            </a:xfrm>
            <a:prstGeom prst="rect">
              <a:avLst/>
            </a:prstGeom>
          </p:spPr>
        </p:pic>
      </p:grpSp>
      <p:grpSp>
        <p:nvGrpSpPr>
          <p:cNvPr id="86" name="Gruppieren 85">
            <a:extLst>
              <a:ext uri="{FF2B5EF4-FFF2-40B4-BE49-F238E27FC236}">
                <a16:creationId xmlns:a16="http://schemas.microsoft.com/office/drawing/2014/main" id="{4FF6579E-124D-6DEC-EACB-230E0EC8AEA8}"/>
              </a:ext>
            </a:extLst>
          </p:cNvPr>
          <p:cNvGrpSpPr/>
          <p:nvPr/>
        </p:nvGrpSpPr>
        <p:grpSpPr>
          <a:xfrm>
            <a:off x="9751157" y="2160165"/>
            <a:ext cx="356400" cy="356400"/>
            <a:chOff x="9110558" y="1610454"/>
            <a:chExt cx="409436" cy="414685"/>
          </a:xfrm>
        </p:grpSpPr>
        <p:sp>
          <p:nvSpPr>
            <p:cNvPr id="87" name="Flussdiagramm: Verbinder 86">
              <a:extLst>
                <a:ext uri="{FF2B5EF4-FFF2-40B4-BE49-F238E27FC236}">
                  <a16:creationId xmlns:a16="http://schemas.microsoft.com/office/drawing/2014/main" id="{E9354D3D-78ED-1ACA-20E9-6E60428BAA5B}"/>
                </a:ext>
              </a:extLst>
            </p:cNvPr>
            <p:cNvSpPr/>
            <p:nvPr/>
          </p:nvSpPr>
          <p:spPr>
            <a:xfrm>
              <a:off x="9110558" y="1610454"/>
              <a:ext cx="409436" cy="414685"/>
            </a:xfrm>
            <a:prstGeom prst="flowChartConnector">
              <a:avLst/>
            </a:prstGeom>
            <a:solidFill>
              <a:schemeClr val="bg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88" name="Grafik 87" descr="Callcenter Silhouette">
              <a:extLst>
                <a:ext uri="{FF2B5EF4-FFF2-40B4-BE49-F238E27FC236}">
                  <a16:creationId xmlns:a16="http://schemas.microsoft.com/office/drawing/2014/main" id="{4213604F-9EDB-26DB-F7B9-B346C9528A1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56648" y="1648684"/>
              <a:ext cx="309895" cy="309895"/>
            </a:xfrm>
            <a:prstGeom prst="rect">
              <a:avLst/>
            </a:prstGeom>
          </p:spPr>
        </p:pic>
      </p:grpSp>
      <p:grpSp>
        <p:nvGrpSpPr>
          <p:cNvPr id="89" name="Gruppieren 88">
            <a:extLst>
              <a:ext uri="{FF2B5EF4-FFF2-40B4-BE49-F238E27FC236}">
                <a16:creationId xmlns:a16="http://schemas.microsoft.com/office/drawing/2014/main" id="{C9628D2A-C1CE-E5B2-BA1E-5B913EFC04AC}"/>
              </a:ext>
            </a:extLst>
          </p:cNvPr>
          <p:cNvGrpSpPr/>
          <p:nvPr/>
        </p:nvGrpSpPr>
        <p:grpSpPr>
          <a:xfrm>
            <a:off x="9420796" y="2675589"/>
            <a:ext cx="356400" cy="356400"/>
            <a:chOff x="9110558" y="1610454"/>
            <a:chExt cx="409436" cy="414685"/>
          </a:xfrm>
        </p:grpSpPr>
        <p:sp>
          <p:nvSpPr>
            <p:cNvPr id="90" name="Flussdiagramm: Verbinder 89">
              <a:extLst>
                <a:ext uri="{FF2B5EF4-FFF2-40B4-BE49-F238E27FC236}">
                  <a16:creationId xmlns:a16="http://schemas.microsoft.com/office/drawing/2014/main" id="{80FC49F8-A169-DB61-BAB2-62D808F8E98A}"/>
                </a:ext>
              </a:extLst>
            </p:cNvPr>
            <p:cNvSpPr/>
            <p:nvPr/>
          </p:nvSpPr>
          <p:spPr>
            <a:xfrm>
              <a:off x="9110558" y="1610454"/>
              <a:ext cx="409436" cy="414685"/>
            </a:xfrm>
            <a:prstGeom prst="flowChartConnector">
              <a:avLst/>
            </a:prstGeom>
            <a:solidFill>
              <a:schemeClr val="bg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91" name="Grafik 90" descr="Callcenter Silhouette">
              <a:extLst>
                <a:ext uri="{FF2B5EF4-FFF2-40B4-BE49-F238E27FC236}">
                  <a16:creationId xmlns:a16="http://schemas.microsoft.com/office/drawing/2014/main" id="{C885CC75-3CD7-CEA9-9630-CD7B5A4B2AD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56648" y="1648684"/>
              <a:ext cx="309895" cy="309895"/>
            </a:xfrm>
            <a:prstGeom prst="rect">
              <a:avLst/>
            </a:prstGeom>
          </p:spPr>
        </p:pic>
      </p:grpSp>
      <p:grpSp>
        <p:nvGrpSpPr>
          <p:cNvPr id="92" name="Gruppieren 91">
            <a:extLst>
              <a:ext uri="{FF2B5EF4-FFF2-40B4-BE49-F238E27FC236}">
                <a16:creationId xmlns:a16="http://schemas.microsoft.com/office/drawing/2014/main" id="{ED851A96-BDEB-3C95-60BE-A25272FE4064}"/>
              </a:ext>
            </a:extLst>
          </p:cNvPr>
          <p:cNvGrpSpPr/>
          <p:nvPr/>
        </p:nvGrpSpPr>
        <p:grpSpPr>
          <a:xfrm>
            <a:off x="9531991" y="4478083"/>
            <a:ext cx="356400" cy="356400"/>
            <a:chOff x="9110558" y="1610454"/>
            <a:chExt cx="409436" cy="414685"/>
          </a:xfrm>
        </p:grpSpPr>
        <p:sp>
          <p:nvSpPr>
            <p:cNvPr id="93" name="Flussdiagramm: Verbinder 92">
              <a:extLst>
                <a:ext uri="{FF2B5EF4-FFF2-40B4-BE49-F238E27FC236}">
                  <a16:creationId xmlns:a16="http://schemas.microsoft.com/office/drawing/2014/main" id="{46E6762D-4F07-96FC-3F08-4CCC70481C01}"/>
                </a:ext>
              </a:extLst>
            </p:cNvPr>
            <p:cNvSpPr/>
            <p:nvPr/>
          </p:nvSpPr>
          <p:spPr>
            <a:xfrm>
              <a:off x="9110558" y="1610454"/>
              <a:ext cx="409436" cy="414685"/>
            </a:xfrm>
            <a:prstGeom prst="flowChartConnector">
              <a:avLst/>
            </a:prstGeom>
            <a:solidFill>
              <a:schemeClr val="bg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94" name="Grafik 93" descr="Callcenter Silhouette">
              <a:extLst>
                <a:ext uri="{FF2B5EF4-FFF2-40B4-BE49-F238E27FC236}">
                  <a16:creationId xmlns:a16="http://schemas.microsoft.com/office/drawing/2014/main" id="{A1BBF685-537C-E748-3688-1C26D1D631C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56648" y="1648684"/>
              <a:ext cx="309895" cy="309895"/>
            </a:xfrm>
            <a:prstGeom prst="rect">
              <a:avLst/>
            </a:prstGeom>
          </p:spPr>
        </p:pic>
      </p:grpSp>
      <p:grpSp>
        <p:nvGrpSpPr>
          <p:cNvPr id="95" name="Gruppieren 94">
            <a:extLst>
              <a:ext uri="{FF2B5EF4-FFF2-40B4-BE49-F238E27FC236}">
                <a16:creationId xmlns:a16="http://schemas.microsoft.com/office/drawing/2014/main" id="{F9024100-C4E5-2E00-A805-E99CE54D5E35}"/>
              </a:ext>
            </a:extLst>
          </p:cNvPr>
          <p:cNvGrpSpPr/>
          <p:nvPr/>
        </p:nvGrpSpPr>
        <p:grpSpPr>
          <a:xfrm>
            <a:off x="8829803" y="5079507"/>
            <a:ext cx="356400" cy="356400"/>
            <a:chOff x="9110558" y="1610454"/>
            <a:chExt cx="409436" cy="414685"/>
          </a:xfrm>
        </p:grpSpPr>
        <p:sp>
          <p:nvSpPr>
            <p:cNvPr id="96" name="Flussdiagramm: Verbinder 95">
              <a:extLst>
                <a:ext uri="{FF2B5EF4-FFF2-40B4-BE49-F238E27FC236}">
                  <a16:creationId xmlns:a16="http://schemas.microsoft.com/office/drawing/2014/main" id="{BC7B3B71-2243-60A5-F08D-4E011A308BA8}"/>
                </a:ext>
              </a:extLst>
            </p:cNvPr>
            <p:cNvSpPr/>
            <p:nvPr/>
          </p:nvSpPr>
          <p:spPr>
            <a:xfrm>
              <a:off x="9110558" y="1610454"/>
              <a:ext cx="409436" cy="414685"/>
            </a:xfrm>
            <a:prstGeom prst="flowChartConnector">
              <a:avLst/>
            </a:prstGeom>
            <a:solidFill>
              <a:schemeClr val="bg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97" name="Grafik 96" descr="Callcenter Silhouette">
              <a:extLst>
                <a:ext uri="{FF2B5EF4-FFF2-40B4-BE49-F238E27FC236}">
                  <a16:creationId xmlns:a16="http://schemas.microsoft.com/office/drawing/2014/main" id="{EDA3BBFA-6ABC-5A05-DD9C-7D26FB5B451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56648" y="1648684"/>
              <a:ext cx="309895" cy="309895"/>
            </a:xfrm>
            <a:prstGeom prst="rect">
              <a:avLst/>
            </a:prstGeom>
          </p:spPr>
        </p:pic>
      </p:grpSp>
    </p:spTree>
    <p:extLst>
      <p:ext uri="{BB962C8B-B14F-4D97-AF65-F5344CB8AC3E}">
        <p14:creationId xmlns:p14="http://schemas.microsoft.com/office/powerpoint/2010/main" val="3689540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nodeType="withEffect">
                                  <p:stCondLst>
                                    <p:cond delay="0"/>
                                  </p:stCondLst>
                                  <p:childTnLst>
                                    <p:set>
                                      <p:cBhvr>
                                        <p:cTn id="9" dur="1" fill="hold">
                                          <p:stCondLst>
                                            <p:cond delay="0"/>
                                          </p:stCondLst>
                                        </p:cTn>
                                        <p:tgtEl>
                                          <p:spTgt spid="74"/>
                                        </p:tgtEl>
                                        <p:attrNameLst>
                                          <p:attrName>style.visibility</p:attrName>
                                        </p:attrNameLst>
                                      </p:cBhvr>
                                      <p:to>
                                        <p:strVal val="visible"/>
                                      </p:to>
                                    </p:set>
                                    <p:animEffect transition="in" filter="dissolve">
                                      <p:cBhvr>
                                        <p:cTn id="10" dur="500"/>
                                        <p:tgtEl>
                                          <p:spTgt spid="74"/>
                                        </p:tgtEl>
                                      </p:cBhvr>
                                    </p:animEffect>
                                  </p:childTnLst>
                                </p:cTn>
                              </p:par>
                              <p:par>
                                <p:cTn id="11" presetID="9" presetClass="entr" presetSubtype="0"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dissolve">
                                      <p:cBhvr>
                                        <p:cTn id="13" dur="500"/>
                                        <p:tgtEl>
                                          <p:spTgt spid="77"/>
                                        </p:tgtEl>
                                      </p:cBhvr>
                                    </p:animEffect>
                                  </p:childTnLst>
                                </p:cTn>
                              </p:par>
                              <p:par>
                                <p:cTn id="14" presetID="9" presetClass="entr" presetSubtype="0" fill="hold" nodeType="withEffect">
                                  <p:stCondLst>
                                    <p:cond delay="0"/>
                                  </p:stCondLst>
                                  <p:childTnLst>
                                    <p:set>
                                      <p:cBhvr>
                                        <p:cTn id="15" dur="1" fill="hold">
                                          <p:stCondLst>
                                            <p:cond delay="0"/>
                                          </p:stCondLst>
                                        </p:cTn>
                                        <p:tgtEl>
                                          <p:spTgt spid="80"/>
                                        </p:tgtEl>
                                        <p:attrNameLst>
                                          <p:attrName>style.visibility</p:attrName>
                                        </p:attrNameLst>
                                      </p:cBhvr>
                                      <p:to>
                                        <p:strVal val="visible"/>
                                      </p:to>
                                    </p:set>
                                    <p:animEffect transition="in" filter="dissolve">
                                      <p:cBhvr>
                                        <p:cTn id="16" dur="500"/>
                                        <p:tgtEl>
                                          <p:spTgt spid="80"/>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dissolve">
                                      <p:cBhvr>
                                        <p:cTn id="19" dur="500"/>
                                        <p:tgtEl>
                                          <p:spTgt spid="5"/>
                                        </p:tgtEl>
                                      </p:cBhvr>
                                    </p:animEffect>
                                  </p:childTnLst>
                                </p:cTn>
                              </p:par>
                              <p:par>
                                <p:cTn id="20" presetID="9"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dissolve">
                                      <p:cBhvr>
                                        <p:cTn id="25" dur="500"/>
                                        <p:tgtEl>
                                          <p:spTgt spid="8"/>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dissolve">
                                      <p:cBhvr>
                                        <p:cTn id="28" dur="500"/>
                                        <p:tgtEl>
                                          <p:spTgt spid="9"/>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dissolve">
                                      <p:cBhvr>
                                        <p:cTn id="31" dur="500"/>
                                        <p:tgtEl>
                                          <p:spTgt spid="10"/>
                                        </p:tgtEl>
                                      </p:cBhvr>
                                    </p:animEffect>
                                  </p:childTnLst>
                                </p:cTn>
                              </p:par>
                              <p:par>
                                <p:cTn id="32" presetID="9" presetClass="entr" presetSubtype="0" fill="hold"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dissolve">
                                      <p:cBhvr>
                                        <p:cTn id="34" dur="500"/>
                                        <p:tgtEl>
                                          <p:spTgt spid="15"/>
                                        </p:tgtEl>
                                      </p:cBhvr>
                                    </p:animEffect>
                                  </p:childTnLst>
                                </p:cTn>
                              </p:par>
                              <p:par>
                                <p:cTn id="35" presetID="9"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dissolve">
                                      <p:cBhvr>
                                        <p:cTn id="37" dur="500"/>
                                        <p:tgtEl>
                                          <p:spTgt spid="16"/>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dissolve">
                                      <p:cBhvr>
                                        <p:cTn id="40" dur="500"/>
                                        <p:tgtEl>
                                          <p:spTgt spid="17"/>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dissolve">
                                      <p:cBhvr>
                                        <p:cTn id="43" dur="500"/>
                                        <p:tgtEl>
                                          <p:spTgt spid="18"/>
                                        </p:tgtEl>
                                      </p:cBhvr>
                                    </p:animEffect>
                                  </p:childTnLst>
                                </p:cTn>
                              </p:par>
                              <p:par>
                                <p:cTn id="44" presetID="9"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dissolve">
                                      <p:cBhvr>
                                        <p:cTn id="46" dur="500"/>
                                        <p:tgtEl>
                                          <p:spTgt spid="19"/>
                                        </p:tgtEl>
                                      </p:cBhvr>
                                    </p:animEffect>
                                  </p:childTnLst>
                                </p:cTn>
                              </p:par>
                            </p:childTnLst>
                          </p:cTn>
                        </p:par>
                        <p:par>
                          <p:cTn id="47" fill="hold">
                            <p:stCondLst>
                              <p:cond delay="500"/>
                            </p:stCondLst>
                            <p:childTnLst>
                              <p:par>
                                <p:cTn id="48" presetID="9" presetClass="entr" presetSubtype="0" fill="hold" nodeType="afterEffect">
                                  <p:stCondLst>
                                    <p:cond delay="250"/>
                                  </p:stCondLst>
                                  <p:childTnLst>
                                    <p:set>
                                      <p:cBhvr>
                                        <p:cTn id="49" dur="1" fill="hold">
                                          <p:stCondLst>
                                            <p:cond delay="0"/>
                                          </p:stCondLst>
                                        </p:cTn>
                                        <p:tgtEl>
                                          <p:spTgt spid="20"/>
                                        </p:tgtEl>
                                        <p:attrNameLst>
                                          <p:attrName>style.visibility</p:attrName>
                                        </p:attrNameLst>
                                      </p:cBhvr>
                                      <p:to>
                                        <p:strVal val="visible"/>
                                      </p:to>
                                    </p:set>
                                    <p:animEffect transition="in" filter="dissolve">
                                      <p:cBhvr>
                                        <p:cTn id="50" dur="500"/>
                                        <p:tgtEl>
                                          <p:spTgt spid="20"/>
                                        </p:tgtEl>
                                      </p:cBhvr>
                                    </p:animEffect>
                                  </p:childTnLst>
                                </p:cTn>
                              </p:par>
                              <p:par>
                                <p:cTn id="51" presetID="9" presetClass="entr" presetSubtype="0" fill="hold" grpId="0" nodeType="withEffect">
                                  <p:stCondLst>
                                    <p:cond delay="250"/>
                                  </p:stCondLst>
                                  <p:childTnLst>
                                    <p:set>
                                      <p:cBhvr>
                                        <p:cTn id="52" dur="1" fill="hold">
                                          <p:stCondLst>
                                            <p:cond delay="0"/>
                                          </p:stCondLst>
                                        </p:cTn>
                                        <p:tgtEl>
                                          <p:spTgt spid="6"/>
                                        </p:tgtEl>
                                        <p:attrNameLst>
                                          <p:attrName>style.visibility</p:attrName>
                                        </p:attrNameLst>
                                      </p:cBhvr>
                                      <p:to>
                                        <p:strVal val="visible"/>
                                      </p:to>
                                    </p:set>
                                    <p:animEffect transition="in" filter="dissolve">
                                      <p:cBhvr>
                                        <p:cTn id="53" dur="500"/>
                                        <p:tgtEl>
                                          <p:spTgt spid="6"/>
                                        </p:tgtEl>
                                      </p:cBhvr>
                                    </p:animEffect>
                                  </p:childTnLst>
                                </p:cTn>
                              </p:par>
                              <p:par>
                                <p:cTn id="54" presetID="9" presetClass="entr" presetSubtype="0" fill="hold" grpId="0" nodeType="withEffect">
                                  <p:stCondLst>
                                    <p:cond delay="250"/>
                                  </p:stCondLst>
                                  <p:childTnLst>
                                    <p:set>
                                      <p:cBhvr>
                                        <p:cTn id="55" dur="1" fill="hold">
                                          <p:stCondLst>
                                            <p:cond delay="0"/>
                                          </p:stCondLst>
                                        </p:cTn>
                                        <p:tgtEl>
                                          <p:spTgt spid="2"/>
                                        </p:tgtEl>
                                        <p:attrNameLst>
                                          <p:attrName>style.visibility</p:attrName>
                                        </p:attrNameLst>
                                      </p:cBhvr>
                                      <p:to>
                                        <p:strVal val="visible"/>
                                      </p:to>
                                    </p:set>
                                    <p:animEffect transition="in" filter="dissolve">
                                      <p:cBhvr>
                                        <p:cTn id="56" dur="500"/>
                                        <p:tgtEl>
                                          <p:spTgt spid="2"/>
                                        </p:tgtEl>
                                      </p:cBhvr>
                                    </p:animEffect>
                                  </p:childTnLst>
                                </p:cTn>
                              </p:par>
                              <p:par>
                                <p:cTn id="57" presetID="9" presetClass="entr" presetSubtype="0" fill="hold" grpId="0" nodeType="withEffect">
                                  <p:stCondLst>
                                    <p:cond delay="250"/>
                                  </p:stCondLst>
                                  <p:childTnLst>
                                    <p:set>
                                      <p:cBhvr>
                                        <p:cTn id="58" dur="1" fill="hold">
                                          <p:stCondLst>
                                            <p:cond delay="0"/>
                                          </p:stCondLst>
                                        </p:cTn>
                                        <p:tgtEl>
                                          <p:spTgt spid="25"/>
                                        </p:tgtEl>
                                        <p:attrNameLst>
                                          <p:attrName>style.visibility</p:attrName>
                                        </p:attrNameLst>
                                      </p:cBhvr>
                                      <p:to>
                                        <p:strVal val="visible"/>
                                      </p:to>
                                    </p:set>
                                    <p:animEffect transition="in" filter="dissolve">
                                      <p:cBhvr>
                                        <p:cTn id="59" dur="500"/>
                                        <p:tgtEl>
                                          <p:spTgt spid="25"/>
                                        </p:tgtEl>
                                      </p:cBhvr>
                                    </p:animEffect>
                                  </p:childTnLst>
                                </p:cTn>
                              </p:par>
                              <p:par>
                                <p:cTn id="60" presetID="9" presetClass="entr" presetSubtype="0" fill="hold" grpId="0" nodeType="withEffect">
                                  <p:stCondLst>
                                    <p:cond delay="250"/>
                                  </p:stCondLst>
                                  <p:childTnLst>
                                    <p:set>
                                      <p:cBhvr>
                                        <p:cTn id="61" dur="1" fill="hold">
                                          <p:stCondLst>
                                            <p:cond delay="0"/>
                                          </p:stCondLst>
                                        </p:cTn>
                                        <p:tgtEl>
                                          <p:spTgt spid="4"/>
                                        </p:tgtEl>
                                        <p:attrNameLst>
                                          <p:attrName>style.visibility</p:attrName>
                                        </p:attrNameLst>
                                      </p:cBhvr>
                                      <p:to>
                                        <p:strVal val="visible"/>
                                      </p:to>
                                    </p:set>
                                    <p:animEffect transition="in" filter="dissolve">
                                      <p:cBhvr>
                                        <p:cTn id="62" dur="500"/>
                                        <p:tgtEl>
                                          <p:spTgt spid="4"/>
                                        </p:tgtEl>
                                      </p:cBhvr>
                                    </p:animEffect>
                                  </p:childTnLst>
                                </p:cTn>
                              </p:par>
                              <p:par>
                                <p:cTn id="63" presetID="9" presetClass="entr" presetSubtype="0" fill="hold" nodeType="withEffect">
                                  <p:stCondLst>
                                    <p:cond delay="250"/>
                                  </p:stCondLst>
                                  <p:childTnLst>
                                    <p:set>
                                      <p:cBhvr>
                                        <p:cTn id="64" dur="1" fill="hold">
                                          <p:stCondLst>
                                            <p:cond delay="0"/>
                                          </p:stCondLst>
                                        </p:cTn>
                                        <p:tgtEl>
                                          <p:spTgt spid="21"/>
                                        </p:tgtEl>
                                        <p:attrNameLst>
                                          <p:attrName>style.visibility</p:attrName>
                                        </p:attrNameLst>
                                      </p:cBhvr>
                                      <p:to>
                                        <p:strVal val="visible"/>
                                      </p:to>
                                    </p:set>
                                    <p:animEffect transition="in" filter="dissolve">
                                      <p:cBhvr>
                                        <p:cTn id="65" dur="500"/>
                                        <p:tgtEl>
                                          <p:spTgt spid="21"/>
                                        </p:tgtEl>
                                      </p:cBhvr>
                                    </p:animEffect>
                                  </p:childTnLst>
                                </p:cTn>
                              </p:par>
                              <p:par>
                                <p:cTn id="66" presetID="9" presetClass="entr" presetSubtype="0" fill="hold" grpId="0" nodeType="withEffect">
                                  <p:stCondLst>
                                    <p:cond delay="250"/>
                                  </p:stCondLst>
                                  <p:childTnLst>
                                    <p:set>
                                      <p:cBhvr>
                                        <p:cTn id="67" dur="1" fill="hold">
                                          <p:stCondLst>
                                            <p:cond delay="0"/>
                                          </p:stCondLst>
                                        </p:cTn>
                                        <p:tgtEl>
                                          <p:spTgt spid="22"/>
                                        </p:tgtEl>
                                        <p:attrNameLst>
                                          <p:attrName>style.visibility</p:attrName>
                                        </p:attrNameLst>
                                      </p:cBhvr>
                                      <p:to>
                                        <p:strVal val="visible"/>
                                      </p:to>
                                    </p:set>
                                    <p:animEffect transition="in" filter="dissolve">
                                      <p:cBhvr>
                                        <p:cTn id="68" dur="500"/>
                                        <p:tgtEl>
                                          <p:spTgt spid="22"/>
                                        </p:tgtEl>
                                      </p:cBhvr>
                                    </p:animEffect>
                                  </p:childTnLst>
                                </p:cTn>
                              </p:par>
                            </p:childTnLst>
                          </p:cTn>
                        </p:par>
                        <p:par>
                          <p:cTn id="69" fill="hold">
                            <p:stCondLst>
                              <p:cond delay="1250"/>
                            </p:stCondLst>
                            <p:childTnLst>
                              <p:par>
                                <p:cTn id="70" presetID="9" presetClass="entr" presetSubtype="0" fill="hold" nodeType="afterEffect">
                                  <p:stCondLst>
                                    <p:cond delay="250"/>
                                  </p:stCondLst>
                                  <p:childTnLst>
                                    <p:set>
                                      <p:cBhvr>
                                        <p:cTn id="71" dur="1" fill="hold">
                                          <p:stCondLst>
                                            <p:cond delay="0"/>
                                          </p:stCondLst>
                                        </p:cTn>
                                        <p:tgtEl>
                                          <p:spTgt spid="33"/>
                                        </p:tgtEl>
                                        <p:attrNameLst>
                                          <p:attrName>style.visibility</p:attrName>
                                        </p:attrNameLst>
                                      </p:cBhvr>
                                      <p:to>
                                        <p:strVal val="visible"/>
                                      </p:to>
                                    </p:set>
                                    <p:animEffect transition="in" filter="dissolve">
                                      <p:cBhvr>
                                        <p:cTn id="72" dur="500"/>
                                        <p:tgtEl>
                                          <p:spTgt spid="33"/>
                                        </p:tgtEl>
                                      </p:cBhvr>
                                    </p:animEffect>
                                  </p:childTnLst>
                                </p:cTn>
                              </p:par>
                              <p:par>
                                <p:cTn id="73" presetID="9" presetClass="entr" presetSubtype="0" fill="hold" nodeType="withEffect">
                                  <p:stCondLst>
                                    <p:cond delay="250"/>
                                  </p:stCondLst>
                                  <p:childTnLst>
                                    <p:set>
                                      <p:cBhvr>
                                        <p:cTn id="74" dur="1" fill="hold">
                                          <p:stCondLst>
                                            <p:cond delay="0"/>
                                          </p:stCondLst>
                                        </p:cTn>
                                        <p:tgtEl>
                                          <p:spTgt spid="29"/>
                                        </p:tgtEl>
                                        <p:attrNameLst>
                                          <p:attrName>style.visibility</p:attrName>
                                        </p:attrNameLst>
                                      </p:cBhvr>
                                      <p:to>
                                        <p:strVal val="visible"/>
                                      </p:to>
                                    </p:set>
                                    <p:animEffect transition="in" filter="dissolve">
                                      <p:cBhvr>
                                        <p:cTn id="75" dur="500"/>
                                        <p:tgtEl>
                                          <p:spTgt spid="29"/>
                                        </p:tgtEl>
                                      </p:cBhvr>
                                    </p:animEffect>
                                  </p:childTnLst>
                                </p:cTn>
                              </p:par>
                              <p:par>
                                <p:cTn id="76" presetID="9" presetClass="entr" presetSubtype="0" fill="hold" nodeType="withEffect">
                                  <p:stCondLst>
                                    <p:cond delay="250"/>
                                  </p:stCondLst>
                                  <p:childTnLst>
                                    <p:set>
                                      <p:cBhvr>
                                        <p:cTn id="77" dur="1" fill="hold">
                                          <p:stCondLst>
                                            <p:cond delay="0"/>
                                          </p:stCondLst>
                                        </p:cTn>
                                        <p:tgtEl>
                                          <p:spTgt spid="36"/>
                                        </p:tgtEl>
                                        <p:attrNameLst>
                                          <p:attrName>style.visibility</p:attrName>
                                        </p:attrNameLst>
                                      </p:cBhvr>
                                      <p:to>
                                        <p:strVal val="visible"/>
                                      </p:to>
                                    </p:set>
                                    <p:animEffect transition="in" filter="dissolve">
                                      <p:cBhvr>
                                        <p:cTn id="78" dur="500"/>
                                        <p:tgtEl>
                                          <p:spTgt spid="36"/>
                                        </p:tgtEl>
                                      </p:cBhvr>
                                    </p:animEffect>
                                  </p:childTnLst>
                                </p:cTn>
                              </p:par>
                              <p:par>
                                <p:cTn id="79" presetID="9" presetClass="entr" presetSubtype="0" fill="hold" grpId="0" nodeType="withEffect">
                                  <p:stCondLst>
                                    <p:cond delay="250"/>
                                  </p:stCondLst>
                                  <p:childTnLst>
                                    <p:set>
                                      <p:cBhvr>
                                        <p:cTn id="80" dur="1" fill="hold">
                                          <p:stCondLst>
                                            <p:cond delay="0"/>
                                          </p:stCondLst>
                                        </p:cTn>
                                        <p:tgtEl>
                                          <p:spTgt spid="26"/>
                                        </p:tgtEl>
                                        <p:attrNameLst>
                                          <p:attrName>style.visibility</p:attrName>
                                        </p:attrNameLst>
                                      </p:cBhvr>
                                      <p:to>
                                        <p:strVal val="visible"/>
                                      </p:to>
                                    </p:set>
                                    <p:animEffect transition="in" filter="dissolve">
                                      <p:cBhvr>
                                        <p:cTn id="81" dur="500"/>
                                        <p:tgtEl>
                                          <p:spTgt spid="26"/>
                                        </p:tgtEl>
                                      </p:cBhvr>
                                    </p:animEffect>
                                  </p:childTnLst>
                                </p:cTn>
                              </p:par>
                              <p:par>
                                <p:cTn id="82" presetID="9" presetClass="entr" presetSubtype="0" fill="hold" grpId="0" nodeType="withEffect">
                                  <p:stCondLst>
                                    <p:cond delay="250"/>
                                  </p:stCondLst>
                                  <p:childTnLst>
                                    <p:set>
                                      <p:cBhvr>
                                        <p:cTn id="83" dur="1" fill="hold">
                                          <p:stCondLst>
                                            <p:cond delay="0"/>
                                          </p:stCondLst>
                                        </p:cTn>
                                        <p:tgtEl>
                                          <p:spTgt spid="27"/>
                                        </p:tgtEl>
                                        <p:attrNameLst>
                                          <p:attrName>style.visibility</p:attrName>
                                        </p:attrNameLst>
                                      </p:cBhvr>
                                      <p:to>
                                        <p:strVal val="visible"/>
                                      </p:to>
                                    </p:set>
                                    <p:animEffect transition="in" filter="dissolve">
                                      <p:cBhvr>
                                        <p:cTn id="84" dur="500"/>
                                        <p:tgtEl>
                                          <p:spTgt spid="27"/>
                                        </p:tgtEl>
                                      </p:cBhvr>
                                    </p:animEffect>
                                  </p:childTnLst>
                                </p:cTn>
                              </p:par>
                              <p:par>
                                <p:cTn id="85" presetID="9" presetClass="entr" presetSubtype="0" fill="hold" grpId="0" nodeType="withEffect">
                                  <p:stCondLst>
                                    <p:cond delay="250"/>
                                  </p:stCondLst>
                                  <p:childTnLst>
                                    <p:set>
                                      <p:cBhvr>
                                        <p:cTn id="86" dur="1" fill="hold">
                                          <p:stCondLst>
                                            <p:cond delay="0"/>
                                          </p:stCondLst>
                                        </p:cTn>
                                        <p:tgtEl>
                                          <p:spTgt spid="72"/>
                                        </p:tgtEl>
                                        <p:attrNameLst>
                                          <p:attrName>style.visibility</p:attrName>
                                        </p:attrNameLst>
                                      </p:cBhvr>
                                      <p:to>
                                        <p:strVal val="visible"/>
                                      </p:to>
                                    </p:set>
                                    <p:animEffect transition="in" filter="dissolve">
                                      <p:cBhvr>
                                        <p:cTn id="87" dur="500"/>
                                        <p:tgtEl>
                                          <p:spTgt spid="72"/>
                                        </p:tgtEl>
                                      </p:cBhvr>
                                    </p:animEffect>
                                  </p:childTnLst>
                                </p:cTn>
                              </p:par>
                              <p:par>
                                <p:cTn id="88" presetID="9" presetClass="entr" presetSubtype="0" fill="hold" grpId="0" nodeType="withEffect">
                                  <p:stCondLst>
                                    <p:cond delay="250"/>
                                  </p:stCondLst>
                                  <p:childTnLst>
                                    <p:set>
                                      <p:cBhvr>
                                        <p:cTn id="89" dur="1" fill="hold">
                                          <p:stCondLst>
                                            <p:cond delay="0"/>
                                          </p:stCondLst>
                                        </p:cTn>
                                        <p:tgtEl>
                                          <p:spTgt spid="28"/>
                                        </p:tgtEl>
                                        <p:attrNameLst>
                                          <p:attrName>style.visibility</p:attrName>
                                        </p:attrNameLst>
                                      </p:cBhvr>
                                      <p:to>
                                        <p:strVal val="visible"/>
                                      </p:to>
                                    </p:set>
                                    <p:animEffect transition="in" filter="dissolve">
                                      <p:cBhvr>
                                        <p:cTn id="90" dur="500"/>
                                        <p:tgtEl>
                                          <p:spTgt spid="28"/>
                                        </p:tgtEl>
                                      </p:cBhvr>
                                    </p:animEffect>
                                  </p:childTnLst>
                                </p:cTn>
                              </p:par>
                              <p:par>
                                <p:cTn id="91" presetID="9" presetClass="entr" presetSubtype="0" fill="hold" grpId="0" nodeType="withEffect">
                                  <p:stCondLst>
                                    <p:cond delay="250"/>
                                  </p:stCondLst>
                                  <p:childTnLst>
                                    <p:set>
                                      <p:cBhvr>
                                        <p:cTn id="92" dur="1" fill="hold">
                                          <p:stCondLst>
                                            <p:cond delay="0"/>
                                          </p:stCondLst>
                                        </p:cTn>
                                        <p:tgtEl>
                                          <p:spTgt spid="23"/>
                                        </p:tgtEl>
                                        <p:attrNameLst>
                                          <p:attrName>style.visibility</p:attrName>
                                        </p:attrNameLst>
                                      </p:cBhvr>
                                      <p:to>
                                        <p:strVal val="visible"/>
                                      </p:to>
                                    </p:set>
                                    <p:animEffect transition="in" filter="dissolve">
                                      <p:cBhvr>
                                        <p:cTn id="93" dur="500"/>
                                        <p:tgtEl>
                                          <p:spTgt spid="23"/>
                                        </p:tgtEl>
                                      </p:cBhvr>
                                    </p:animEffect>
                                  </p:childTnLst>
                                </p:cTn>
                              </p:par>
                              <p:par>
                                <p:cTn id="94" presetID="9" presetClass="entr" presetSubtype="0" fill="hold" grpId="0" nodeType="withEffect">
                                  <p:stCondLst>
                                    <p:cond delay="250"/>
                                  </p:stCondLst>
                                  <p:childTnLst>
                                    <p:set>
                                      <p:cBhvr>
                                        <p:cTn id="95" dur="1" fill="hold">
                                          <p:stCondLst>
                                            <p:cond delay="0"/>
                                          </p:stCondLst>
                                        </p:cTn>
                                        <p:tgtEl>
                                          <p:spTgt spid="54"/>
                                        </p:tgtEl>
                                        <p:attrNameLst>
                                          <p:attrName>style.visibility</p:attrName>
                                        </p:attrNameLst>
                                      </p:cBhvr>
                                      <p:to>
                                        <p:strVal val="visible"/>
                                      </p:to>
                                    </p:set>
                                    <p:animEffect transition="in" filter="dissolve">
                                      <p:cBhvr>
                                        <p:cTn id="96" dur="500"/>
                                        <p:tgtEl>
                                          <p:spTgt spid="54"/>
                                        </p:tgtEl>
                                      </p:cBhvr>
                                    </p:animEffect>
                                  </p:childTnLst>
                                </p:cTn>
                              </p:par>
                              <p:par>
                                <p:cTn id="97" presetID="9" presetClass="entr" presetSubtype="0" fill="hold" nodeType="withEffect">
                                  <p:stCondLst>
                                    <p:cond delay="250"/>
                                  </p:stCondLst>
                                  <p:childTnLst>
                                    <p:set>
                                      <p:cBhvr>
                                        <p:cTn id="98" dur="1" fill="hold">
                                          <p:stCondLst>
                                            <p:cond delay="0"/>
                                          </p:stCondLst>
                                        </p:cTn>
                                        <p:tgtEl>
                                          <p:spTgt spid="56"/>
                                        </p:tgtEl>
                                        <p:attrNameLst>
                                          <p:attrName>style.visibility</p:attrName>
                                        </p:attrNameLst>
                                      </p:cBhvr>
                                      <p:to>
                                        <p:strVal val="visible"/>
                                      </p:to>
                                    </p:set>
                                    <p:animEffect transition="in" filter="dissolve">
                                      <p:cBhvr>
                                        <p:cTn id="99" dur="500"/>
                                        <p:tgtEl>
                                          <p:spTgt spid="56"/>
                                        </p:tgtEl>
                                      </p:cBhvr>
                                    </p:animEffect>
                                  </p:childTnLst>
                                </p:cTn>
                              </p:par>
                              <p:par>
                                <p:cTn id="100" presetID="9" presetClass="entr" presetSubtype="0" fill="hold" grpId="0" nodeType="withEffect">
                                  <p:stCondLst>
                                    <p:cond delay="250"/>
                                  </p:stCondLst>
                                  <p:childTnLst>
                                    <p:set>
                                      <p:cBhvr>
                                        <p:cTn id="101" dur="1" fill="hold">
                                          <p:stCondLst>
                                            <p:cond delay="0"/>
                                          </p:stCondLst>
                                        </p:cTn>
                                        <p:tgtEl>
                                          <p:spTgt spid="59"/>
                                        </p:tgtEl>
                                        <p:attrNameLst>
                                          <p:attrName>style.visibility</p:attrName>
                                        </p:attrNameLst>
                                      </p:cBhvr>
                                      <p:to>
                                        <p:strVal val="visible"/>
                                      </p:to>
                                    </p:set>
                                    <p:animEffect transition="in" filter="dissolve">
                                      <p:cBhvr>
                                        <p:cTn id="102" dur="500"/>
                                        <p:tgtEl>
                                          <p:spTgt spid="59"/>
                                        </p:tgtEl>
                                      </p:cBhvr>
                                    </p:animEffect>
                                  </p:childTnLst>
                                </p:cTn>
                              </p:par>
                              <p:par>
                                <p:cTn id="103" presetID="9" presetClass="entr" presetSubtype="0" fill="hold" grpId="0" nodeType="withEffect">
                                  <p:stCondLst>
                                    <p:cond delay="250"/>
                                  </p:stCondLst>
                                  <p:childTnLst>
                                    <p:set>
                                      <p:cBhvr>
                                        <p:cTn id="104" dur="1" fill="hold">
                                          <p:stCondLst>
                                            <p:cond delay="0"/>
                                          </p:stCondLst>
                                        </p:cTn>
                                        <p:tgtEl>
                                          <p:spTgt spid="24"/>
                                        </p:tgtEl>
                                        <p:attrNameLst>
                                          <p:attrName>style.visibility</p:attrName>
                                        </p:attrNameLst>
                                      </p:cBhvr>
                                      <p:to>
                                        <p:strVal val="visible"/>
                                      </p:to>
                                    </p:set>
                                    <p:animEffect transition="in" filter="dissolve">
                                      <p:cBhvr>
                                        <p:cTn id="105" dur="500"/>
                                        <p:tgtEl>
                                          <p:spTgt spid="24"/>
                                        </p:tgtEl>
                                      </p:cBhvr>
                                    </p:animEffect>
                                  </p:childTnLst>
                                </p:cTn>
                              </p:par>
                              <p:par>
                                <p:cTn id="106" presetID="9" presetClass="entr" presetSubtype="0" fill="hold" nodeType="withEffect">
                                  <p:stCondLst>
                                    <p:cond delay="250"/>
                                  </p:stCondLst>
                                  <p:childTnLst>
                                    <p:set>
                                      <p:cBhvr>
                                        <p:cTn id="107" dur="1" fill="hold">
                                          <p:stCondLst>
                                            <p:cond delay="0"/>
                                          </p:stCondLst>
                                        </p:cTn>
                                        <p:tgtEl>
                                          <p:spTgt spid="60"/>
                                        </p:tgtEl>
                                        <p:attrNameLst>
                                          <p:attrName>style.visibility</p:attrName>
                                        </p:attrNameLst>
                                      </p:cBhvr>
                                      <p:to>
                                        <p:strVal val="visible"/>
                                      </p:to>
                                    </p:set>
                                    <p:animEffect transition="in" filter="dissolve">
                                      <p:cBhvr>
                                        <p:cTn id="108" dur="500"/>
                                        <p:tgtEl>
                                          <p:spTgt spid="60"/>
                                        </p:tgtEl>
                                      </p:cBhvr>
                                    </p:animEffect>
                                  </p:childTnLst>
                                </p:cTn>
                              </p:par>
                              <p:par>
                                <p:cTn id="109" presetID="9" presetClass="entr" presetSubtype="0" fill="hold" grpId="0" nodeType="withEffect">
                                  <p:stCondLst>
                                    <p:cond delay="250"/>
                                  </p:stCondLst>
                                  <p:childTnLst>
                                    <p:set>
                                      <p:cBhvr>
                                        <p:cTn id="110" dur="1" fill="hold">
                                          <p:stCondLst>
                                            <p:cond delay="0"/>
                                          </p:stCondLst>
                                        </p:cTn>
                                        <p:tgtEl>
                                          <p:spTgt spid="63"/>
                                        </p:tgtEl>
                                        <p:attrNameLst>
                                          <p:attrName>style.visibility</p:attrName>
                                        </p:attrNameLst>
                                      </p:cBhvr>
                                      <p:to>
                                        <p:strVal val="visible"/>
                                      </p:to>
                                    </p:set>
                                    <p:animEffect transition="in" filter="dissolve">
                                      <p:cBhvr>
                                        <p:cTn id="111" dur="500"/>
                                        <p:tgtEl>
                                          <p:spTgt spid="63"/>
                                        </p:tgtEl>
                                      </p:cBhvr>
                                    </p:animEffect>
                                  </p:childTnLst>
                                </p:cTn>
                              </p:par>
                              <p:par>
                                <p:cTn id="112" presetID="9" presetClass="entr" presetSubtype="0" fill="hold" nodeType="withEffect">
                                  <p:stCondLst>
                                    <p:cond delay="250"/>
                                  </p:stCondLst>
                                  <p:childTnLst>
                                    <p:set>
                                      <p:cBhvr>
                                        <p:cTn id="113" dur="1" fill="hold">
                                          <p:stCondLst>
                                            <p:cond delay="0"/>
                                          </p:stCondLst>
                                        </p:cTn>
                                        <p:tgtEl>
                                          <p:spTgt spid="64"/>
                                        </p:tgtEl>
                                        <p:attrNameLst>
                                          <p:attrName>style.visibility</p:attrName>
                                        </p:attrNameLst>
                                      </p:cBhvr>
                                      <p:to>
                                        <p:strVal val="visible"/>
                                      </p:to>
                                    </p:set>
                                    <p:animEffect transition="in" filter="dissolve">
                                      <p:cBhvr>
                                        <p:cTn id="114" dur="500"/>
                                        <p:tgtEl>
                                          <p:spTgt spid="64"/>
                                        </p:tgtEl>
                                      </p:cBhvr>
                                    </p:animEffect>
                                  </p:childTnLst>
                                </p:cTn>
                              </p:par>
                              <p:par>
                                <p:cTn id="115" presetID="9" presetClass="entr" presetSubtype="0" fill="hold" grpId="0" nodeType="withEffect">
                                  <p:stCondLst>
                                    <p:cond delay="250"/>
                                  </p:stCondLst>
                                  <p:childTnLst>
                                    <p:set>
                                      <p:cBhvr>
                                        <p:cTn id="116" dur="1" fill="hold">
                                          <p:stCondLst>
                                            <p:cond delay="0"/>
                                          </p:stCondLst>
                                        </p:cTn>
                                        <p:tgtEl>
                                          <p:spTgt spid="67"/>
                                        </p:tgtEl>
                                        <p:attrNameLst>
                                          <p:attrName>style.visibility</p:attrName>
                                        </p:attrNameLst>
                                      </p:cBhvr>
                                      <p:to>
                                        <p:strVal val="visible"/>
                                      </p:to>
                                    </p:set>
                                    <p:animEffect transition="in" filter="dissolve">
                                      <p:cBhvr>
                                        <p:cTn id="117" dur="500"/>
                                        <p:tgtEl>
                                          <p:spTgt spid="67"/>
                                        </p:tgtEl>
                                      </p:cBhvr>
                                    </p:animEffect>
                                  </p:childTnLst>
                                </p:cTn>
                              </p:par>
                              <p:par>
                                <p:cTn id="118" presetID="9" presetClass="entr" presetSubtype="0" fill="hold" nodeType="withEffect">
                                  <p:stCondLst>
                                    <p:cond delay="250"/>
                                  </p:stCondLst>
                                  <p:childTnLst>
                                    <p:set>
                                      <p:cBhvr>
                                        <p:cTn id="119" dur="1" fill="hold">
                                          <p:stCondLst>
                                            <p:cond delay="0"/>
                                          </p:stCondLst>
                                        </p:cTn>
                                        <p:tgtEl>
                                          <p:spTgt spid="68"/>
                                        </p:tgtEl>
                                        <p:attrNameLst>
                                          <p:attrName>style.visibility</p:attrName>
                                        </p:attrNameLst>
                                      </p:cBhvr>
                                      <p:to>
                                        <p:strVal val="visible"/>
                                      </p:to>
                                    </p:set>
                                    <p:animEffect transition="in" filter="dissolve">
                                      <p:cBhvr>
                                        <p:cTn id="120" dur="500"/>
                                        <p:tgtEl>
                                          <p:spTgt spid="68"/>
                                        </p:tgtEl>
                                      </p:cBhvr>
                                    </p:animEffect>
                                  </p:childTnLst>
                                </p:cTn>
                              </p:par>
                              <p:par>
                                <p:cTn id="121" presetID="9" presetClass="entr" presetSubtype="0" fill="hold" grpId="0" nodeType="withEffect">
                                  <p:stCondLst>
                                    <p:cond delay="250"/>
                                  </p:stCondLst>
                                  <p:childTnLst>
                                    <p:set>
                                      <p:cBhvr>
                                        <p:cTn id="122" dur="1" fill="hold">
                                          <p:stCondLst>
                                            <p:cond delay="0"/>
                                          </p:stCondLst>
                                        </p:cTn>
                                        <p:tgtEl>
                                          <p:spTgt spid="71"/>
                                        </p:tgtEl>
                                        <p:attrNameLst>
                                          <p:attrName>style.visibility</p:attrName>
                                        </p:attrNameLst>
                                      </p:cBhvr>
                                      <p:to>
                                        <p:strVal val="visible"/>
                                      </p:to>
                                    </p:set>
                                    <p:animEffect transition="in" filter="dissolve">
                                      <p:cBhvr>
                                        <p:cTn id="123" dur="500"/>
                                        <p:tgtEl>
                                          <p:spTgt spid="71"/>
                                        </p:tgtEl>
                                      </p:cBhvr>
                                    </p:animEffect>
                                  </p:childTnLst>
                                </p:cTn>
                              </p:par>
                              <p:par>
                                <p:cTn id="124" presetID="9" presetClass="entr" presetSubtype="0" fill="hold" grpId="0" nodeType="withEffect">
                                  <p:stCondLst>
                                    <p:cond delay="250"/>
                                  </p:stCondLst>
                                  <p:childTnLst>
                                    <p:set>
                                      <p:cBhvr>
                                        <p:cTn id="125" dur="1" fill="hold">
                                          <p:stCondLst>
                                            <p:cond delay="0"/>
                                          </p:stCondLst>
                                        </p:cTn>
                                        <p:tgtEl>
                                          <p:spTgt spid="73"/>
                                        </p:tgtEl>
                                        <p:attrNameLst>
                                          <p:attrName>style.visibility</p:attrName>
                                        </p:attrNameLst>
                                      </p:cBhvr>
                                      <p:to>
                                        <p:strVal val="visible"/>
                                      </p:to>
                                    </p:set>
                                    <p:animEffect transition="in" filter="dissolve">
                                      <p:cBhvr>
                                        <p:cTn id="126" dur="500"/>
                                        <p:tgtEl>
                                          <p:spTgt spid="73"/>
                                        </p:tgtEl>
                                      </p:cBhvr>
                                    </p:animEffect>
                                  </p:childTnLst>
                                </p:cTn>
                              </p:par>
                              <p:par>
                                <p:cTn id="127" presetID="9" presetClass="entr" presetSubtype="0" fill="hold" nodeType="withEffect">
                                  <p:stCondLst>
                                    <p:cond delay="250"/>
                                  </p:stCondLst>
                                  <p:childTnLst>
                                    <p:set>
                                      <p:cBhvr>
                                        <p:cTn id="128" dur="1" fill="hold">
                                          <p:stCondLst>
                                            <p:cond delay="0"/>
                                          </p:stCondLst>
                                        </p:cTn>
                                        <p:tgtEl>
                                          <p:spTgt spid="83"/>
                                        </p:tgtEl>
                                        <p:attrNameLst>
                                          <p:attrName>style.visibility</p:attrName>
                                        </p:attrNameLst>
                                      </p:cBhvr>
                                      <p:to>
                                        <p:strVal val="visible"/>
                                      </p:to>
                                    </p:set>
                                    <p:animEffect transition="in" filter="dissolve">
                                      <p:cBhvr>
                                        <p:cTn id="129" dur="500"/>
                                        <p:tgtEl>
                                          <p:spTgt spid="83"/>
                                        </p:tgtEl>
                                      </p:cBhvr>
                                    </p:animEffect>
                                  </p:childTnLst>
                                </p:cTn>
                              </p:par>
                              <p:par>
                                <p:cTn id="130" presetID="9" presetClass="entr" presetSubtype="0" fill="hold" nodeType="withEffect">
                                  <p:stCondLst>
                                    <p:cond delay="250"/>
                                  </p:stCondLst>
                                  <p:childTnLst>
                                    <p:set>
                                      <p:cBhvr>
                                        <p:cTn id="131" dur="1" fill="hold">
                                          <p:stCondLst>
                                            <p:cond delay="0"/>
                                          </p:stCondLst>
                                        </p:cTn>
                                        <p:tgtEl>
                                          <p:spTgt spid="86"/>
                                        </p:tgtEl>
                                        <p:attrNameLst>
                                          <p:attrName>style.visibility</p:attrName>
                                        </p:attrNameLst>
                                      </p:cBhvr>
                                      <p:to>
                                        <p:strVal val="visible"/>
                                      </p:to>
                                    </p:set>
                                    <p:animEffect transition="in" filter="dissolve">
                                      <p:cBhvr>
                                        <p:cTn id="132" dur="500"/>
                                        <p:tgtEl>
                                          <p:spTgt spid="86"/>
                                        </p:tgtEl>
                                      </p:cBhvr>
                                    </p:animEffect>
                                  </p:childTnLst>
                                </p:cTn>
                              </p:par>
                              <p:par>
                                <p:cTn id="133" presetID="9" presetClass="entr" presetSubtype="0" fill="hold" nodeType="withEffect">
                                  <p:stCondLst>
                                    <p:cond delay="250"/>
                                  </p:stCondLst>
                                  <p:childTnLst>
                                    <p:set>
                                      <p:cBhvr>
                                        <p:cTn id="134" dur="1" fill="hold">
                                          <p:stCondLst>
                                            <p:cond delay="0"/>
                                          </p:stCondLst>
                                        </p:cTn>
                                        <p:tgtEl>
                                          <p:spTgt spid="89"/>
                                        </p:tgtEl>
                                        <p:attrNameLst>
                                          <p:attrName>style.visibility</p:attrName>
                                        </p:attrNameLst>
                                      </p:cBhvr>
                                      <p:to>
                                        <p:strVal val="visible"/>
                                      </p:to>
                                    </p:set>
                                    <p:animEffect transition="in" filter="dissolve">
                                      <p:cBhvr>
                                        <p:cTn id="135" dur="500"/>
                                        <p:tgtEl>
                                          <p:spTgt spid="89"/>
                                        </p:tgtEl>
                                      </p:cBhvr>
                                    </p:animEffect>
                                  </p:childTnLst>
                                </p:cTn>
                              </p:par>
                              <p:par>
                                <p:cTn id="136" presetID="9" presetClass="entr" presetSubtype="0" fill="hold" nodeType="withEffect">
                                  <p:stCondLst>
                                    <p:cond delay="250"/>
                                  </p:stCondLst>
                                  <p:childTnLst>
                                    <p:set>
                                      <p:cBhvr>
                                        <p:cTn id="137" dur="1" fill="hold">
                                          <p:stCondLst>
                                            <p:cond delay="0"/>
                                          </p:stCondLst>
                                        </p:cTn>
                                        <p:tgtEl>
                                          <p:spTgt spid="92"/>
                                        </p:tgtEl>
                                        <p:attrNameLst>
                                          <p:attrName>style.visibility</p:attrName>
                                        </p:attrNameLst>
                                      </p:cBhvr>
                                      <p:to>
                                        <p:strVal val="visible"/>
                                      </p:to>
                                    </p:set>
                                    <p:animEffect transition="in" filter="dissolve">
                                      <p:cBhvr>
                                        <p:cTn id="138" dur="500"/>
                                        <p:tgtEl>
                                          <p:spTgt spid="92"/>
                                        </p:tgtEl>
                                      </p:cBhvr>
                                    </p:animEffect>
                                  </p:childTnLst>
                                </p:cTn>
                              </p:par>
                              <p:par>
                                <p:cTn id="139" presetID="9" presetClass="entr" presetSubtype="0" fill="hold" nodeType="withEffect">
                                  <p:stCondLst>
                                    <p:cond delay="250"/>
                                  </p:stCondLst>
                                  <p:childTnLst>
                                    <p:set>
                                      <p:cBhvr>
                                        <p:cTn id="140" dur="1" fill="hold">
                                          <p:stCondLst>
                                            <p:cond delay="0"/>
                                          </p:stCondLst>
                                        </p:cTn>
                                        <p:tgtEl>
                                          <p:spTgt spid="95"/>
                                        </p:tgtEl>
                                        <p:attrNameLst>
                                          <p:attrName>style.visibility</p:attrName>
                                        </p:attrNameLst>
                                      </p:cBhvr>
                                      <p:to>
                                        <p:strVal val="visible"/>
                                      </p:to>
                                    </p:set>
                                    <p:animEffect transition="in" filter="dissolve">
                                      <p:cBhvr>
                                        <p:cTn id="141"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p:bldP spid="6" grpId="0"/>
      <p:bldP spid="8" grpId="0" animBg="1"/>
      <p:bldP spid="9" grpId="0"/>
      <p:bldP spid="10" grpId="0" animBg="1"/>
      <p:bldP spid="17" grpId="0" animBg="1"/>
      <p:bldP spid="18" grpId="0" animBg="1"/>
      <p:bldP spid="19" grpId="0"/>
      <p:bldP spid="22" grpId="0"/>
      <p:bldP spid="23" grpId="0" animBg="1"/>
      <p:bldP spid="24" grpId="0" animBg="1"/>
      <p:bldP spid="25" grpId="0"/>
      <p:bldP spid="26" grpId="0" animBg="1"/>
      <p:bldP spid="27" grpId="0" animBg="1"/>
      <p:bldP spid="28" grpId="0" animBg="1"/>
      <p:bldP spid="54" grpId="0" animBg="1"/>
      <p:bldP spid="59" grpId="0" animBg="1"/>
      <p:bldP spid="63" grpId="0" animBg="1"/>
      <p:bldP spid="67" grpId="0" animBg="1"/>
      <p:bldP spid="71" grpId="0" animBg="1"/>
      <p:bldP spid="72" grpId="0" animBg="1"/>
      <p:bldP spid="7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FC706960-11A8-7101-802A-B0F60BEAE79D}"/>
              </a:ext>
            </a:extLst>
          </p:cNvPr>
          <p:cNvSpPr>
            <a:spLocks noGrp="1"/>
          </p:cNvSpPr>
          <p:nvPr>
            <p:ph type="title"/>
          </p:nvPr>
        </p:nvSpPr>
        <p:spPr/>
        <p:txBody>
          <a:bodyPr/>
          <a:lstStyle/>
          <a:p>
            <a:r>
              <a:rPr lang="de-DE" dirty="0" err="1">
                <a:solidFill>
                  <a:srgbClr val="333333"/>
                </a:solidFill>
                <a:latin typeface="Segoe UI" panose="020B0502040204020203" pitchFamily="34" charset="0"/>
              </a:rPr>
              <a:t>Condition</a:t>
            </a:r>
            <a:r>
              <a:rPr lang="de-DE" dirty="0">
                <a:solidFill>
                  <a:srgbClr val="333333"/>
                </a:solidFill>
                <a:latin typeface="Segoe UI" panose="020B0502040204020203" pitchFamily="34" charset="0"/>
              </a:rPr>
              <a:t> Monitoring – Wie es funktioniert</a:t>
            </a:r>
            <a:endParaRPr lang="de-DE" dirty="0"/>
          </a:p>
        </p:txBody>
      </p:sp>
      <p:sp>
        <p:nvSpPr>
          <p:cNvPr id="12" name="Textplatzhalter 11">
            <a:extLst>
              <a:ext uri="{FF2B5EF4-FFF2-40B4-BE49-F238E27FC236}">
                <a16:creationId xmlns:a16="http://schemas.microsoft.com/office/drawing/2014/main" id="{43C5ED29-52DE-D404-4D8C-B1ADC62938B1}"/>
              </a:ext>
            </a:extLst>
          </p:cNvPr>
          <p:cNvSpPr>
            <a:spLocks noGrp="1"/>
          </p:cNvSpPr>
          <p:nvPr>
            <p:ph type="body" sz="quarter" idx="17"/>
          </p:nvPr>
        </p:nvSpPr>
        <p:spPr/>
        <p:txBody>
          <a:bodyPr/>
          <a:lstStyle/>
          <a:p>
            <a:endParaRPr lang="de-DE" sz="2000" dirty="0"/>
          </a:p>
        </p:txBody>
      </p:sp>
      <p:sp>
        <p:nvSpPr>
          <p:cNvPr id="13" name="Foliennummernplatzhalter 12">
            <a:extLst>
              <a:ext uri="{FF2B5EF4-FFF2-40B4-BE49-F238E27FC236}">
                <a16:creationId xmlns:a16="http://schemas.microsoft.com/office/drawing/2014/main" id="{47C7963C-F72E-0091-783C-63323B969B2E}"/>
              </a:ext>
            </a:extLst>
          </p:cNvPr>
          <p:cNvSpPr>
            <a:spLocks noGrp="1"/>
          </p:cNvSpPr>
          <p:nvPr>
            <p:ph type="sldNum" sz="quarter" idx="4"/>
          </p:nvPr>
        </p:nvSpPr>
        <p:spPr/>
        <p:txBody>
          <a:bodyPr/>
          <a:lstStyle/>
          <a:p>
            <a:fld id="{8D57957C-F0F3-7842-B0E2-B762F92D6487}" type="slidenum">
              <a:rPr lang="de-DE" b="0" smtClean="0">
                <a:solidFill>
                  <a:schemeClr val="tx1"/>
                </a:solidFill>
              </a:rPr>
              <a:pPr/>
              <a:t>11</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4" name="Fußzeilenplatzhalter 13">
            <a:extLst>
              <a:ext uri="{FF2B5EF4-FFF2-40B4-BE49-F238E27FC236}">
                <a16:creationId xmlns:a16="http://schemas.microsoft.com/office/drawing/2014/main" id="{CC2ADE52-F17F-0C47-3206-816D34D59D30}"/>
              </a:ext>
            </a:extLst>
          </p:cNvPr>
          <p:cNvSpPr>
            <a:spLocks noGrp="1"/>
          </p:cNvSpPr>
          <p:nvPr>
            <p:ph type="ftr" sz="quarter" idx="3"/>
          </p:nvPr>
        </p:nvSpPr>
        <p:spPr/>
        <p:txBody>
          <a:bodyPr/>
          <a:lstStyle/>
          <a:p>
            <a:r>
              <a:rPr lang="de-DE"/>
              <a:t>Technischer Kundendienst</a:t>
            </a:r>
            <a:endParaRPr lang="de-DE" dirty="0"/>
          </a:p>
        </p:txBody>
      </p:sp>
      <p:sp>
        <p:nvSpPr>
          <p:cNvPr id="55" name="Datumsplatzhalter 54">
            <a:extLst>
              <a:ext uri="{FF2B5EF4-FFF2-40B4-BE49-F238E27FC236}">
                <a16:creationId xmlns:a16="http://schemas.microsoft.com/office/drawing/2014/main" id="{834ED672-3BD6-0C35-3328-94B677B07D8D}"/>
              </a:ext>
            </a:extLst>
          </p:cNvPr>
          <p:cNvSpPr>
            <a:spLocks noGrp="1"/>
          </p:cNvSpPr>
          <p:nvPr>
            <p:ph type="dt" sz="half" idx="2"/>
          </p:nvPr>
        </p:nvSpPr>
        <p:spPr/>
        <p:txBody>
          <a:bodyPr/>
          <a:lstStyle/>
          <a:p>
            <a:fld id="{27C0C552-54B7-4F0D-B901-96BCDB04340B}" type="datetime1">
              <a:rPr lang="de-DE" smtClean="0"/>
              <a:pPr/>
              <a:t>20.04.2023</a:t>
            </a:fld>
            <a:endParaRPr lang="de-DE" dirty="0"/>
          </a:p>
        </p:txBody>
      </p:sp>
      <p:pic>
        <p:nvPicPr>
          <p:cNvPr id="37" name="Picture 8" descr="servicevereinbarungen wartung7459">
            <a:hlinkClick r:id="" action="ppaction://noaction"/>
            <a:extLst>
              <a:ext uri="{FF2B5EF4-FFF2-40B4-BE49-F238E27FC236}">
                <a16:creationId xmlns:a16="http://schemas.microsoft.com/office/drawing/2014/main" id="{DDE5BE9E-99AD-9480-7185-902CF05D32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6451" y="4488647"/>
            <a:ext cx="1596540" cy="1063694"/>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sp>
        <p:nvSpPr>
          <p:cNvPr id="38" name="Flussdiagramm: Verbinder 37">
            <a:extLst>
              <a:ext uri="{FF2B5EF4-FFF2-40B4-BE49-F238E27FC236}">
                <a16:creationId xmlns:a16="http://schemas.microsoft.com/office/drawing/2014/main" id="{325F0BD4-7A0D-D9B5-3BE7-D6F4B1667CBE}"/>
              </a:ext>
            </a:extLst>
          </p:cNvPr>
          <p:cNvSpPr/>
          <p:nvPr/>
        </p:nvSpPr>
        <p:spPr>
          <a:xfrm>
            <a:off x="8233689" y="1620413"/>
            <a:ext cx="692458" cy="701336"/>
          </a:xfrm>
          <a:prstGeom prst="flowChartConnector">
            <a:avLst/>
          </a:prstGeom>
          <a:solidFill>
            <a:schemeClr val="lt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9" name="Picture 2" descr="CallCenter7109">
            <a:hlinkClick r:id="" action="ppaction://noaction"/>
            <a:extLst>
              <a:ext uri="{FF2B5EF4-FFF2-40B4-BE49-F238E27FC236}">
                <a16:creationId xmlns:a16="http://schemas.microsoft.com/office/drawing/2014/main" id="{08A8B527-A545-62B6-05ED-9671085496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26451" y="1553328"/>
            <a:ext cx="1596540" cy="1063695"/>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40" name="Picture 2" descr="Quellbild anzeigen">
            <a:hlinkClick r:id="" action="ppaction://noaction"/>
            <a:extLst>
              <a:ext uri="{FF2B5EF4-FFF2-40B4-BE49-F238E27FC236}">
                <a16:creationId xmlns:a16="http://schemas.microsoft.com/office/drawing/2014/main" id="{3E149026-5E47-52EB-A246-21D41335607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7096" b="5548"/>
          <a:stretch/>
        </p:blipFill>
        <p:spPr bwMode="auto">
          <a:xfrm>
            <a:off x="9626451" y="3043825"/>
            <a:ext cx="1623531" cy="1063694"/>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sp>
        <p:nvSpPr>
          <p:cNvPr id="41" name="Pfeil: Fünfeck 40">
            <a:extLst>
              <a:ext uri="{FF2B5EF4-FFF2-40B4-BE49-F238E27FC236}">
                <a16:creationId xmlns:a16="http://schemas.microsoft.com/office/drawing/2014/main" id="{BE77BF96-F2F8-62DF-914D-37168899FAF5}"/>
              </a:ext>
            </a:extLst>
          </p:cNvPr>
          <p:cNvSpPr/>
          <p:nvPr/>
        </p:nvSpPr>
        <p:spPr>
          <a:xfrm>
            <a:off x="6680028" y="3294668"/>
            <a:ext cx="1401374" cy="334951"/>
          </a:xfrm>
          <a:prstGeom prst="homePlate">
            <a:avLst>
              <a:gd name="adj" fmla="val 50000"/>
            </a:avLst>
          </a:prstGeom>
          <a:solidFill>
            <a:srgbClr val="C9D961"/>
          </a:solidFill>
          <a:ln w="12700" cap="flat" cmpd="sng" algn="ctr">
            <a:solidFill>
              <a:srgbClr val="C9D96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pic>
        <p:nvPicPr>
          <p:cNvPr id="42" name="Grafik 41" descr="Schraubenschlüssel Silhouette">
            <a:extLst>
              <a:ext uri="{FF2B5EF4-FFF2-40B4-BE49-F238E27FC236}">
                <a16:creationId xmlns:a16="http://schemas.microsoft.com/office/drawing/2014/main" id="{633ACCAF-0EA3-C67F-9635-0ABC6DB2D2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676415">
            <a:off x="8445650" y="1629803"/>
            <a:ext cx="268535" cy="268535"/>
          </a:xfrm>
          <a:prstGeom prst="rect">
            <a:avLst/>
          </a:prstGeom>
        </p:spPr>
      </p:pic>
      <p:pic>
        <p:nvPicPr>
          <p:cNvPr id="43" name="Grafik 42" descr="Callcenter Silhouette">
            <a:extLst>
              <a:ext uri="{FF2B5EF4-FFF2-40B4-BE49-F238E27FC236}">
                <a16:creationId xmlns:a16="http://schemas.microsoft.com/office/drawing/2014/main" id="{4894142E-465E-9FC2-86E4-A2227572822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43559" y="1774156"/>
            <a:ext cx="472718" cy="472718"/>
          </a:xfrm>
          <a:prstGeom prst="rect">
            <a:avLst/>
          </a:prstGeom>
        </p:spPr>
      </p:pic>
      <p:sp>
        <p:nvSpPr>
          <p:cNvPr id="44" name="Pfeil: Fünfeck 43">
            <a:extLst>
              <a:ext uri="{FF2B5EF4-FFF2-40B4-BE49-F238E27FC236}">
                <a16:creationId xmlns:a16="http://schemas.microsoft.com/office/drawing/2014/main" id="{F7C97AA5-518E-1CC0-1F77-03A914F525B0}"/>
              </a:ext>
            </a:extLst>
          </p:cNvPr>
          <p:cNvSpPr/>
          <p:nvPr/>
        </p:nvSpPr>
        <p:spPr>
          <a:xfrm>
            <a:off x="4081687" y="3294668"/>
            <a:ext cx="1411550" cy="334951"/>
          </a:xfrm>
          <a:prstGeom prst="homePlate">
            <a:avLst/>
          </a:prstGeom>
          <a:solidFill>
            <a:srgbClr val="C9D961"/>
          </a:solidFill>
          <a:ln w="12700" cap="flat" cmpd="sng" algn="ctr">
            <a:solidFill>
              <a:srgbClr val="C9D96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45" name="Pfeil: Fünfeck 44">
            <a:extLst>
              <a:ext uri="{FF2B5EF4-FFF2-40B4-BE49-F238E27FC236}">
                <a16:creationId xmlns:a16="http://schemas.microsoft.com/office/drawing/2014/main" id="{6A704F13-338C-6E07-D6DC-6137189AC779}"/>
              </a:ext>
            </a:extLst>
          </p:cNvPr>
          <p:cNvSpPr/>
          <p:nvPr/>
        </p:nvSpPr>
        <p:spPr>
          <a:xfrm>
            <a:off x="1639251" y="3294668"/>
            <a:ext cx="1411550" cy="334951"/>
          </a:xfrm>
          <a:prstGeom prst="homePlate">
            <a:avLst/>
          </a:prstGeom>
          <a:solidFill>
            <a:srgbClr val="C9D961"/>
          </a:solidFill>
          <a:ln w="12700" cap="flat" cmpd="sng" algn="ctr">
            <a:solidFill>
              <a:srgbClr val="C9D96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46" name="Flussdiagramm: Verbinder 45">
            <a:extLst>
              <a:ext uri="{FF2B5EF4-FFF2-40B4-BE49-F238E27FC236}">
                <a16:creationId xmlns:a16="http://schemas.microsoft.com/office/drawing/2014/main" id="{C75F2F56-90A5-9990-A9AC-DAE362E0C717}"/>
              </a:ext>
            </a:extLst>
          </p:cNvPr>
          <p:cNvSpPr/>
          <p:nvPr/>
        </p:nvSpPr>
        <p:spPr>
          <a:xfrm>
            <a:off x="8232964" y="3122456"/>
            <a:ext cx="692458" cy="701336"/>
          </a:xfrm>
          <a:prstGeom prst="flowChartConnector">
            <a:avLst/>
          </a:prstGeom>
          <a:solidFill>
            <a:schemeClr val="lt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7" name="Grafik 46" descr="Smartphone Silhouette">
            <a:extLst>
              <a:ext uri="{FF2B5EF4-FFF2-40B4-BE49-F238E27FC236}">
                <a16:creationId xmlns:a16="http://schemas.microsoft.com/office/drawing/2014/main" id="{34CD7422-8F87-9BD2-E357-9FEEC9E3BC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40986" y="3253824"/>
            <a:ext cx="476414" cy="476414"/>
          </a:xfrm>
          <a:prstGeom prst="rect">
            <a:avLst/>
          </a:prstGeom>
        </p:spPr>
      </p:pic>
      <p:sp>
        <p:nvSpPr>
          <p:cNvPr id="48" name="Flussdiagramm: Verbinder 47">
            <a:extLst>
              <a:ext uri="{FF2B5EF4-FFF2-40B4-BE49-F238E27FC236}">
                <a16:creationId xmlns:a16="http://schemas.microsoft.com/office/drawing/2014/main" id="{302D2B88-5568-4C56-2B71-D846F8AC1E85}"/>
              </a:ext>
            </a:extLst>
          </p:cNvPr>
          <p:cNvSpPr/>
          <p:nvPr/>
        </p:nvSpPr>
        <p:spPr>
          <a:xfrm>
            <a:off x="8234046" y="4577338"/>
            <a:ext cx="692458" cy="701336"/>
          </a:xfrm>
          <a:prstGeom prst="flowChartConnector">
            <a:avLst/>
          </a:prstGeom>
          <a:solidFill>
            <a:schemeClr val="lt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9" name="Grafik 48" descr="Tools Silhouette">
            <a:extLst>
              <a:ext uri="{FF2B5EF4-FFF2-40B4-BE49-F238E27FC236}">
                <a16:creationId xmlns:a16="http://schemas.microsoft.com/office/drawing/2014/main" id="{A5446625-70D3-F2B3-6FFE-A607DD4B9DA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51575" y="4729948"/>
            <a:ext cx="453882" cy="453882"/>
          </a:xfrm>
          <a:prstGeom prst="rect">
            <a:avLst/>
          </a:prstGeom>
        </p:spPr>
      </p:pic>
      <p:sp>
        <p:nvSpPr>
          <p:cNvPr id="50" name="Flussdiagramm: Verbinder 49">
            <a:extLst>
              <a:ext uri="{FF2B5EF4-FFF2-40B4-BE49-F238E27FC236}">
                <a16:creationId xmlns:a16="http://schemas.microsoft.com/office/drawing/2014/main" id="{7CE3DA02-50BA-5FA9-5DFE-257610E3AA86}"/>
              </a:ext>
            </a:extLst>
          </p:cNvPr>
          <p:cNvSpPr/>
          <p:nvPr/>
        </p:nvSpPr>
        <p:spPr>
          <a:xfrm>
            <a:off x="3191281" y="3096977"/>
            <a:ext cx="692458" cy="701336"/>
          </a:xfrm>
          <a:prstGeom prst="flowChartConnector">
            <a:avLst/>
          </a:prstGeom>
          <a:solidFill>
            <a:schemeClr val="lt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51" name="Grafik 50" descr="Statistiken Silhouette">
            <a:extLst>
              <a:ext uri="{FF2B5EF4-FFF2-40B4-BE49-F238E27FC236}">
                <a16:creationId xmlns:a16="http://schemas.microsoft.com/office/drawing/2014/main" id="{9F0AEAD0-AA15-79E7-6678-047BAA9C7FD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273520" y="3182628"/>
            <a:ext cx="553675" cy="553675"/>
          </a:xfrm>
          <a:prstGeom prst="rect">
            <a:avLst/>
          </a:prstGeom>
        </p:spPr>
      </p:pic>
      <p:sp>
        <p:nvSpPr>
          <p:cNvPr id="52" name="Flussdiagramm: Verbinder 51">
            <a:extLst>
              <a:ext uri="{FF2B5EF4-FFF2-40B4-BE49-F238E27FC236}">
                <a16:creationId xmlns:a16="http://schemas.microsoft.com/office/drawing/2014/main" id="{3296E07A-BE95-BE95-B34B-EB3EBDE49244}"/>
              </a:ext>
            </a:extLst>
          </p:cNvPr>
          <p:cNvSpPr/>
          <p:nvPr/>
        </p:nvSpPr>
        <p:spPr>
          <a:xfrm>
            <a:off x="732792" y="3118970"/>
            <a:ext cx="692458" cy="701336"/>
          </a:xfrm>
          <a:prstGeom prst="flowChartConnector">
            <a:avLst/>
          </a:prstGeom>
          <a:solidFill>
            <a:schemeClr val="lt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3" name="Textfeld 52">
            <a:extLst>
              <a:ext uri="{FF2B5EF4-FFF2-40B4-BE49-F238E27FC236}">
                <a16:creationId xmlns:a16="http://schemas.microsoft.com/office/drawing/2014/main" id="{E8D06972-D406-29CD-EAC1-BD8DDBF81205}"/>
              </a:ext>
            </a:extLst>
          </p:cNvPr>
          <p:cNvSpPr txBox="1"/>
          <p:nvPr/>
        </p:nvSpPr>
        <p:spPr>
          <a:xfrm>
            <a:off x="285097" y="3866560"/>
            <a:ext cx="1504604"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srgbClr val="333333"/>
                </a:solidFill>
                <a:effectLst/>
                <a:uLnTx/>
                <a:uFillTx/>
                <a:latin typeface="Arial" panose="020B0604020202020204"/>
                <a:ea typeface="+mn-ea"/>
                <a:cs typeface="+mn-cs"/>
              </a:rPr>
              <a:t>Zustandsdaten der Maschine</a:t>
            </a:r>
          </a:p>
        </p:txBody>
      </p:sp>
      <p:sp>
        <p:nvSpPr>
          <p:cNvPr id="98" name="Textfeld 97">
            <a:extLst>
              <a:ext uri="{FF2B5EF4-FFF2-40B4-BE49-F238E27FC236}">
                <a16:creationId xmlns:a16="http://schemas.microsoft.com/office/drawing/2014/main" id="{DBEE3DE5-8CC3-5728-5280-FD9902170EBD}"/>
              </a:ext>
            </a:extLst>
          </p:cNvPr>
          <p:cNvSpPr txBox="1"/>
          <p:nvPr/>
        </p:nvSpPr>
        <p:spPr>
          <a:xfrm>
            <a:off x="2762358" y="3866560"/>
            <a:ext cx="1504604" cy="100027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sz="1000" b="1" i="0" u="none" strike="noStrike" kern="1200" cap="none" spc="0" normalizeH="0" baseline="0" noProof="0" dirty="0">
                <a:ln>
                  <a:noFill/>
                </a:ln>
                <a:solidFill>
                  <a:srgbClr val="333333"/>
                </a:solidFill>
                <a:effectLst/>
                <a:uLnTx/>
                <a:uFillTx/>
                <a:latin typeface="Arial" panose="020B0604020202020204"/>
                <a:ea typeface="+mn-ea"/>
              </a:rPr>
              <a:t>Monitoring des Maschinenzustand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rPr>
              <a:t>Zustandsdaten der Maschine werden aktiv von TRUMPF gemonitort und analysiert. </a:t>
            </a:r>
            <a:endParaRPr kumimoji="0" lang="de-DE" sz="1000" b="0" i="0" u="none" strike="noStrike" kern="1200" cap="none" spc="0" normalizeH="0" baseline="0" noProof="0" dirty="0">
              <a:ln>
                <a:noFill/>
              </a:ln>
              <a:solidFill>
                <a:srgbClr val="333333"/>
              </a:solidFill>
              <a:effectLst/>
              <a:uLnTx/>
              <a:uFillTx/>
              <a:latin typeface="Arial" panose="020B0604020202020204"/>
              <a:ea typeface="+mn-ea"/>
              <a:cs typeface="Arial"/>
            </a:endParaRPr>
          </a:p>
        </p:txBody>
      </p:sp>
      <p:sp>
        <p:nvSpPr>
          <p:cNvPr id="99" name="Textfeld 98">
            <a:extLst>
              <a:ext uri="{FF2B5EF4-FFF2-40B4-BE49-F238E27FC236}">
                <a16:creationId xmlns:a16="http://schemas.microsoft.com/office/drawing/2014/main" id="{7CA045D9-2488-EC43-43F5-3E114853AB82}"/>
              </a:ext>
            </a:extLst>
          </p:cNvPr>
          <p:cNvSpPr txBox="1"/>
          <p:nvPr/>
        </p:nvSpPr>
        <p:spPr>
          <a:xfrm>
            <a:off x="7826214" y="2356008"/>
            <a:ext cx="150460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333333"/>
                </a:solidFill>
                <a:effectLst/>
                <a:uLnTx/>
                <a:uFillTx/>
                <a:latin typeface="Arial" panose="020B0604020202020204"/>
                <a:ea typeface="+mn-ea"/>
                <a:cs typeface="+mn-cs"/>
              </a:rPr>
              <a:t>Kontakt über </a:t>
            </a:r>
            <a:r>
              <a:rPr kumimoji="0" lang="de-DE" sz="1200" b="1" i="0" u="none" strike="noStrike" kern="1200" cap="none" spc="0" normalizeH="0" baseline="0" noProof="0" dirty="0" err="1">
                <a:ln>
                  <a:noFill/>
                </a:ln>
                <a:solidFill>
                  <a:srgbClr val="333333"/>
                </a:solidFill>
                <a:effectLst/>
                <a:uLnTx/>
                <a:uFillTx/>
                <a:latin typeface="Arial" panose="020B0604020202020204"/>
                <a:ea typeface="+mn-ea"/>
                <a:cs typeface="+mn-cs"/>
              </a:rPr>
              <a:t>Proactive</a:t>
            </a:r>
            <a:r>
              <a:rPr kumimoji="0" lang="de-DE" sz="1200" b="1" i="0" u="none" strike="noStrike" kern="1200" cap="none" spc="0" normalizeH="0" baseline="0" noProof="0" dirty="0">
                <a:ln>
                  <a:noFill/>
                </a:ln>
                <a:solidFill>
                  <a:srgbClr val="333333"/>
                </a:solidFill>
                <a:effectLst/>
                <a:uLnTx/>
                <a:uFillTx/>
                <a:latin typeface="Arial" panose="020B0604020202020204"/>
                <a:ea typeface="+mn-ea"/>
                <a:cs typeface="+mn-cs"/>
              </a:rPr>
              <a:t> Calls</a:t>
            </a:r>
          </a:p>
        </p:txBody>
      </p:sp>
      <p:sp>
        <p:nvSpPr>
          <p:cNvPr id="100" name="Textfeld 99">
            <a:extLst>
              <a:ext uri="{FF2B5EF4-FFF2-40B4-BE49-F238E27FC236}">
                <a16:creationId xmlns:a16="http://schemas.microsoft.com/office/drawing/2014/main" id="{58EA0A95-C881-C940-7FDE-CF44AD003376}"/>
              </a:ext>
            </a:extLst>
          </p:cNvPr>
          <p:cNvSpPr txBox="1"/>
          <p:nvPr/>
        </p:nvSpPr>
        <p:spPr>
          <a:xfrm>
            <a:off x="7804707" y="3911134"/>
            <a:ext cx="150460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333333"/>
                </a:solidFill>
                <a:effectLst/>
                <a:uLnTx/>
                <a:uFillTx/>
                <a:latin typeface="Arial" panose="020B0604020202020204"/>
                <a:ea typeface="+mn-ea"/>
                <a:cs typeface="+mn-cs"/>
              </a:rPr>
              <a:t>Kontakt über Mail oder Service App</a:t>
            </a:r>
          </a:p>
        </p:txBody>
      </p:sp>
      <p:sp>
        <p:nvSpPr>
          <p:cNvPr id="101" name="Textfeld 100">
            <a:extLst>
              <a:ext uri="{FF2B5EF4-FFF2-40B4-BE49-F238E27FC236}">
                <a16:creationId xmlns:a16="http://schemas.microsoft.com/office/drawing/2014/main" id="{CB06D91F-2584-79C3-C913-53AB2099206B}"/>
              </a:ext>
            </a:extLst>
          </p:cNvPr>
          <p:cNvSpPr txBox="1"/>
          <p:nvPr/>
        </p:nvSpPr>
        <p:spPr>
          <a:xfrm>
            <a:off x="7826214" y="5351306"/>
            <a:ext cx="150460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333333"/>
                </a:solidFill>
                <a:effectLst/>
                <a:uLnTx/>
                <a:uFillTx/>
                <a:latin typeface="Arial" panose="020B0604020202020204"/>
                <a:ea typeface="+mn-ea"/>
                <a:cs typeface="+mn-cs"/>
              </a:rPr>
              <a:t>Terminierung Trumpf Techniker</a:t>
            </a:r>
          </a:p>
        </p:txBody>
      </p:sp>
      <p:sp>
        <p:nvSpPr>
          <p:cNvPr id="102" name="Pfeil: Fünfeck 101">
            <a:extLst>
              <a:ext uri="{FF2B5EF4-FFF2-40B4-BE49-F238E27FC236}">
                <a16:creationId xmlns:a16="http://schemas.microsoft.com/office/drawing/2014/main" id="{4AA43367-C689-CF48-F2ED-6967BE049AFB}"/>
              </a:ext>
            </a:extLst>
          </p:cNvPr>
          <p:cNvSpPr/>
          <p:nvPr/>
        </p:nvSpPr>
        <p:spPr>
          <a:xfrm>
            <a:off x="7103912" y="4692388"/>
            <a:ext cx="977489" cy="334951"/>
          </a:xfrm>
          <a:prstGeom prst="homePlate">
            <a:avLst>
              <a:gd name="adj" fmla="val 50000"/>
            </a:avLst>
          </a:prstGeom>
          <a:solidFill>
            <a:srgbClr val="C9D961"/>
          </a:solidFill>
          <a:ln w="12700" cap="flat" cmpd="sng" algn="ctr">
            <a:solidFill>
              <a:srgbClr val="C9D96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103" name="Pfeil: Fünfeck 102">
            <a:extLst>
              <a:ext uri="{FF2B5EF4-FFF2-40B4-BE49-F238E27FC236}">
                <a16:creationId xmlns:a16="http://schemas.microsoft.com/office/drawing/2014/main" id="{57B17DB4-DB07-5371-A864-DB8793405DEE}"/>
              </a:ext>
            </a:extLst>
          </p:cNvPr>
          <p:cNvSpPr/>
          <p:nvPr/>
        </p:nvSpPr>
        <p:spPr>
          <a:xfrm>
            <a:off x="7081570" y="1896949"/>
            <a:ext cx="999831" cy="334951"/>
          </a:xfrm>
          <a:prstGeom prst="homePlate">
            <a:avLst>
              <a:gd name="adj" fmla="val 50000"/>
            </a:avLst>
          </a:prstGeom>
          <a:solidFill>
            <a:srgbClr val="C9D961"/>
          </a:solidFill>
          <a:ln w="12700" cap="flat" cmpd="sng" algn="ctr">
            <a:solidFill>
              <a:srgbClr val="C9D96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104" name="Rechteck: abgerundete Ecken 103">
            <a:extLst>
              <a:ext uri="{FF2B5EF4-FFF2-40B4-BE49-F238E27FC236}">
                <a16:creationId xmlns:a16="http://schemas.microsoft.com/office/drawing/2014/main" id="{710B5D3D-A764-60CC-4501-4C04E4E26E7E}"/>
              </a:ext>
            </a:extLst>
          </p:cNvPr>
          <p:cNvSpPr/>
          <p:nvPr/>
        </p:nvSpPr>
        <p:spPr>
          <a:xfrm>
            <a:off x="6909206" y="1896948"/>
            <a:ext cx="335384" cy="3130391"/>
          </a:xfrm>
          <a:prstGeom prst="roundRect">
            <a:avLst/>
          </a:prstGeom>
          <a:solidFill>
            <a:srgbClr val="C9D961"/>
          </a:solidFill>
          <a:ln w="12700" cap="flat" cmpd="sng" algn="ctr">
            <a:solidFill>
              <a:srgbClr val="C9D96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285172"/>
              </a:solidFill>
              <a:effectLst/>
              <a:uLnTx/>
              <a:uFillTx/>
              <a:latin typeface="Arial" panose="020B0604020202020204"/>
              <a:ea typeface="+mn-ea"/>
              <a:cs typeface="+mn-cs"/>
            </a:endParaRPr>
          </a:p>
        </p:txBody>
      </p:sp>
      <p:sp>
        <p:nvSpPr>
          <p:cNvPr id="105" name="Textfeld 104">
            <a:extLst>
              <a:ext uri="{FF2B5EF4-FFF2-40B4-BE49-F238E27FC236}">
                <a16:creationId xmlns:a16="http://schemas.microsoft.com/office/drawing/2014/main" id="{67C86944-898F-508C-45C5-C404B282FF01}"/>
              </a:ext>
            </a:extLst>
          </p:cNvPr>
          <p:cNvSpPr txBox="1"/>
          <p:nvPr/>
        </p:nvSpPr>
        <p:spPr>
          <a:xfrm rot="16200000">
            <a:off x="5400698" y="3354421"/>
            <a:ext cx="333525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285172"/>
                </a:solidFill>
                <a:effectLst/>
                <a:uLnTx/>
                <a:uFillTx/>
                <a:latin typeface="Arial" panose="020B0604020202020204"/>
                <a:ea typeface="+mn-ea"/>
                <a:cs typeface="+mn-cs"/>
              </a:rPr>
              <a:t>Data </a:t>
            </a:r>
            <a:r>
              <a:rPr kumimoji="0" lang="de-DE" sz="1400" b="1" i="0" u="none" strike="noStrike" kern="1200" cap="none" spc="0" normalizeH="0" baseline="0" noProof="0" dirty="0" err="1">
                <a:ln>
                  <a:noFill/>
                </a:ln>
                <a:solidFill>
                  <a:srgbClr val="285172"/>
                </a:solidFill>
                <a:effectLst/>
                <a:uLnTx/>
                <a:uFillTx/>
                <a:latin typeface="Arial" panose="020B0604020202020204"/>
                <a:ea typeface="+mn-ea"/>
                <a:cs typeface="+mn-cs"/>
              </a:rPr>
              <a:t>based</a:t>
            </a:r>
            <a:r>
              <a:rPr kumimoji="0" lang="de-DE" sz="1400" b="1" i="0" u="none" strike="noStrike" kern="1200" cap="none" spc="0" normalizeH="0" baseline="0" noProof="0" dirty="0">
                <a:ln>
                  <a:noFill/>
                </a:ln>
                <a:solidFill>
                  <a:srgbClr val="285172"/>
                </a:solidFill>
                <a:effectLst/>
                <a:uLnTx/>
                <a:uFillTx/>
                <a:latin typeface="Arial" panose="020B0604020202020204"/>
                <a:ea typeface="+mn-ea"/>
                <a:cs typeface="+mn-cs"/>
              </a:rPr>
              <a:t> </a:t>
            </a:r>
            <a:r>
              <a:rPr kumimoji="0" lang="de-DE" sz="1400" b="1" i="0" u="none" strike="noStrike" kern="1200" cap="none" spc="0" normalizeH="0" baseline="0" noProof="0" dirty="0" err="1">
                <a:ln>
                  <a:noFill/>
                </a:ln>
                <a:solidFill>
                  <a:srgbClr val="285172"/>
                </a:solidFill>
                <a:effectLst/>
                <a:uLnTx/>
                <a:uFillTx/>
                <a:latin typeface="Arial" panose="020B0604020202020204"/>
                <a:ea typeface="+mn-ea"/>
                <a:cs typeface="+mn-cs"/>
              </a:rPr>
              <a:t>Findings</a:t>
            </a:r>
            <a:endParaRPr kumimoji="0" lang="de-DE" sz="1400" b="1" i="0" u="none" strike="noStrike" kern="1200" cap="none" spc="0" normalizeH="0" baseline="0" noProof="0" dirty="0">
              <a:ln>
                <a:noFill/>
              </a:ln>
              <a:solidFill>
                <a:srgbClr val="285172"/>
              </a:solidFill>
              <a:effectLst/>
              <a:uLnTx/>
              <a:uFillTx/>
              <a:latin typeface="Arial" panose="020B0604020202020204"/>
              <a:ea typeface="+mn-ea"/>
              <a:cs typeface="+mn-cs"/>
            </a:endParaRPr>
          </a:p>
        </p:txBody>
      </p:sp>
      <p:grpSp>
        <p:nvGrpSpPr>
          <p:cNvPr id="106" name="Gruppieren 105">
            <a:extLst>
              <a:ext uri="{FF2B5EF4-FFF2-40B4-BE49-F238E27FC236}">
                <a16:creationId xmlns:a16="http://schemas.microsoft.com/office/drawing/2014/main" id="{98066F50-E22E-D484-937B-3A9BDBBA49AF}"/>
              </a:ext>
            </a:extLst>
          </p:cNvPr>
          <p:cNvGrpSpPr/>
          <p:nvPr/>
        </p:nvGrpSpPr>
        <p:grpSpPr>
          <a:xfrm>
            <a:off x="5247322" y="3101741"/>
            <a:ext cx="1575030" cy="1918981"/>
            <a:chOff x="5229904" y="3101741"/>
            <a:chExt cx="1575030" cy="1918981"/>
          </a:xfrm>
        </p:grpSpPr>
        <p:sp>
          <p:nvSpPr>
            <p:cNvPr id="107" name="Flussdiagramm: Verbinder 106">
              <a:extLst>
                <a:ext uri="{FF2B5EF4-FFF2-40B4-BE49-F238E27FC236}">
                  <a16:creationId xmlns:a16="http://schemas.microsoft.com/office/drawing/2014/main" id="{5103A348-28EB-C1B3-AD35-0C2E0D4104EF}"/>
                </a:ext>
              </a:extLst>
            </p:cNvPr>
            <p:cNvSpPr/>
            <p:nvPr/>
          </p:nvSpPr>
          <p:spPr>
            <a:xfrm>
              <a:off x="5653011" y="3101741"/>
              <a:ext cx="692458" cy="701336"/>
            </a:xfrm>
            <a:prstGeom prst="flowChartConnector">
              <a:avLst/>
            </a:prstGeom>
            <a:solidFill>
              <a:schemeClr val="lt1"/>
            </a:solidFill>
            <a:ln w="12700" cap="flat" cmpd="sng" algn="ctr">
              <a:solidFill>
                <a:schemeClr val="lt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8" name="Grafik 107" descr="Recherche Silhouette">
              <a:extLst>
                <a:ext uri="{FF2B5EF4-FFF2-40B4-BE49-F238E27FC236}">
                  <a16:creationId xmlns:a16="http://schemas.microsoft.com/office/drawing/2014/main" id="{AA448089-BC23-3D70-A34F-9924133CF29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88819" y="3223809"/>
              <a:ext cx="457200" cy="457200"/>
            </a:xfrm>
            <a:prstGeom prst="rect">
              <a:avLst/>
            </a:prstGeom>
          </p:spPr>
        </p:pic>
        <p:sp>
          <p:nvSpPr>
            <p:cNvPr id="109" name="Textfeld 108">
              <a:extLst>
                <a:ext uri="{FF2B5EF4-FFF2-40B4-BE49-F238E27FC236}">
                  <a16:creationId xmlns:a16="http://schemas.microsoft.com/office/drawing/2014/main" id="{96538F3D-C60E-6BE0-5CB2-84D5DAF955D5}"/>
                </a:ext>
              </a:extLst>
            </p:cNvPr>
            <p:cNvSpPr txBox="1"/>
            <p:nvPr/>
          </p:nvSpPr>
          <p:spPr>
            <a:xfrm>
              <a:off x="5229904" y="3866560"/>
              <a:ext cx="1575030" cy="115416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srgbClr val="333333"/>
                  </a:solidFill>
                  <a:effectLst/>
                  <a:uLnTx/>
                  <a:uFillTx/>
                  <a:latin typeface="Arial" panose="020B0604020202020204"/>
                  <a:ea typeface="+mn-ea"/>
                  <a:cs typeface="+mn-cs"/>
                </a:rPr>
                <a:t>Verifikation de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sz="1000" b="1" i="0" u="none" strike="noStrike" kern="1200" cap="none" spc="0" normalizeH="0" baseline="0" noProof="0" dirty="0" err="1">
                  <a:ln>
                    <a:noFill/>
                  </a:ln>
                  <a:solidFill>
                    <a:srgbClr val="333333"/>
                  </a:solidFill>
                  <a:effectLst/>
                  <a:uLnTx/>
                  <a:uFillTx/>
                  <a:latin typeface="Arial" panose="020B0604020202020204"/>
                  <a:ea typeface="+mn-ea"/>
                  <a:cs typeface="+mn-cs"/>
                </a:rPr>
                <a:t>Predictive</a:t>
              </a:r>
              <a:r>
                <a:rPr kumimoji="0" lang="de-DE" sz="1000" b="1" i="0" u="none" strike="noStrike" kern="1200" cap="none" spc="0" normalizeH="0" baseline="0" noProof="0" dirty="0">
                  <a:ln>
                    <a:noFill/>
                  </a:ln>
                  <a:solidFill>
                    <a:srgbClr val="333333"/>
                  </a:solidFill>
                  <a:effectLst/>
                  <a:uLnTx/>
                  <a:uFillTx/>
                  <a:latin typeface="Arial" panose="020B0604020202020204"/>
                  <a:ea typeface="+mn-ea"/>
                  <a:cs typeface="+mn-cs"/>
                </a:rPr>
                <a:t> Service Cen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Algorithmen der TRUMPF Data </a:t>
              </a: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Scientists</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erkennen Fehler frühzeitig und leiten eine proaktive Unterstützung ein. </a:t>
              </a:r>
            </a:p>
          </p:txBody>
        </p:sp>
      </p:grpSp>
      <p:pic>
        <p:nvPicPr>
          <p:cNvPr id="110" name="Grafik 109">
            <a:extLst>
              <a:ext uri="{FF2B5EF4-FFF2-40B4-BE49-F238E27FC236}">
                <a16:creationId xmlns:a16="http://schemas.microsoft.com/office/drawing/2014/main" id="{398361C8-C19F-D53B-9705-019229E072CD}"/>
              </a:ext>
            </a:extLst>
          </p:cNvPr>
          <p:cNvPicPr>
            <a:picLocks noChangeAspect="1"/>
          </p:cNvPicPr>
          <p:nvPr/>
        </p:nvPicPr>
        <p:blipFill>
          <a:blip r:embed="rId18">
            <a:extLst>
              <a:ext uri="{BEBA8EAE-BF5A-486C-A8C5-ECC9F3942E4B}">
                <a14:imgProps xmlns:a14="http://schemas.microsoft.com/office/drawing/2010/main">
                  <a14:imgLayer r:embed="rId19">
                    <a14:imgEffect>
                      <a14:sharpenSoften amount="50000"/>
                    </a14:imgEffect>
                  </a14:imgLayer>
                </a14:imgProps>
              </a:ext>
            </a:extLst>
          </a:blip>
          <a:stretch>
            <a:fillRect/>
          </a:stretch>
        </p:blipFill>
        <p:spPr>
          <a:xfrm>
            <a:off x="731619" y="3172024"/>
            <a:ext cx="691200" cy="622080"/>
          </a:xfrm>
          <a:prstGeom prst="flowChartConnector">
            <a:avLst/>
          </a:prstGeom>
        </p:spPr>
      </p:pic>
    </p:spTree>
    <p:extLst>
      <p:ext uri="{BB962C8B-B14F-4D97-AF65-F5344CB8AC3E}">
        <p14:creationId xmlns:p14="http://schemas.microsoft.com/office/powerpoint/2010/main" val="1225641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dissolve">
                                      <p:cBhvr>
                                        <p:cTn id="7" dur="500"/>
                                        <p:tgtEl>
                                          <p:spTgt spid="52"/>
                                        </p:tgtEl>
                                      </p:cBhvr>
                                    </p:animEffect>
                                  </p:childTnLst>
                                </p:cTn>
                              </p:par>
                              <p:par>
                                <p:cTn id="8" presetID="9" presetClass="entr" presetSubtype="0" fill="hold" nodeType="withEffect">
                                  <p:stCondLst>
                                    <p:cond delay="0"/>
                                  </p:stCondLst>
                                  <p:childTnLst>
                                    <p:set>
                                      <p:cBhvr>
                                        <p:cTn id="9" dur="1" fill="hold">
                                          <p:stCondLst>
                                            <p:cond delay="0"/>
                                          </p:stCondLst>
                                        </p:cTn>
                                        <p:tgtEl>
                                          <p:spTgt spid="110"/>
                                        </p:tgtEl>
                                        <p:attrNameLst>
                                          <p:attrName>style.visibility</p:attrName>
                                        </p:attrNameLst>
                                      </p:cBhvr>
                                      <p:to>
                                        <p:strVal val="visible"/>
                                      </p:to>
                                    </p:set>
                                    <p:animEffect transition="in" filter="dissolve">
                                      <p:cBhvr>
                                        <p:cTn id="10" dur="500"/>
                                        <p:tgtEl>
                                          <p:spTgt spid="11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53"/>
                                        </p:tgtEl>
                                        <p:attrNameLst>
                                          <p:attrName>style.visibility</p:attrName>
                                        </p:attrNameLst>
                                      </p:cBhvr>
                                      <p:to>
                                        <p:strVal val="visible"/>
                                      </p:to>
                                    </p:set>
                                    <p:animEffect transition="in" filter="dissolve">
                                      <p:cBhvr>
                                        <p:cTn id="13" dur="500"/>
                                        <p:tgtEl>
                                          <p:spTgt spid="53"/>
                                        </p:tgtEl>
                                      </p:cBhvr>
                                    </p:animEffect>
                                  </p:childTnLst>
                                </p:cTn>
                              </p:par>
                            </p:childTnLst>
                          </p:cTn>
                        </p:par>
                        <p:par>
                          <p:cTn id="14" fill="hold">
                            <p:stCondLst>
                              <p:cond delay="500"/>
                            </p:stCondLst>
                            <p:childTnLst>
                              <p:par>
                                <p:cTn id="15" presetID="9" presetClass="entr" presetSubtype="0" fill="hold" grpId="0" nodeType="after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dissolve">
                                      <p:cBhvr>
                                        <p:cTn id="17" dur="500"/>
                                        <p:tgtEl>
                                          <p:spTgt spid="45"/>
                                        </p:tgtEl>
                                      </p:cBhvr>
                                    </p:animEffect>
                                  </p:childTnLst>
                                </p:cTn>
                              </p:par>
                              <p:par>
                                <p:cTn id="18" presetID="9" presetClass="entr" presetSubtype="0" fill="hold" nodeType="with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dissolve">
                                      <p:cBhvr>
                                        <p:cTn id="20" dur="500"/>
                                        <p:tgtEl>
                                          <p:spTgt spid="51"/>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animEffect transition="in" filter="dissolve">
                                      <p:cBhvr>
                                        <p:cTn id="23" dur="500"/>
                                        <p:tgtEl>
                                          <p:spTgt spid="50"/>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98"/>
                                        </p:tgtEl>
                                        <p:attrNameLst>
                                          <p:attrName>style.visibility</p:attrName>
                                        </p:attrNameLst>
                                      </p:cBhvr>
                                      <p:to>
                                        <p:strVal val="visible"/>
                                      </p:to>
                                    </p:set>
                                    <p:animEffect transition="in" filter="dissolve">
                                      <p:cBhvr>
                                        <p:cTn id="26" dur="500"/>
                                        <p:tgtEl>
                                          <p:spTgt spid="98"/>
                                        </p:tgtEl>
                                      </p:cBhvr>
                                    </p:animEffect>
                                  </p:childTnLst>
                                </p:cTn>
                              </p:par>
                            </p:childTnLst>
                          </p:cTn>
                        </p:par>
                        <p:par>
                          <p:cTn id="27" fill="hold">
                            <p:stCondLst>
                              <p:cond delay="1000"/>
                            </p:stCondLst>
                            <p:childTnLst>
                              <p:par>
                                <p:cTn id="28" presetID="9" presetClass="entr" presetSubtype="0" fill="hold" grpId="0" nodeType="after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dissolve">
                                      <p:cBhvr>
                                        <p:cTn id="30" dur="500"/>
                                        <p:tgtEl>
                                          <p:spTgt spid="44"/>
                                        </p:tgtEl>
                                      </p:cBhvr>
                                    </p:animEffect>
                                  </p:childTnLst>
                                </p:cTn>
                              </p:par>
                              <p:par>
                                <p:cTn id="31" presetID="9" presetClass="entr" presetSubtype="0" fill="hold" nodeType="withEffect">
                                  <p:stCondLst>
                                    <p:cond delay="0"/>
                                  </p:stCondLst>
                                  <p:childTnLst>
                                    <p:set>
                                      <p:cBhvr>
                                        <p:cTn id="32" dur="1" fill="hold">
                                          <p:stCondLst>
                                            <p:cond delay="0"/>
                                          </p:stCondLst>
                                        </p:cTn>
                                        <p:tgtEl>
                                          <p:spTgt spid="106"/>
                                        </p:tgtEl>
                                        <p:attrNameLst>
                                          <p:attrName>style.visibility</p:attrName>
                                        </p:attrNameLst>
                                      </p:cBhvr>
                                      <p:to>
                                        <p:strVal val="visible"/>
                                      </p:to>
                                    </p:set>
                                    <p:animEffect transition="in" filter="dissolve">
                                      <p:cBhvr>
                                        <p:cTn id="33" dur="500"/>
                                        <p:tgtEl>
                                          <p:spTgt spid="106"/>
                                        </p:tgtEl>
                                      </p:cBhvr>
                                    </p:animEffect>
                                  </p:childTnLst>
                                </p:cTn>
                              </p:par>
                            </p:childTnLst>
                          </p:cTn>
                        </p:par>
                        <p:par>
                          <p:cTn id="34" fill="hold">
                            <p:stCondLst>
                              <p:cond delay="1500"/>
                            </p:stCondLst>
                            <p:childTnLst>
                              <p:par>
                                <p:cTn id="35" presetID="9" presetClass="entr" presetSubtype="0" fill="hold" grpId="0" nodeType="after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dissolve">
                                      <p:cBhvr>
                                        <p:cTn id="37" dur="500"/>
                                        <p:tgtEl>
                                          <p:spTgt spid="41"/>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103"/>
                                        </p:tgtEl>
                                        <p:attrNameLst>
                                          <p:attrName>style.visibility</p:attrName>
                                        </p:attrNameLst>
                                      </p:cBhvr>
                                      <p:to>
                                        <p:strVal val="visible"/>
                                      </p:to>
                                    </p:set>
                                    <p:animEffect transition="in" filter="dissolve">
                                      <p:cBhvr>
                                        <p:cTn id="40" dur="500"/>
                                        <p:tgtEl>
                                          <p:spTgt spid="103"/>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102"/>
                                        </p:tgtEl>
                                        <p:attrNameLst>
                                          <p:attrName>style.visibility</p:attrName>
                                        </p:attrNameLst>
                                      </p:cBhvr>
                                      <p:to>
                                        <p:strVal val="visible"/>
                                      </p:to>
                                    </p:set>
                                    <p:animEffect transition="in" filter="dissolve">
                                      <p:cBhvr>
                                        <p:cTn id="43" dur="500"/>
                                        <p:tgtEl>
                                          <p:spTgt spid="102"/>
                                        </p:tgtEl>
                                      </p:cBhvr>
                                    </p:animEffect>
                                  </p:childTnLst>
                                </p:cTn>
                              </p:par>
                              <p:par>
                                <p:cTn id="44" presetID="9" presetClass="entr" presetSubtype="0" fill="hold" grpId="0" nodeType="withEffect">
                                  <p:stCondLst>
                                    <p:cond delay="0"/>
                                  </p:stCondLst>
                                  <p:childTnLst>
                                    <p:set>
                                      <p:cBhvr>
                                        <p:cTn id="45" dur="1" fill="hold">
                                          <p:stCondLst>
                                            <p:cond delay="0"/>
                                          </p:stCondLst>
                                        </p:cTn>
                                        <p:tgtEl>
                                          <p:spTgt spid="104"/>
                                        </p:tgtEl>
                                        <p:attrNameLst>
                                          <p:attrName>style.visibility</p:attrName>
                                        </p:attrNameLst>
                                      </p:cBhvr>
                                      <p:to>
                                        <p:strVal val="visible"/>
                                      </p:to>
                                    </p:set>
                                    <p:animEffect transition="in" filter="dissolve">
                                      <p:cBhvr>
                                        <p:cTn id="46" dur="500"/>
                                        <p:tgtEl>
                                          <p:spTgt spid="104"/>
                                        </p:tgtEl>
                                      </p:cBhvr>
                                    </p:animEffect>
                                  </p:childTnLst>
                                </p:cTn>
                              </p:par>
                              <p:par>
                                <p:cTn id="47" presetID="9" presetClass="entr" presetSubtype="0" fill="hold" grpId="0" nodeType="withEffect">
                                  <p:stCondLst>
                                    <p:cond delay="0"/>
                                  </p:stCondLst>
                                  <p:childTnLst>
                                    <p:set>
                                      <p:cBhvr>
                                        <p:cTn id="48" dur="1" fill="hold">
                                          <p:stCondLst>
                                            <p:cond delay="0"/>
                                          </p:stCondLst>
                                        </p:cTn>
                                        <p:tgtEl>
                                          <p:spTgt spid="105"/>
                                        </p:tgtEl>
                                        <p:attrNameLst>
                                          <p:attrName>style.visibility</p:attrName>
                                        </p:attrNameLst>
                                      </p:cBhvr>
                                      <p:to>
                                        <p:strVal val="visible"/>
                                      </p:to>
                                    </p:set>
                                    <p:animEffect transition="in" filter="dissolve">
                                      <p:cBhvr>
                                        <p:cTn id="49" dur="500"/>
                                        <p:tgtEl>
                                          <p:spTgt spid="105"/>
                                        </p:tgtEl>
                                      </p:cBhvr>
                                    </p:animEffect>
                                  </p:childTnLst>
                                </p:cTn>
                              </p:par>
                            </p:childTnLst>
                          </p:cTn>
                        </p:par>
                        <p:par>
                          <p:cTn id="50" fill="hold">
                            <p:stCondLst>
                              <p:cond delay="2000"/>
                            </p:stCondLst>
                            <p:childTnLst>
                              <p:par>
                                <p:cTn id="51" presetID="9" presetClass="entr" presetSubtype="0" fill="hold" nodeType="after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dissolve">
                                      <p:cBhvr>
                                        <p:cTn id="53" dur="500"/>
                                        <p:tgtEl>
                                          <p:spTgt spid="43"/>
                                        </p:tgtEl>
                                      </p:cBhvr>
                                    </p:animEffect>
                                  </p:childTnLst>
                                </p:cTn>
                              </p:par>
                              <p:par>
                                <p:cTn id="54" presetID="9" presetClass="entr" presetSubtype="0" fill="hold" grpId="0" nodeType="with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dissolve">
                                      <p:cBhvr>
                                        <p:cTn id="56" dur="500"/>
                                        <p:tgtEl>
                                          <p:spTgt spid="38"/>
                                        </p:tgtEl>
                                      </p:cBhvr>
                                    </p:animEffect>
                                  </p:childTnLst>
                                </p:cTn>
                              </p:par>
                              <p:par>
                                <p:cTn id="57" presetID="9" presetClass="entr" presetSubtype="0" fill="hold" grpId="0" nodeType="withEffect">
                                  <p:stCondLst>
                                    <p:cond delay="0"/>
                                  </p:stCondLst>
                                  <p:childTnLst>
                                    <p:set>
                                      <p:cBhvr>
                                        <p:cTn id="58" dur="1" fill="hold">
                                          <p:stCondLst>
                                            <p:cond delay="0"/>
                                          </p:stCondLst>
                                        </p:cTn>
                                        <p:tgtEl>
                                          <p:spTgt spid="99"/>
                                        </p:tgtEl>
                                        <p:attrNameLst>
                                          <p:attrName>style.visibility</p:attrName>
                                        </p:attrNameLst>
                                      </p:cBhvr>
                                      <p:to>
                                        <p:strVal val="visible"/>
                                      </p:to>
                                    </p:set>
                                    <p:animEffect transition="in" filter="dissolve">
                                      <p:cBhvr>
                                        <p:cTn id="59" dur="500"/>
                                        <p:tgtEl>
                                          <p:spTgt spid="99"/>
                                        </p:tgtEl>
                                      </p:cBhvr>
                                    </p:animEffect>
                                  </p:childTnLst>
                                </p:cTn>
                              </p:par>
                              <p:par>
                                <p:cTn id="60" presetID="9" presetClass="entr" presetSubtype="0" fill="hold" nodeType="withEffect">
                                  <p:stCondLst>
                                    <p:cond delay="0"/>
                                  </p:stCondLst>
                                  <p:childTnLst>
                                    <p:set>
                                      <p:cBhvr>
                                        <p:cTn id="61" dur="1" fill="hold">
                                          <p:stCondLst>
                                            <p:cond delay="0"/>
                                          </p:stCondLst>
                                        </p:cTn>
                                        <p:tgtEl>
                                          <p:spTgt spid="39"/>
                                        </p:tgtEl>
                                        <p:attrNameLst>
                                          <p:attrName>style.visibility</p:attrName>
                                        </p:attrNameLst>
                                      </p:cBhvr>
                                      <p:to>
                                        <p:strVal val="visible"/>
                                      </p:to>
                                    </p:set>
                                    <p:animEffect transition="in" filter="dissolve">
                                      <p:cBhvr>
                                        <p:cTn id="62" dur="500"/>
                                        <p:tgtEl>
                                          <p:spTgt spid="39"/>
                                        </p:tgtEl>
                                      </p:cBhvr>
                                    </p:animEffect>
                                  </p:childTnLst>
                                </p:cTn>
                              </p:par>
                              <p:par>
                                <p:cTn id="63" presetID="9" presetClass="entr" presetSubtype="0" fill="hold"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dissolve">
                                      <p:cBhvr>
                                        <p:cTn id="65" dur="500"/>
                                        <p:tgtEl>
                                          <p:spTgt spid="42"/>
                                        </p:tgtEl>
                                      </p:cBhvr>
                                    </p:animEffect>
                                  </p:childTnLst>
                                </p:cTn>
                              </p:par>
                            </p:childTnLst>
                          </p:cTn>
                        </p:par>
                        <p:par>
                          <p:cTn id="66" fill="hold">
                            <p:stCondLst>
                              <p:cond delay="2500"/>
                            </p:stCondLst>
                            <p:childTnLst>
                              <p:par>
                                <p:cTn id="67" presetID="9" presetClass="entr" presetSubtype="0" fill="hold" nodeType="afterEffect">
                                  <p:stCondLst>
                                    <p:cond delay="0"/>
                                  </p:stCondLst>
                                  <p:childTnLst>
                                    <p:set>
                                      <p:cBhvr>
                                        <p:cTn id="68" dur="1" fill="hold">
                                          <p:stCondLst>
                                            <p:cond delay="0"/>
                                          </p:stCondLst>
                                        </p:cTn>
                                        <p:tgtEl>
                                          <p:spTgt spid="47"/>
                                        </p:tgtEl>
                                        <p:attrNameLst>
                                          <p:attrName>style.visibility</p:attrName>
                                        </p:attrNameLst>
                                      </p:cBhvr>
                                      <p:to>
                                        <p:strVal val="visible"/>
                                      </p:to>
                                    </p:set>
                                    <p:animEffect transition="in" filter="dissolve">
                                      <p:cBhvr>
                                        <p:cTn id="69" dur="500"/>
                                        <p:tgtEl>
                                          <p:spTgt spid="47"/>
                                        </p:tgtEl>
                                      </p:cBhvr>
                                    </p:animEffect>
                                  </p:childTnLst>
                                </p:cTn>
                              </p:par>
                              <p:par>
                                <p:cTn id="70" presetID="9" presetClass="entr" presetSubtype="0" fill="hold" grpId="0" nodeType="withEffect">
                                  <p:stCondLst>
                                    <p:cond delay="0"/>
                                  </p:stCondLst>
                                  <p:childTnLst>
                                    <p:set>
                                      <p:cBhvr>
                                        <p:cTn id="71" dur="1" fill="hold">
                                          <p:stCondLst>
                                            <p:cond delay="0"/>
                                          </p:stCondLst>
                                        </p:cTn>
                                        <p:tgtEl>
                                          <p:spTgt spid="100"/>
                                        </p:tgtEl>
                                        <p:attrNameLst>
                                          <p:attrName>style.visibility</p:attrName>
                                        </p:attrNameLst>
                                      </p:cBhvr>
                                      <p:to>
                                        <p:strVal val="visible"/>
                                      </p:to>
                                    </p:set>
                                    <p:animEffect transition="in" filter="dissolve">
                                      <p:cBhvr>
                                        <p:cTn id="72" dur="500"/>
                                        <p:tgtEl>
                                          <p:spTgt spid="100"/>
                                        </p:tgtEl>
                                      </p:cBhvr>
                                    </p:animEffect>
                                  </p:childTnLst>
                                </p:cTn>
                              </p:par>
                              <p:par>
                                <p:cTn id="73" presetID="9" presetClass="entr" presetSubtype="0" fill="hold" grpId="0" nodeType="withEffect">
                                  <p:stCondLst>
                                    <p:cond delay="0"/>
                                  </p:stCondLst>
                                  <p:childTnLst>
                                    <p:set>
                                      <p:cBhvr>
                                        <p:cTn id="74" dur="1" fill="hold">
                                          <p:stCondLst>
                                            <p:cond delay="0"/>
                                          </p:stCondLst>
                                        </p:cTn>
                                        <p:tgtEl>
                                          <p:spTgt spid="46"/>
                                        </p:tgtEl>
                                        <p:attrNameLst>
                                          <p:attrName>style.visibility</p:attrName>
                                        </p:attrNameLst>
                                      </p:cBhvr>
                                      <p:to>
                                        <p:strVal val="visible"/>
                                      </p:to>
                                    </p:set>
                                    <p:animEffect transition="in" filter="dissolve">
                                      <p:cBhvr>
                                        <p:cTn id="75" dur="500"/>
                                        <p:tgtEl>
                                          <p:spTgt spid="46"/>
                                        </p:tgtEl>
                                      </p:cBhvr>
                                    </p:animEffect>
                                  </p:childTnLst>
                                </p:cTn>
                              </p:par>
                              <p:par>
                                <p:cTn id="76" presetID="9" presetClass="entr" presetSubtype="0" fill="hold" nodeType="withEffect">
                                  <p:stCondLst>
                                    <p:cond delay="0"/>
                                  </p:stCondLst>
                                  <p:childTnLst>
                                    <p:set>
                                      <p:cBhvr>
                                        <p:cTn id="77" dur="1" fill="hold">
                                          <p:stCondLst>
                                            <p:cond delay="0"/>
                                          </p:stCondLst>
                                        </p:cTn>
                                        <p:tgtEl>
                                          <p:spTgt spid="40"/>
                                        </p:tgtEl>
                                        <p:attrNameLst>
                                          <p:attrName>style.visibility</p:attrName>
                                        </p:attrNameLst>
                                      </p:cBhvr>
                                      <p:to>
                                        <p:strVal val="visible"/>
                                      </p:to>
                                    </p:set>
                                    <p:animEffect transition="in" filter="dissolve">
                                      <p:cBhvr>
                                        <p:cTn id="78" dur="500"/>
                                        <p:tgtEl>
                                          <p:spTgt spid="40"/>
                                        </p:tgtEl>
                                      </p:cBhvr>
                                    </p:animEffect>
                                  </p:childTnLst>
                                </p:cTn>
                              </p:par>
                            </p:childTnLst>
                          </p:cTn>
                        </p:par>
                        <p:par>
                          <p:cTn id="79" fill="hold">
                            <p:stCondLst>
                              <p:cond delay="3000"/>
                            </p:stCondLst>
                            <p:childTnLst>
                              <p:par>
                                <p:cTn id="80" presetID="9" presetClass="entr" presetSubtype="0" fill="hold" nodeType="afterEffect">
                                  <p:stCondLst>
                                    <p:cond delay="0"/>
                                  </p:stCondLst>
                                  <p:childTnLst>
                                    <p:set>
                                      <p:cBhvr>
                                        <p:cTn id="81" dur="1" fill="hold">
                                          <p:stCondLst>
                                            <p:cond delay="0"/>
                                          </p:stCondLst>
                                        </p:cTn>
                                        <p:tgtEl>
                                          <p:spTgt spid="49"/>
                                        </p:tgtEl>
                                        <p:attrNameLst>
                                          <p:attrName>style.visibility</p:attrName>
                                        </p:attrNameLst>
                                      </p:cBhvr>
                                      <p:to>
                                        <p:strVal val="visible"/>
                                      </p:to>
                                    </p:set>
                                    <p:animEffect transition="in" filter="dissolve">
                                      <p:cBhvr>
                                        <p:cTn id="82" dur="500"/>
                                        <p:tgtEl>
                                          <p:spTgt spid="49"/>
                                        </p:tgtEl>
                                      </p:cBhvr>
                                    </p:animEffect>
                                  </p:childTnLst>
                                </p:cTn>
                              </p:par>
                              <p:par>
                                <p:cTn id="83" presetID="9" presetClass="entr" presetSubtype="0" fill="hold" grpId="0"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dissolve">
                                      <p:cBhvr>
                                        <p:cTn id="85" dur="500"/>
                                        <p:tgtEl>
                                          <p:spTgt spid="48"/>
                                        </p:tgtEl>
                                      </p:cBhvr>
                                    </p:animEffect>
                                  </p:childTnLst>
                                </p:cTn>
                              </p:par>
                              <p:par>
                                <p:cTn id="86" presetID="9" presetClass="entr" presetSubtype="0" fill="hold" grpId="0" nodeType="withEffect">
                                  <p:stCondLst>
                                    <p:cond delay="0"/>
                                  </p:stCondLst>
                                  <p:childTnLst>
                                    <p:set>
                                      <p:cBhvr>
                                        <p:cTn id="87" dur="1" fill="hold">
                                          <p:stCondLst>
                                            <p:cond delay="0"/>
                                          </p:stCondLst>
                                        </p:cTn>
                                        <p:tgtEl>
                                          <p:spTgt spid="101"/>
                                        </p:tgtEl>
                                        <p:attrNameLst>
                                          <p:attrName>style.visibility</p:attrName>
                                        </p:attrNameLst>
                                      </p:cBhvr>
                                      <p:to>
                                        <p:strVal val="visible"/>
                                      </p:to>
                                    </p:set>
                                    <p:animEffect transition="in" filter="dissolve">
                                      <p:cBhvr>
                                        <p:cTn id="88" dur="500"/>
                                        <p:tgtEl>
                                          <p:spTgt spid="101"/>
                                        </p:tgtEl>
                                      </p:cBhvr>
                                    </p:animEffect>
                                  </p:childTnLst>
                                </p:cTn>
                              </p:par>
                              <p:par>
                                <p:cTn id="89" presetID="9" presetClass="entr" presetSubtype="0" fill="hold" nodeType="withEffect">
                                  <p:stCondLst>
                                    <p:cond delay="0"/>
                                  </p:stCondLst>
                                  <p:childTnLst>
                                    <p:set>
                                      <p:cBhvr>
                                        <p:cTn id="90" dur="1" fill="hold">
                                          <p:stCondLst>
                                            <p:cond delay="0"/>
                                          </p:stCondLst>
                                        </p:cTn>
                                        <p:tgtEl>
                                          <p:spTgt spid="37"/>
                                        </p:tgtEl>
                                        <p:attrNameLst>
                                          <p:attrName>style.visibility</p:attrName>
                                        </p:attrNameLst>
                                      </p:cBhvr>
                                      <p:to>
                                        <p:strVal val="visible"/>
                                      </p:to>
                                    </p:set>
                                    <p:animEffect transition="in" filter="dissolve">
                                      <p:cBhvr>
                                        <p:cTn id="9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1" grpId="0" animBg="1"/>
      <p:bldP spid="44" grpId="0" animBg="1"/>
      <p:bldP spid="45" grpId="0" animBg="1"/>
      <p:bldP spid="46" grpId="0" animBg="1"/>
      <p:bldP spid="48" grpId="0" animBg="1"/>
      <p:bldP spid="50" grpId="0" animBg="1"/>
      <p:bldP spid="52" grpId="0" animBg="1"/>
      <p:bldP spid="53" grpId="0"/>
      <p:bldP spid="98" grpId="0"/>
      <p:bldP spid="99" grpId="0"/>
      <p:bldP spid="100" grpId="0"/>
      <p:bldP spid="101" grpId="0"/>
      <p:bldP spid="102" grpId="0" animBg="1"/>
      <p:bldP spid="103" grpId="0" animBg="1"/>
      <p:bldP spid="104" grpId="0" animBg="1"/>
      <p:bldP spid="10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Grafik 30">
            <a:extLst>
              <a:ext uri="{FF2B5EF4-FFF2-40B4-BE49-F238E27FC236}">
                <a16:creationId xmlns:a16="http://schemas.microsoft.com/office/drawing/2014/main" id="{10588508-3926-5D80-82B6-6B456E0591E7}"/>
              </a:ext>
            </a:extLst>
          </p:cNvPr>
          <p:cNvPicPr>
            <a:picLocks noChangeAspect="1"/>
          </p:cNvPicPr>
          <p:nvPr/>
        </p:nvPicPr>
        <p:blipFill rotWithShape="1">
          <a:blip r:embed="rId3"/>
          <a:srcRect l="-1029" t="18823" r="-1" b="19684"/>
          <a:stretch/>
        </p:blipFill>
        <p:spPr>
          <a:xfrm>
            <a:off x="-135172" y="2076873"/>
            <a:ext cx="12354697" cy="3552650"/>
          </a:xfrm>
          <a:prstGeom prst="rect">
            <a:avLst/>
          </a:prstGeom>
        </p:spPr>
      </p:pic>
      <p:sp>
        <p:nvSpPr>
          <p:cNvPr id="11" name="Titel 10">
            <a:extLst>
              <a:ext uri="{FF2B5EF4-FFF2-40B4-BE49-F238E27FC236}">
                <a16:creationId xmlns:a16="http://schemas.microsoft.com/office/drawing/2014/main" id="{FC706960-11A8-7101-802A-B0F60BEAE79D}"/>
              </a:ext>
            </a:extLst>
          </p:cNvPr>
          <p:cNvSpPr>
            <a:spLocks noGrp="1"/>
          </p:cNvSpPr>
          <p:nvPr>
            <p:ph type="title"/>
          </p:nvPr>
        </p:nvSpPr>
        <p:spPr/>
        <p:txBody>
          <a:bodyPr/>
          <a:lstStyle/>
          <a:p>
            <a:r>
              <a:rPr lang="de-DE" b="0" dirty="0" err="1"/>
              <a:t>Condition</a:t>
            </a:r>
            <a:r>
              <a:rPr lang="de-DE" b="0" dirty="0"/>
              <a:t> Monitoring für </a:t>
            </a:r>
            <a:r>
              <a:rPr lang="de-DE" b="0" dirty="0" err="1"/>
              <a:t>TruLaser</a:t>
            </a:r>
            <a:endParaRPr lang="de-DE" dirty="0"/>
          </a:p>
        </p:txBody>
      </p:sp>
      <p:sp>
        <p:nvSpPr>
          <p:cNvPr id="12" name="Textplatzhalter 11">
            <a:extLst>
              <a:ext uri="{FF2B5EF4-FFF2-40B4-BE49-F238E27FC236}">
                <a16:creationId xmlns:a16="http://schemas.microsoft.com/office/drawing/2014/main" id="{43C5ED29-52DE-D404-4D8C-B1ADC62938B1}"/>
              </a:ext>
            </a:extLst>
          </p:cNvPr>
          <p:cNvSpPr>
            <a:spLocks noGrp="1"/>
          </p:cNvSpPr>
          <p:nvPr>
            <p:ph type="body" sz="quarter" idx="17"/>
          </p:nvPr>
        </p:nvSpPr>
        <p:spPr/>
        <p:txBody>
          <a:bodyPr/>
          <a:lstStyle/>
          <a:p>
            <a:endParaRPr lang="de-DE" sz="2000" dirty="0"/>
          </a:p>
        </p:txBody>
      </p:sp>
      <p:sp>
        <p:nvSpPr>
          <p:cNvPr id="13" name="Foliennummernplatzhalter 12">
            <a:extLst>
              <a:ext uri="{FF2B5EF4-FFF2-40B4-BE49-F238E27FC236}">
                <a16:creationId xmlns:a16="http://schemas.microsoft.com/office/drawing/2014/main" id="{47C7963C-F72E-0091-783C-63323B969B2E}"/>
              </a:ext>
            </a:extLst>
          </p:cNvPr>
          <p:cNvSpPr>
            <a:spLocks noGrp="1"/>
          </p:cNvSpPr>
          <p:nvPr>
            <p:ph type="sldNum" sz="quarter" idx="4"/>
          </p:nvPr>
        </p:nvSpPr>
        <p:spPr/>
        <p:txBody>
          <a:bodyPr/>
          <a:lstStyle/>
          <a:p>
            <a:fld id="{8D57957C-F0F3-7842-B0E2-B762F92D6487}" type="slidenum">
              <a:rPr lang="de-DE" b="0" smtClean="0">
                <a:solidFill>
                  <a:schemeClr val="tx1"/>
                </a:solidFill>
              </a:rPr>
              <a:pPr/>
              <a:t>12</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4" name="Fußzeilenplatzhalter 13">
            <a:extLst>
              <a:ext uri="{FF2B5EF4-FFF2-40B4-BE49-F238E27FC236}">
                <a16:creationId xmlns:a16="http://schemas.microsoft.com/office/drawing/2014/main" id="{CC2ADE52-F17F-0C47-3206-816D34D59D30}"/>
              </a:ext>
            </a:extLst>
          </p:cNvPr>
          <p:cNvSpPr>
            <a:spLocks noGrp="1"/>
          </p:cNvSpPr>
          <p:nvPr>
            <p:ph type="ftr" sz="quarter" idx="3"/>
          </p:nvPr>
        </p:nvSpPr>
        <p:spPr/>
        <p:txBody>
          <a:bodyPr/>
          <a:lstStyle/>
          <a:p>
            <a:r>
              <a:rPr lang="de-DE"/>
              <a:t>Technischer Kundendienst</a:t>
            </a:r>
            <a:endParaRPr lang="de-DE" dirty="0"/>
          </a:p>
        </p:txBody>
      </p:sp>
      <p:sp>
        <p:nvSpPr>
          <p:cNvPr id="55" name="Datumsplatzhalter 54">
            <a:extLst>
              <a:ext uri="{FF2B5EF4-FFF2-40B4-BE49-F238E27FC236}">
                <a16:creationId xmlns:a16="http://schemas.microsoft.com/office/drawing/2014/main" id="{834ED672-3BD6-0C35-3328-94B677B07D8D}"/>
              </a:ext>
            </a:extLst>
          </p:cNvPr>
          <p:cNvSpPr>
            <a:spLocks noGrp="1"/>
          </p:cNvSpPr>
          <p:nvPr>
            <p:ph type="dt" sz="half" idx="2"/>
          </p:nvPr>
        </p:nvSpPr>
        <p:spPr/>
        <p:txBody>
          <a:bodyPr/>
          <a:lstStyle/>
          <a:p>
            <a:fld id="{27C0C552-54B7-4F0D-B901-96BCDB04340B}" type="datetime1">
              <a:rPr lang="de-DE" smtClean="0"/>
              <a:pPr/>
              <a:t>20.04.2023</a:t>
            </a:fld>
            <a:endParaRPr lang="de-DE" dirty="0"/>
          </a:p>
        </p:txBody>
      </p:sp>
      <p:sp>
        <p:nvSpPr>
          <p:cNvPr id="2" name="Textfeld 1">
            <a:extLst>
              <a:ext uri="{FF2B5EF4-FFF2-40B4-BE49-F238E27FC236}">
                <a16:creationId xmlns:a16="http://schemas.microsoft.com/office/drawing/2014/main" id="{E18BE25A-ED08-7118-A47A-2708814B8EAE}"/>
              </a:ext>
            </a:extLst>
          </p:cNvPr>
          <p:cNvSpPr txBox="1"/>
          <p:nvPr/>
        </p:nvSpPr>
        <p:spPr>
          <a:xfrm>
            <a:off x="6717215" y="1386442"/>
            <a:ext cx="2933414" cy="116185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Querblasdüs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Schlackeverschmutzungen</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an der Querblas-düse können zu Qualitätsproblemen im Dickblech führen. Monitoring der Düse verhindert das rechtzeitig, indem eine Verschmutzung feststellt wird. </a:t>
            </a:r>
          </a:p>
        </p:txBody>
      </p:sp>
      <p:sp>
        <p:nvSpPr>
          <p:cNvPr id="3" name="Textfeld 2">
            <a:extLst>
              <a:ext uri="{FF2B5EF4-FFF2-40B4-BE49-F238E27FC236}">
                <a16:creationId xmlns:a16="http://schemas.microsoft.com/office/drawing/2014/main" id="{4C3676CA-1EC5-B559-515F-F64938F14410}"/>
              </a:ext>
            </a:extLst>
          </p:cNvPr>
          <p:cNvSpPr txBox="1"/>
          <p:nvPr/>
        </p:nvSpPr>
        <p:spPr>
          <a:xfrm>
            <a:off x="696119" y="4514513"/>
            <a:ext cx="2825603" cy="116185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Schneideinheit Sperrgasdruck</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Das Monitoring verschiedener Gasdrücke verhindert die Verunreinigung von Optikkomponenten. Hohe Folgekosten und ein  möglicher Totalausfall der Schneideinheit können verhindert werden. </a:t>
            </a:r>
          </a:p>
        </p:txBody>
      </p:sp>
      <p:sp>
        <p:nvSpPr>
          <p:cNvPr id="4" name="Textfeld 3">
            <a:extLst>
              <a:ext uri="{FF2B5EF4-FFF2-40B4-BE49-F238E27FC236}">
                <a16:creationId xmlns:a16="http://schemas.microsoft.com/office/drawing/2014/main" id="{58A86D07-2F6B-6928-926C-E228F6DB2201}"/>
              </a:ext>
            </a:extLst>
          </p:cNvPr>
          <p:cNvSpPr txBox="1"/>
          <p:nvPr/>
        </p:nvSpPr>
        <p:spPr>
          <a:xfrm>
            <a:off x="7152916" y="5310836"/>
            <a:ext cx="3019216" cy="116185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Schwergängigkeit Achsen</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Bei einer Schwergängigkeit der Achsen kann ein Techniker durch Achsdiagnose auswerten, was mögliche Ursachen des Problems sind. Die Vermeidung von Folgeschäden und –kosten ist durchaus möglich. </a:t>
            </a:r>
          </a:p>
        </p:txBody>
      </p:sp>
      <p:sp>
        <p:nvSpPr>
          <p:cNvPr id="5" name="Textfeld 4">
            <a:extLst>
              <a:ext uri="{FF2B5EF4-FFF2-40B4-BE49-F238E27FC236}">
                <a16:creationId xmlns:a16="http://schemas.microsoft.com/office/drawing/2014/main" id="{CD3F9EA4-B1AC-1787-0915-FA3078D6CF56}"/>
              </a:ext>
            </a:extLst>
          </p:cNvPr>
          <p:cNvSpPr txBox="1"/>
          <p:nvPr/>
        </p:nvSpPr>
        <p:spPr>
          <a:xfrm>
            <a:off x="8973493" y="3730090"/>
            <a:ext cx="2672601" cy="116185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Düsenwechsler</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Reicht die Riemenspannung nicht mehr aus, oder liegt eine </a:t>
            </a: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Dejustage</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vor, kann die Düse nicht mehr richtig eingedreht wird. Mit unterstützendem Know-how können Kunden den Fehler selbst beheben. </a:t>
            </a:r>
          </a:p>
        </p:txBody>
      </p:sp>
      <p:sp>
        <p:nvSpPr>
          <p:cNvPr id="6" name="Textfeld 5">
            <a:extLst>
              <a:ext uri="{FF2B5EF4-FFF2-40B4-BE49-F238E27FC236}">
                <a16:creationId xmlns:a16="http://schemas.microsoft.com/office/drawing/2014/main" id="{B5C20ABD-BDA0-9098-A93E-9149D8068A46}"/>
              </a:ext>
            </a:extLst>
          </p:cNvPr>
          <p:cNvSpPr txBox="1"/>
          <p:nvPr/>
        </p:nvSpPr>
        <p:spPr>
          <a:xfrm>
            <a:off x="679729" y="2694068"/>
            <a:ext cx="2684345" cy="1423467"/>
          </a:xfrm>
          <a:prstGeom prst="rect">
            <a:avLst/>
          </a:prstGeom>
          <a:noFill/>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de-DE" sz="1200" b="1" i="0" u="none" strike="noStrike" kern="1200" cap="none" spc="0" normalizeH="0" baseline="0" noProof="0" dirty="0" err="1">
                <a:ln>
                  <a:noFill/>
                </a:ln>
                <a:solidFill>
                  <a:srgbClr val="285172"/>
                </a:solidFill>
                <a:effectLst/>
                <a:uLnTx/>
                <a:uFillTx/>
                <a:latin typeface="Arial"/>
                <a:ea typeface="+mn-ea"/>
                <a:cs typeface="Times New Roman"/>
              </a:rPr>
              <a:t>TruDisk</a:t>
            </a:r>
            <a:endParaRPr kumimoji="0" lang="de-DE" sz="12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Dejustage</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Verunreinigung intern im Laser aber auch schleichende Ausfälle und Alterung sind detektierbar. Bspw. zu geringeres Level an Laserkühlwasser oder Abnahme der Laserleistung durch Alterung der Pumpmodule .</a:t>
            </a:r>
          </a:p>
        </p:txBody>
      </p:sp>
      <p:cxnSp>
        <p:nvCxnSpPr>
          <p:cNvPr id="7" name="Gerader Verbinder 6">
            <a:extLst>
              <a:ext uri="{FF2B5EF4-FFF2-40B4-BE49-F238E27FC236}">
                <a16:creationId xmlns:a16="http://schemas.microsoft.com/office/drawing/2014/main" id="{6712CA66-EECB-8D0D-C577-717F46F8D913}"/>
              </a:ext>
            </a:extLst>
          </p:cNvPr>
          <p:cNvCxnSpPr>
            <a:cxnSpLocks/>
          </p:cNvCxnSpPr>
          <p:nvPr/>
        </p:nvCxnSpPr>
        <p:spPr>
          <a:xfrm flipV="1">
            <a:off x="3348997" y="4259476"/>
            <a:ext cx="824870" cy="53610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348FA34B-1B39-5C58-A4A1-5BB658A474B8}"/>
              </a:ext>
            </a:extLst>
          </p:cNvPr>
          <p:cNvCxnSpPr>
            <a:cxnSpLocks/>
          </p:cNvCxnSpPr>
          <p:nvPr/>
        </p:nvCxnSpPr>
        <p:spPr>
          <a:xfrm flipH="1">
            <a:off x="794460" y="4795584"/>
            <a:ext cx="256919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CFDC3621-13EC-608A-CDB7-DDB1DE273536}"/>
              </a:ext>
            </a:extLst>
          </p:cNvPr>
          <p:cNvSpPr txBox="1"/>
          <p:nvPr/>
        </p:nvSpPr>
        <p:spPr>
          <a:xfrm>
            <a:off x="8804078" y="2447936"/>
            <a:ext cx="2792238" cy="100796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Öl und Trennmittel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Füllstände von verschiedenen Medien, wie Kühlwasser, Öl der Zentralschmierung und Trennmittel, werden </a:t>
            </a: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gemonitored</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Kunde erhält eine Benachrichtigung zum Nachfüllen. </a:t>
            </a:r>
          </a:p>
        </p:txBody>
      </p:sp>
      <p:sp>
        <p:nvSpPr>
          <p:cNvPr id="10" name="Textfeld 9">
            <a:extLst>
              <a:ext uri="{FF2B5EF4-FFF2-40B4-BE49-F238E27FC236}">
                <a16:creationId xmlns:a16="http://schemas.microsoft.com/office/drawing/2014/main" id="{F8304ACE-D6EF-7811-9C47-5E9EB901C9FA}"/>
              </a:ext>
            </a:extLst>
          </p:cNvPr>
          <p:cNvSpPr txBox="1"/>
          <p:nvPr/>
        </p:nvSpPr>
        <p:spPr>
          <a:xfrm>
            <a:off x="2699468" y="1240167"/>
            <a:ext cx="2684345" cy="1769715"/>
          </a:xfrm>
          <a:prstGeom prst="rect">
            <a:avLst/>
          </a:prstGeom>
          <a:noFill/>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Schneideinhei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Mithilfe von Monitoring können Ausfälle an der Schneideinheit frühzeitiger festgestellt und behoben werden. Diese erfordern einen Technikereinsatz. Kunden werden zukünftig über den Verschmutzungsgrad und mögliche Beeinträchtigungen, informiert. Dann wird ein Technikereinsatz geplant. </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cxnSp>
        <p:nvCxnSpPr>
          <p:cNvPr id="15" name="Gerader Verbinder 14">
            <a:extLst>
              <a:ext uri="{FF2B5EF4-FFF2-40B4-BE49-F238E27FC236}">
                <a16:creationId xmlns:a16="http://schemas.microsoft.com/office/drawing/2014/main" id="{EABEBCC2-0DDA-4828-34E0-3106B6E1B818}"/>
              </a:ext>
            </a:extLst>
          </p:cNvPr>
          <p:cNvCxnSpPr>
            <a:cxnSpLocks/>
          </p:cNvCxnSpPr>
          <p:nvPr/>
        </p:nvCxnSpPr>
        <p:spPr>
          <a:xfrm flipH="1" flipV="1">
            <a:off x="6497502" y="4892312"/>
            <a:ext cx="721991" cy="70154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D5793801-B5D2-BA30-BDC5-FFA2715DAF9B}"/>
              </a:ext>
            </a:extLst>
          </p:cNvPr>
          <p:cNvCxnSpPr>
            <a:cxnSpLocks/>
          </p:cNvCxnSpPr>
          <p:nvPr/>
        </p:nvCxnSpPr>
        <p:spPr>
          <a:xfrm flipH="1">
            <a:off x="7219493" y="5593854"/>
            <a:ext cx="256919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AEAD5125-EC84-9A09-44A0-5C14EFC1273B}"/>
              </a:ext>
            </a:extLst>
          </p:cNvPr>
          <p:cNvCxnSpPr>
            <a:cxnSpLocks/>
          </p:cNvCxnSpPr>
          <p:nvPr/>
        </p:nvCxnSpPr>
        <p:spPr>
          <a:xfrm flipH="1">
            <a:off x="8127278" y="4004152"/>
            <a:ext cx="904549" cy="349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5A02BAFF-1BC6-C226-4404-38531371DF4A}"/>
              </a:ext>
            </a:extLst>
          </p:cNvPr>
          <p:cNvCxnSpPr>
            <a:cxnSpLocks/>
          </p:cNvCxnSpPr>
          <p:nvPr/>
        </p:nvCxnSpPr>
        <p:spPr>
          <a:xfrm flipH="1">
            <a:off x="9027121" y="4008178"/>
            <a:ext cx="256919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68A3D4A-373A-6236-7E00-5008CF8B4FEE}"/>
              </a:ext>
            </a:extLst>
          </p:cNvPr>
          <p:cNvCxnSpPr>
            <a:cxnSpLocks/>
          </p:cNvCxnSpPr>
          <p:nvPr/>
        </p:nvCxnSpPr>
        <p:spPr>
          <a:xfrm flipH="1">
            <a:off x="8141020" y="2725170"/>
            <a:ext cx="742114" cy="36183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AFC25E7-093B-6442-708A-38DC97A59368}"/>
              </a:ext>
            </a:extLst>
          </p:cNvPr>
          <p:cNvCxnSpPr>
            <a:cxnSpLocks/>
          </p:cNvCxnSpPr>
          <p:nvPr/>
        </p:nvCxnSpPr>
        <p:spPr>
          <a:xfrm flipH="1" flipV="1">
            <a:off x="8883134" y="2713944"/>
            <a:ext cx="2091706" cy="368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737ABF3-FFE6-0E8A-8666-1B065E1F9286}"/>
              </a:ext>
            </a:extLst>
          </p:cNvPr>
          <p:cNvCxnSpPr>
            <a:cxnSpLocks/>
          </p:cNvCxnSpPr>
          <p:nvPr/>
        </p:nvCxnSpPr>
        <p:spPr>
          <a:xfrm flipH="1">
            <a:off x="6147084" y="1688566"/>
            <a:ext cx="635938" cy="74073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7227AFFC-8127-B7FF-1B5B-887803E0D5EF}"/>
              </a:ext>
            </a:extLst>
          </p:cNvPr>
          <p:cNvCxnSpPr>
            <a:cxnSpLocks/>
          </p:cNvCxnSpPr>
          <p:nvPr/>
        </p:nvCxnSpPr>
        <p:spPr>
          <a:xfrm flipH="1">
            <a:off x="6771237" y="1684881"/>
            <a:ext cx="281358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6AA8F7F8-B348-3E26-645C-695AE31F798D}"/>
              </a:ext>
            </a:extLst>
          </p:cNvPr>
          <p:cNvCxnSpPr>
            <a:cxnSpLocks/>
          </p:cNvCxnSpPr>
          <p:nvPr/>
        </p:nvCxnSpPr>
        <p:spPr>
          <a:xfrm flipH="1">
            <a:off x="2779794" y="1622339"/>
            <a:ext cx="2569196"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C2C118F9-C294-2718-2633-AD78D39E21BD}"/>
              </a:ext>
            </a:extLst>
          </p:cNvPr>
          <p:cNvCxnSpPr>
            <a:cxnSpLocks/>
          </p:cNvCxnSpPr>
          <p:nvPr/>
        </p:nvCxnSpPr>
        <p:spPr>
          <a:xfrm flipH="1">
            <a:off x="808652" y="3104063"/>
            <a:ext cx="2555422"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0F10A8B-B77B-AD4C-CBA8-EC5B6A99979B}"/>
              </a:ext>
            </a:extLst>
          </p:cNvPr>
          <p:cNvCxnSpPr>
            <a:cxnSpLocks/>
          </p:cNvCxnSpPr>
          <p:nvPr/>
        </p:nvCxnSpPr>
        <p:spPr>
          <a:xfrm>
            <a:off x="5342218" y="1622339"/>
            <a:ext cx="498074" cy="82559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4CC7CAD4-0C4F-C668-2233-5D711BEF1BD8}"/>
              </a:ext>
            </a:extLst>
          </p:cNvPr>
          <p:cNvCxnSpPr>
            <a:cxnSpLocks/>
          </p:cNvCxnSpPr>
          <p:nvPr/>
        </p:nvCxnSpPr>
        <p:spPr>
          <a:xfrm>
            <a:off x="3364074" y="3096928"/>
            <a:ext cx="789308" cy="39220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F23BA427-2ADD-D8B3-67BC-F8A91F5EEF54}"/>
              </a:ext>
            </a:extLst>
          </p:cNvPr>
          <p:cNvSpPr txBox="1"/>
          <p:nvPr/>
        </p:nvSpPr>
        <p:spPr>
          <a:xfrm>
            <a:off x="3707110" y="5256504"/>
            <a:ext cx="2825603" cy="16235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err="1">
                <a:ln>
                  <a:noFill/>
                </a:ln>
                <a:solidFill>
                  <a:srgbClr val="285172"/>
                </a:solidFill>
                <a:effectLst/>
                <a:uLnTx/>
                <a:uFillTx/>
                <a:latin typeface="Arial"/>
                <a:ea typeface="+mn-ea"/>
                <a:cs typeface="Times New Roman"/>
              </a:rPr>
              <a:t>Palettenwechsler</a:t>
            </a:r>
            <a:endParaRPr kumimoji="0" lang="de-DE" sz="12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Monitoring des </a:t>
            </a: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Palettenwechsler</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ermöglicht das Verhindern von Ausfällen. Bspw. dejustierte Sensoren für die Klemmung der Palette können hierbei detektiert werden. Ebenso können Probleme an Zylindern und Hydraulikaggregate frühzeitig feststellen und rechtzeitig behoben werden, für einen reibungslosen Normalbetrieb. </a:t>
            </a:r>
          </a:p>
        </p:txBody>
      </p:sp>
      <p:cxnSp>
        <p:nvCxnSpPr>
          <p:cNvPr id="28" name="Gerader Verbinder 27">
            <a:extLst>
              <a:ext uri="{FF2B5EF4-FFF2-40B4-BE49-F238E27FC236}">
                <a16:creationId xmlns:a16="http://schemas.microsoft.com/office/drawing/2014/main" id="{1DF42374-8668-0AAC-624B-0E3BAE6FC06C}"/>
              </a:ext>
            </a:extLst>
          </p:cNvPr>
          <p:cNvCxnSpPr>
            <a:cxnSpLocks/>
          </p:cNvCxnSpPr>
          <p:nvPr/>
        </p:nvCxnSpPr>
        <p:spPr>
          <a:xfrm flipH="1" flipV="1">
            <a:off x="6141989" y="4775733"/>
            <a:ext cx="218000" cy="76184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A7CFCF37-56C5-6C69-A48B-BF6544E12DAD}"/>
              </a:ext>
            </a:extLst>
          </p:cNvPr>
          <p:cNvCxnSpPr>
            <a:cxnSpLocks/>
          </p:cNvCxnSpPr>
          <p:nvPr/>
        </p:nvCxnSpPr>
        <p:spPr>
          <a:xfrm flipH="1">
            <a:off x="3805451" y="5537575"/>
            <a:ext cx="256919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8253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FC706960-11A8-7101-802A-B0F60BEAE79D}"/>
              </a:ext>
            </a:extLst>
          </p:cNvPr>
          <p:cNvSpPr>
            <a:spLocks noGrp="1"/>
          </p:cNvSpPr>
          <p:nvPr>
            <p:ph type="title"/>
          </p:nvPr>
        </p:nvSpPr>
        <p:spPr/>
        <p:txBody>
          <a:bodyPr/>
          <a:lstStyle/>
          <a:p>
            <a:r>
              <a:rPr lang="de-DE" b="0" dirty="0"/>
              <a:t>Beispiele – </a:t>
            </a:r>
            <a:r>
              <a:rPr lang="de-DE" b="0" dirty="0" err="1"/>
              <a:t>Proactive</a:t>
            </a:r>
            <a:r>
              <a:rPr lang="de-DE" b="0" dirty="0"/>
              <a:t> Call </a:t>
            </a:r>
            <a:endParaRPr lang="de-DE" dirty="0"/>
          </a:p>
        </p:txBody>
      </p:sp>
      <p:sp>
        <p:nvSpPr>
          <p:cNvPr id="12" name="Textplatzhalter 11">
            <a:extLst>
              <a:ext uri="{FF2B5EF4-FFF2-40B4-BE49-F238E27FC236}">
                <a16:creationId xmlns:a16="http://schemas.microsoft.com/office/drawing/2014/main" id="{43C5ED29-52DE-D404-4D8C-B1ADC62938B1}"/>
              </a:ext>
            </a:extLst>
          </p:cNvPr>
          <p:cNvSpPr>
            <a:spLocks noGrp="1"/>
          </p:cNvSpPr>
          <p:nvPr>
            <p:ph type="body" sz="quarter" idx="17"/>
          </p:nvPr>
        </p:nvSpPr>
        <p:spPr/>
        <p:txBody>
          <a:bodyPr/>
          <a:lstStyle/>
          <a:p>
            <a:endParaRPr lang="de-DE" sz="2000" dirty="0"/>
          </a:p>
        </p:txBody>
      </p:sp>
      <p:sp>
        <p:nvSpPr>
          <p:cNvPr id="13" name="Foliennummernplatzhalter 12">
            <a:extLst>
              <a:ext uri="{FF2B5EF4-FFF2-40B4-BE49-F238E27FC236}">
                <a16:creationId xmlns:a16="http://schemas.microsoft.com/office/drawing/2014/main" id="{47C7963C-F72E-0091-783C-63323B969B2E}"/>
              </a:ext>
            </a:extLst>
          </p:cNvPr>
          <p:cNvSpPr>
            <a:spLocks noGrp="1"/>
          </p:cNvSpPr>
          <p:nvPr>
            <p:ph type="sldNum" sz="quarter" idx="4"/>
          </p:nvPr>
        </p:nvSpPr>
        <p:spPr/>
        <p:txBody>
          <a:bodyPr/>
          <a:lstStyle/>
          <a:p>
            <a:fld id="{8D57957C-F0F3-7842-B0E2-B762F92D6487}" type="slidenum">
              <a:rPr lang="de-DE" b="0" smtClean="0">
                <a:solidFill>
                  <a:schemeClr val="tx1"/>
                </a:solidFill>
              </a:rPr>
              <a:pPr/>
              <a:t>13</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4" name="Fußzeilenplatzhalter 13">
            <a:extLst>
              <a:ext uri="{FF2B5EF4-FFF2-40B4-BE49-F238E27FC236}">
                <a16:creationId xmlns:a16="http://schemas.microsoft.com/office/drawing/2014/main" id="{CC2ADE52-F17F-0C47-3206-816D34D59D30}"/>
              </a:ext>
            </a:extLst>
          </p:cNvPr>
          <p:cNvSpPr>
            <a:spLocks noGrp="1"/>
          </p:cNvSpPr>
          <p:nvPr>
            <p:ph type="ftr" sz="quarter" idx="3"/>
          </p:nvPr>
        </p:nvSpPr>
        <p:spPr/>
        <p:txBody>
          <a:bodyPr/>
          <a:lstStyle/>
          <a:p>
            <a:r>
              <a:rPr lang="de-DE"/>
              <a:t>Technischer Kundendienst</a:t>
            </a:r>
            <a:endParaRPr lang="de-DE" dirty="0"/>
          </a:p>
        </p:txBody>
      </p:sp>
      <p:sp>
        <p:nvSpPr>
          <p:cNvPr id="55" name="Datumsplatzhalter 54">
            <a:extLst>
              <a:ext uri="{FF2B5EF4-FFF2-40B4-BE49-F238E27FC236}">
                <a16:creationId xmlns:a16="http://schemas.microsoft.com/office/drawing/2014/main" id="{834ED672-3BD6-0C35-3328-94B677B07D8D}"/>
              </a:ext>
            </a:extLst>
          </p:cNvPr>
          <p:cNvSpPr>
            <a:spLocks noGrp="1"/>
          </p:cNvSpPr>
          <p:nvPr>
            <p:ph type="dt" sz="half" idx="2"/>
          </p:nvPr>
        </p:nvSpPr>
        <p:spPr/>
        <p:txBody>
          <a:bodyPr/>
          <a:lstStyle/>
          <a:p>
            <a:fld id="{27C0C552-54B7-4F0D-B901-96BCDB04340B}" type="datetime1">
              <a:rPr lang="de-DE" smtClean="0"/>
              <a:pPr/>
              <a:t>20.04.2023</a:t>
            </a:fld>
            <a:endParaRPr lang="de-DE" dirty="0"/>
          </a:p>
        </p:txBody>
      </p:sp>
      <p:pic>
        <p:nvPicPr>
          <p:cNvPr id="35" name="Grafik 34">
            <a:extLst>
              <a:ext uri="{FF2B5EF4-FFF2-40B4-BE49-F238E27FC236}">
                <a16:creationId xmlns:a16="http://schemas.microsoft.com/office/drawing/2014/main" id="{17232F40-870E-7F3D-32DD-C3E404A931F8}"/>
              </a:ext>
            </a:extLst>
          </p:cNvPr>
          <p:cNvPicPr>
            <a:picLocks noChangeAspect="1"/>
          </p:cNvPicPr>
          <p:nvPr/>
        </p:nvPicPr>
        <p:blipFill>
          <a:blip r:embed="rId3"/>
          <a:stretch>
            <a:fillRect/>
          </a:stretch>
        </p:blipFill>
        <p:spPr>
          <a:xfrm>
            <a:off x="263094" y="900561"/>
            <a:ext cx="7737752" cy="5867400"/>
          </a:xfrm>
          <a:prstGeom prst="rect">
            <a:avLst/>
          </a:prstGeom>
        </p:spPr>
      </p:pic>
      <p:sp>
        <p:nvSpPr>
          <p:cNvPr id="36" name="Rechteck 35">
            <a:extLst>
              <a:ext uri="{FF2B5EF4-FFF2-40B4-BE49-F238E27FC236}">
                <a16:creationId xmlns:a16="http://schemas.microsoft.com/office/drawing/2014/main" id="{51B112D9-197D-B78C-1742-97AB51BAC6CB}"/>
              </a:ext>
            </a:extLst>
          </p:cNvPr>
          <p:cNvSpPr/>
          <p:nvPr/>
        </p:nvSpPr>
        <p:spPr>
          <a:xfrm>
            <a:off x="3741490" y="1669409"/>
            <a:ext cx="838899" cy="1593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7" name="Pfeil: Fünfeck 36">
            <a:extLst>
              <a:ext uri="{FF2B5EF4-FFF2-40B4-BE49-F238E27FC236}">
                <a16:creationId xmlns:a16="http://schemas.microsoft.com/office/drawing/2014/main" id="{7C02EBFB-2B9F-C07C-23FD-9D2282728237}"/>
              </a:ext>
            </a:extLst>
          </p:cNvPr>
          <p:cNvSpPr/>
          <p:nvPr/>
        </p:nvSpPr>
        <p:spPr>
          <a:xfrm>
            <a:off x="8245577" y="3045204"/>
            <a:ext cx="462196" cy="718747"/>
          </a:xfrm>
          <a:prstGeom prst="homePlate">
            <a:avLst>
              <a:gd name="adj" fmla="val 100000"/>
            </a:avLst>
          </a:prstGeom>
          <a:solidFill>
            <a:srgbClr val="C9D961"/>
          </a:solidFill>
          <a:ln w="12700" cap="flat" cmpd="sng" algn="ctr">
            <a:solidFill>
              <a:srgbClr val="C9D961"/>
            </a:solid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C9D961"/>
              </a:solidFill>
              <a:effectLst/>
              <a:uLnTx/>
              <a:uFillTx/>
              <a:latin typeface="Arial" panose="020B0604020202020204"/>
              <a:ea typeface="+mn-ea"/>
              <a:cs typeface="+mn-cs"/>
            </a:endParaRPr>
          </a:p>
        </p:txBody>
      </p:sp>
      <p:sp>
        <p:nvSpPr>
          <p:cNvPr id="38" name="Rechteck 37">
            <a:extLst>
              <a:ext uri="{FF2B5EF4-FFF2-40B4-BE49-F238E27FC236}">
                <a16:creationId xmlns:a16="http://schemas.microsoft.com/office/drawing/2014/main" id="{94840857-C543-4BFF-EAA7-EC2F853B0559}"/>
              </a:ext>
            </a:extLst>
          </p:cNvPr>
          <p:cNvSpPr/>
          <p:nvPr/>
        </p:nvSpPr>
        <p:spPr>
          <a:xfrm>
            <a:off x="8753975" y="2774659"/>
            <a:ext cx="2716495" cy="12751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285172"/>
                </a:solidFill>
                <a:effectLst/>
                <a:uLnTx/>
                <a:uFillTx/>
                <a:latin typeface="Arial" panose="020B0604020202020204"/>
                <a:ea typeface="+mn-ea"/>
                <a:cs typeface="+mn-cs"/>
              </a:rPr>
              <a:t>Hier konnten durch rechtzeitiges Eingreifen, Maschinenprobleme verhindert werden.</a:t>
            </a:r>
          </a:p>
        </p:txBody>
      </p:sp>
      <p:cxnSp>
        <p:nvCxnSpPr>
          <p:cNvPr id="39" name="Gerader Verbinder 38">
            <a:extLst>
              <a:ext uri="{FF2B5EF4-FFF2-40B4-BE49-F238E27FC236}">
                <a16:creationId xmlns:a16="http://schemas.microsoft.com/office/drawing/2014/main" id="{4B185423-4CCB-919C-4C33-0C8DC2277DC4}"/>
              </a:ext>
            </a:extLst>
          </p:cNvPr>
          <p:cNvCxnSpPr/>
          <p:nvPr/>
        </p:nvCxnSpPr>
        <p:spPr>
          <a:xfrm>
            <a:off x="6266576" y="2248250"/>
            <a:ext cx="0" cy="327170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8F03CC1-B529-C583-9658-B108EB4F3C1C}"/>
              </a:ext>
            </a:extLst>
          </p:cNvPr>
          <p:cNvSpPr/>
          <p:nvPr/>
        </p:nvSpPr>
        <p:spPr>
          <a:xfrm>
            <a:off x="5778083" y="1845578"/>
            <a:ext cx="974648" cy="301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BBD03A"/>
                </a:solidFill>
                <a:effectLst/>
                <a:uLnTx/>
                <a:uFillTx/>
                <a:latin typeface="Arial" panose="020B0604020202020204"/>
                <a:ea typeface="+mn-ea"/>
                <a:cs typeface="+mn-cs"/>
              </a:rPr>
              <a:t>TRUMPF Einsatz</a:t>
            </a:r>
          </a:p>
        </p:txBody>
      </p:sp>
      <p:sp>
        <p:nvSpPr>
          <p:cNvPr id="41" name="Rechteck 40">
            <a:extLst>
              <a:ext uri="{FF2B5EF4-FFF2-40B4-BE49-F238E27FC236}">
                <a16:creationId xmlns:a16="http://schemas.microsoft.com/office/drawing/2014/main" id="{BED89D4E-83D8-A2C7-F902-D36B2C1CADB4}"/>
              </a:ext>
            </a:extLst>
          </p:cNvPr>
          <p:cNvSpPr/>
          <p:nvPr/>
        </p:nvSpPr>
        <p:spPr>
          <a:xfrm>
            <a:off x="747821" y="5519956"/>
            <a:ext cx="7157314" cy="645201"/>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Rechteck 41">
            <a:extLst>
              <a:ext uri="{FF2B5EF4-FFF2-40B4-BE49-F238E27FC236}">
                <a16:creationId xmlns:a16="http://schemas.microsoft.com/office/drawing/2014/main" id="{E95DD9C6-E77C-427F-F6FC-4F02D7A5642A}"/>
              </a:ext>
            </a:extLst>
          </p:cNvPr>
          <p:cNvSpPr/>
          <p:nvPr/>
        </p:nvSpPr>
        <p:spPr>
          <a:xfrm>
            <a:off x="4100660" y="2774659"/>
            <a:ext cx="2070204" cy="274529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Rechteck 42">
            <a:extLst>
              <a:ext uri="{FF2B5EF4-FFF2-40B4-BE49-F238E27FC236}">
                <a16:creationId xmlns:a16="http://schemas.microsoft.com/office/drawing/2014/main" id="{E1533CC4-98CF-EE04-86DD-10ACBCBD7DF3}"/>
              </a:ext>
            </a:extLst>
          </p:cNvPr>
          <p:cNvSpPr/>
          <p:nvPr/>
        </p:nvSpPr>
        <p:spPr>
          <a:xfrm>
            <a:off x="4299140" y="1920712"/>
            <a:ext cx="1794002" cy="12751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285172"/>
                </a:solidFill>
                <a:effectLst/>
                <a:uLnTx/>
                <a:uFillTx/>
                <a:latin typeface="Arial" panose="020B0604020202020204"/>
                <a:ea typeface="+mn-ea"/>
                <a:cs typeface="+mn-cs"/>
              </a:rPr>
              <a:t>Problemerkennung</a:t>
            </a:r>
          </a:p>
        </p:txBody>
      </p:sp>
    </p:spTree>
    <p:extLst>
      <p:ext uri="{BB962C8B-B14F-4D97-AF65-F5344CB8AC3E}">
        <p14:creationId xmlns:p14="http://schemas.microsoft.com/office/powerpoint/2010/main" val="25059595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Grafik 53">
            <a:extLst>
              <a:ext uri="{FF2B5EF4-FFF2-40B4-BE49-F238E27FC236}">
                <a16:creationId xmlns:a16="http://schemas.microsoft.com/office/drawing/2014/main" id="{9F304E0A-F688-F5F1-454D-3673FAD134C6}"/>
              </a:ext>
            </a:extLst>
          </p:cNvPr>
          <p:cNvPicPr>
            <a:picLocks noChangeAspect="1"/>
          </p:cNvPicPr>
          <p:nvPr/>
        </p:nvPicPr>
        <p:blipFill rotWithShape="1">
          <a:blip r:embed="rId3"/>
          <a:srcRect l="-1029" t="18823" r="-1" b="19684"/>
          <a:stretch/>
        </p:blipFill>
        <p:spPr>
          <a:xfrm>
            <a:off x="-135172" y="2076873"/>
            <a:ext cx="12354697" cy="3552650"/>
          </a:xfrm>
          <a:prstGeom prst="rect">
            <a:avLst/>
          </a:prstGeom>
        </p:spPr>
      </p:pic>
      <p:sp>
        <p:nvSpPr>
          <p:cNvPr id="11" name="Titel 10">
            <a:extLst>
              <a:ext uri="{FF2B5EF4-FFF2-40B4-BE49-F238E27FC236}">
                <a16:creationId xmlns:a16="http://schemas.microsoft.com/office/drawing/2014/main" id="{FC706960-11A8-7101-802A-B0F60BEAE79D}"/>
              </a:ext>
            </a:extLst>
          </p:cNvPr>
          <p:cNvSpPr>
            <a:spLocks noGrp="1"/>
          </p:cNvSpPr>
          <p:nvPr>
            <p:ph type="title"/>
          </p:nvPr>
        </p:nvSpPr>
        <p:spPr/>
        <p:txBody>
          <a:bodyPr/>
          <a:lstStyle/>
          <a:p>
            <a:r>
              <a:rPr lang="de-DE" b="0" dirty="0" err="1"/>
              <a:t>Condition</a:t>
            </a:r>
            <a:r>
              <a:rPr lang="de-DE" b="0" dirty="0"/>
              <a:t> Monitoring für </a:t>
            </a:r>
            <a:r>
              <a:rPr lang="de-DE" b="0" dirty="0" err="1"/>
              <a:t>TruMatic</a:t>
            </a:r>
            <a:r>
              <a:rPr lang="de-DE" b="0" dirty="0"/>
              <a:t> und TruPunch</a:t>
            </a:r>
            <a:endParaRPr lang="de-DE" dirty="0"/>
          </a:p>
        </p:txBody>
      </p:sp>
      <p:sp>
        <p:nvSpPr>
          <p:cNvPr id="12" name="Textplatzhalter 11">
            <a:extLst>
              <a:ext uri="{FF2B5EF4-FFF2-40B4-BE49-F238E27FC236}">
                <a16:creationId xmlns:a16="http://schemas.microsoft.com/office/drawing/2014/main" id="{43C5ED29-52DE-D404-4D8C-B1ADC62938B1}"/>
              </a:ext>
            </a:extLst>
          </p:cNvPr>
          <p:cNvSpPr>
            <a:spLocks noGrp="1"/>
          </p:cNvSpPr>
          <p:nvPr>
            <p:ph type="body" sz="quarter" idx="17"/>
          </p:nvPr>
        </p:nvSpPr>
        <p:spPr/>
        <p:txBody>
          <a:bodyPr/>
          <a:lstStyle/>
          <a:p>
            <a:r>
              <a:rPr lang="de-DE" sz="2000" dirty="0">
                <a:solidFill>
                  <a:schemeClr val="tx2"/>
                </a:solidFill>
              </a:rPr>
              <a:t>Beispiele für die datenbasierte Vermeidung von Stillständen</a:t>
            </a:r>
          </a:p>
          <a:p>
            <a:endParaRPr lang="de-DE" sz="2000" dirty="0"/>
          </a:p>
        </p:txBody>
      </p:sp>
      <p:sp>
        <p:nvSpPr>
          <p:cNvPr id="13" name="Foliennummernplatzhalter 12">
            <a:extLst>
              <a:ext uri="{FF2B5EF4-FFF2-40B4-BE49-F238E27FC236}">
                <a16:creationId xmlns:a16="http://schemas.microsoft.com/office/drawing/2014/main" id="{47C7963C-F72E-0091-783C-63323B969B2E}"/>
              </a:ext>
            </a:extLst>
          </p:cNvPr>
          <p:cNvSpPr>
            <a:spLocks noGrp="1"/>
          </p:cNvSpPr>
          <p:nvPr>
            <p:ph type="sldNum" sz="quarter" idx="4"/>
          </p:nvPr>
        </p:nvSpPr>
        <p:spPr/>
        <p:txBody>
          <a:bodyPr/>
          <a:lstStyle/>
          <a:p>
            <a:fld id="{8D57957C-F0F3-7842-B0E2-B762F92D6487}" type="slidenum">
              <a:rPr lang="de-DE" b="0" smtClean="0">
                <a:solidFill>
                  <a:schemeClr val="tx1"/>
                </a:solidFill>
              </a:rPr>
              <a:pPr/>
              <a:t>14</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4" name="Fußzeilenplatzhalter 13">
            <a:extLst>
              <a:ext uri="{FF2B5EF4-FFF2-40B4-BE49-F238E27FC236}">
                <a16:creationId xmlns:a16="http://schemas.microsoft.com/office/drawing/2014/main" id="{CC2ADE52-F17F-0C47-3206-816D34D59D30}"/>
              </a:ext>
            </a:extLst>
          </p:cNvPr>
          <p:cNvSpPr>
            <a:spLocks noGrp="1"/>
          </p:cNvSpPr>
          <p:nvPr>
            <p:ph type="ftr" sz="quarter" idx="3"/>
          </p:nvPr>
        </p:nvSpPr>
        <p:spPr/>
        <p:txBody>
          <a:bodyPr/>
          <a:lstStyle/>
          <a:p>
            <a:r>
              <a:rPr lang="de-DE"/>
              <a:t>Technischer Kundendienst</a:t>
            </a:r>
            <a:endParaRPr lang="de-DE" dirty="0"/>
          </a:p>
        </p:txBody>
      </p:sp>
      <p:sp>
        <p:nvSpPr>
          <p:cNvPr id="55" name="Datumsplatzhalter 54">
            <a:extLst>
              <a:ext uri="{FF2B5EF4-FFF2-40B4-BE49-F238E27FC236}">
                <a16:creationId xmlns:a16="http://schemas.microsoft.com/office/drawing/2014/main" id="{834ED672-3BD6-0C35-3328-94B677B07D8D}"/>
              </a:ext>
            </a:extLst>
          </p:cNvPr>
          <p:cNvSpPr>
            <a:spLocks noGrp="1"/>
          </p:cNvSpPr>
          <p:nvPr>
            <p:ph type="dt" sz="half" idx="2"/>
          </p:nvPr>
        </p:nvSpPr>
        <p:spPr/>
        <p:txBody>
          <a:bodyPr/>
          <a:lstStyle/>
          <a:p>
            <a:fld id="{27C0C552-54B7-4F0D-B901-96BCDB04340B}" type="datetime1">
              <a:rPr lang="de-DE" smtClean="0"/>
              <a:pPr/>
              <a:t>20.04.2023</a:t>
            </a:fld>
            <a:endParaRPr lang="de-DE" dirty="0"/>
          </a:p>
        </p:txBody>
      </p:sp>
      <p:pic>
        <p:nvPicPr>
          <p:cNvPr id="30" name="Grafik 29">
            <a:extLst>
              <a:ext uri="{FF2B5EF4-FFF2-40B4-BE49-F238E27FC236}">
                <a16:creationId xmlns:a16="http://schemas.microsoft.com/office/drawing/2014/main" id="{68E02CFD-9F85-49F7-EC13-D82967611356}"/>
              </a:ext>
            </a:extLst>
          </p:cNvPr>
          <p:cNvPicPr>
            <a:picLocks noChangeAspect="1"/>
          </p:cNvPicPr>
          <p:nvPr/>
        </p:nvPicPr>
        <p:blipFill>
          <a:blip r:embed="rId4"/>
          <a:stretch>
            <a:fillRect/>
          </a:stretch>
        </p:blipFill>
        <p:spPr>
          <a:xfrm>
            <a:off x="1979874" y="2115744"/>
            <a:ext cx="7658623" cy="3449607"/>
          </a:xfrm>
          <a:prstGeom prst="rect">
            <a:avLst/>
          </a:prstGeom>
        </p:spPr>
      </p:pic>
      <p:sp>
        <p:nvSpPr>
          <p:cNvPr id="31" name="Textfeld 30">
            <a:extLst>
              <a:ext uri="{FF2B5EF4-FFF2-40B4-BE49-F238E27FC236}">
                <a16:creationId xmlns:a16="http://schemas.microsoft.com/office/drawing/2014/main" id="{9B60272C-F434-CC23-1B75-F0B437809427}"/>
              </a:ext>
            </a:extLst>
          </p:cNvPr>
          <p:cNvSpPr txBox="1"/>
          <p:nvPr/>
        </p:nvSpPr>
        <p:spPr>
          <a:xfrm>
            <a:off x="467520" y="2189106"/>
            <a:ext cx="2814764" cy="9310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Reflektor Stanzkopf</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Verschmutzter Reflektor am Stanzkopf kann zum Stillstand führen. Durch rechtzeitiges Reinigen des Reflektors kann ein Stillstand verhindert werden. </a:t>
            </a:r>
          </a:p>
        </p:txBody>
      </p:sp>
      <p:sp>
        <p:nvSpPr>
          <p:cNvPr id="32" name="Textfeld 31">
            <a:extLst>
              <a:ext uri="{FF2B5EF4-FFF2-40B4-BE49-F238E27FC236}">
                <a16:creationId xmlns:a16="http://schemas.microsoft.com/office/drawing/2014/main" id="{EC4EBADD-16C6-E560-1739-9644F2FD2341}"/>
              </a:ext>
            </a:extLst>
          </p:cNvPr>
          <p:cNvSpPr txBox="1"/>
          <p:nvPr/>
        </p:nvSpPr>
        <p:spPr>
          <a:xfrm>
            <a:off x="397733" y="3573357"/>
            <a:ext cx="2235146" cy="1554272"/>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Schmierung Z Achs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Fettkartusche sollte bei Hinweis  binnen 30 Tagen ausgetauscht werden. Wird diese nicht getauscht, erhält der Kunde einen Technical Guide inkl. der passenden Materialnummer für eine Bestellung.</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endParaRPr kumimoji="0" lang="de-DE" sz="800" b="0" i="0" u="none" strike="noStrike" kern="1200" cap="none" spc="0" normalizeH="0" baseline="0" noProof="0" dirty="0">
              <a:ln>
                <a:noFill/>
              </a:ln>
              <a:solidFill>
                <a:srgbClr val="333333"/>
              </a:solidFill>
              <a:effectLst/>
              <a:uLnTx/>
              <a:uFillTx/>
              <a:latin typeface="Arial" panose="020B0604020202020204"/>
              <a:ea typeface="+mn-ea"/>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333333"/>
                </a:solidFill>
                <a:effectLst/>
                <a:uLnTx/>
                <a:uFillTx/>
                <a:latin typeface="Arial" panose="020B0604020202020204"/>
                <a:ea typeface="+mn-ea"/>
                <a:cs typeface="+mn-cs"/>
              </a:rPr>
              <a:t> </a:t>
            </a:r>
          </a:p>
        </p:txBody>
      </p:sp>
      <p:sp>
        <p:nvSpPr>
          <p:cNvPr id="33" name="Textfeld 32">
            <a:extLst>
              <a:ext uri="{FF2B5EF4-FFF2-40B4-BE49-F238E27FC236}">
                <a16:creationId xmlns:a16="http://schemas.microsoft.com/office/drawing/2014/main" id="{461B4238-E52C-97BD-812A-F93F7D0F73A9}"/>
              </a:ext>
            </a:extLst>
          </p:cNvPr>
          <p:cNvSpPr txBox="1"/>
          <p:nvPr/>
        </p:nvSpPr>
        <p:spPr>
          <a:xfrm>
            <a:off x="2118850" y="5121254"/>
            <a:ext cx="2825603" cy="1223412"/>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srgbClr val="285172"/>
                </a:solidFill>
                <a:effectLst/>
                <a:uLnTx/>
                <a:uFillTx/>
                <a:latin typeface="Arial"/>
                <a:ea typeface="+mn-ea"/>
                <a:cs typeface="Times New Roman"/>
              </a:rPr>
              <a:t>Laserklappe Drehmomen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Spontaner Ausfall der Laserklappe führt meist zu einem Stillstand von bis zu zwei Tagen. Monitoring verhindert Verschleppung des Fehlers und damit Folgekosten. Durch Technical Guides und Experten Know-how kann rechtzeitig Abhilfe geschaffen werden.</a:t>
            </a:r>
          </a:p>
        </p:txBody>
      </p:sp>
      <p:sp>
        <p:nvSpPr>
          <p:cNvPr id="34" name="Textfeld 33">
            <a:extLst>
              <a:ext uri="{FF2B5EF4-FFF2-40B4-BE49-F238E27FC236}">
                <a16:creationId xmlns:a16="http://schemas.microsoft.com/office/drawing/2014/main" id="{6B1C7C50-8AD9-1B91-60CE-9AF815E57CFF}"/>
              </a:ext>
            </a:extLst>
          </p:cNvPr>
          <p:cNvSpPr txBox="1"/>
          <p:nvPr/>
        </p:nvSpPr>
        <p:spPr>
          <a:xfrm>
            <a:off x="5834747" y="5360666"/>
            <a:ext cx="2825603" cy="1069524"/>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srgbClr val="285172"/>
                </a:solidFill>
                <a:effectLst/>
                <a:uLnTx/>
                <a:uFillTx/>
                <a:latin typeface="Arial"/>
                <a:ea typeface="+mn-ea"/>
                <a:cs typeface="Times New Roman"/>
              </a:rPr>
              <a:t>Achsen &amp; Antriebe</a:t>
            </a:r>
            <a:endPar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Allgemeine Fehler an den Achsen und Antrieben, bspw. Übertemperatur, zu hoher Drehmoment, Verklemmungen usw. können detektiert und mithilfe eines </a:t>
            </a: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Proactive</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Calls rechtzeitig vor Folgeschäden behoben werden. </a:t>
            </a:r>
          </a:p>
        </p:txBody>
      </p:sp>
      <p:sp>
        <p:nvSpPr>
          <p:cNvPr id="35" name="Textfeld 34">
            <a:extLst>
              <a:ext uri="{FF2B5EF4-FFF2-40B4-BE49-F238E27FC236}">
                <a16:creationId xmlns:a16="http://schemas.microsoft.com/office/drawing/2014/main" id="{21BCFE81-4096-926D-F0EF-04B18A1B69AA}"/>
              </a:ext>
            </a:extLst>
          </p:cNvPr>
          <p:cNvSpPr txBox="1"/>
          <p:nvPr/>
        </p:nvSpPr>
        <p:spPr>
          <a:xfrm>
            <a:off x="8512995" y="1683338"/>
            <a:ext cx="3247002" cy="1392689"/>
          </a:xfrm>
          <a:prstGeom prst="rect">
            <a:avLst/>
          </a:prstGeom>
          <a:noFill/>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Schneideinheit </a:t>
            </a:r>
            <a:r>
              <a:rPr kumimoji="0" lang="de-DE" sz="800" b="1" i="0" u="none" strike="noStrike" kern="1200" cap="none" spc="0" normalizeH="0" baseline="0" noProof="0" dirty="0">
                <a:ln>
                  <a:noFill/>
                </a:ln>
                <a:solidFill>
                  <a:srgbClr val="285172"/>
                </a:solidFill>
                <a:effectLst/>
                <a:uLnTx/>
                <a:uFillTx/>
                <a:latin typeface="Arial"/>
                <a:ea typeface="+mn-ea"/>
                <a:cs typeface="Times New Roman"/>
              </a:rPr>
              <a:t>(Fiber &amp; CO</a:t>
            </a:r>
            <a:r>
              <a:rPr kumimoji="0" lang="de-DE" sz="800" b="1" i="0" u="none" strike="noStrike" kern="1200" cap="none" spc="0" normalizeH="0" baseline="-25000" noProof="0" dirty="0">
                <a:ln>
                  <a:noFill/>
                </a:ln>
                <a:solidFill>
                  <a:srgbClr val="285172"/>
                </a:solidFill>
                <a:effectLst/>
                <a:uLnTx/>
                <a:uFillTx/>
                <a:latin typeface="Arial"/>
                <a:ea typeface="+mn-ea"/>
                <a:cs typeface="Times New Roman"/>
              </a:rPr>
              <a:t>2</a:t>
            </a:r>
            <a:r>
              <a:rPr kumimoji="0" lang="de-DE" sz="800" b="1" i="0" u="none" strike="noStrike" kern="1200" cap="none" spc="0" normalizeH="0" baseline="0" noProof="0" dirty="0">
                <a:ln>
                  <a:noFill/>
                </a:ln>
                <a:solidFill>
                  <a:srgbClr val="285172"/>
                </a:solidFill>
                <a:effectLst/>
                <a:uLnTx/>
                <a:uFillTx/>
                <a:latin typeface="Arial"/>
                <a:ea typeface="+mn-ea"/>
                <a:cs typeface="Times New Roman"/>
              </a:rPr>
              <a:t>)</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Häufige Kollisionen führen zu Verschmutzungen, sodass der Schneidkopf nicht mehr richtig einkoppeln kann. Folgen können Schäden am Schneidkopf, Stillstand und ein Serviceeinsatz sein. Monitoring ermöglicht frühzeitige Erkennung und liefert proaktive Infos zu Maßnahmen, um Kopplung weiterhin zu gewährleisten.</a:t>
            </a:r>
          </a:p>
        </p:txBody>
      </p:sp>
      <p:grpSp>
        <p:nvGrpSpPr>
          <p:cNvPr id="36" name="Gruppieren 35">
            <a:extLst>
              <a:ext uri="{FF2B5EF4-FFF2-40B4-BE49-F238E27FC236}">
                <a16:creationId xmlns:a16="http://schemas.microsoft.com/office/drawing/2014/main" id="{1D6416DA-259F-6ED7-6AFD-3D37D99819E3}"/>
              </a:ext>
            </a:extLst>
          </p:cNvPr>
          <p:cNvGrpSpPr/>
          <p:nvPr/>
        </p:nvGrpSpPr>
        <p:grpSpPr>
          <a:xfrm flipH="1">
            <a:off x="7328825" y="1926114"/>
            <a:ext cx="4261709" cy="728288"/>
            <a:chOff x="-928612" y="2039672"/>
            <a:chExt cx="4261709" cy="728288"/>
          </a:xfrm>
        </p:grpSpPr>
        <p:cxnSp>
          <p:nvCxnSpPr>
            <p:cNvPr id="37" name="Gerader Verbinder 36">
              <a:extLst>
                <a:ext uri="{FF2B5EF4-FFF2-40B4-BE49-F238E27FC236}">
                  <a16:creationId xmlns:a16="http://schemas.microsoft.com/office/drawing/2014/main" id="{7B6A6785-87D8-BA7B-7972-0D71F8FE2BB6}"/>
                </a:ext>
              </a:extLst>
            </p:cNvPr>
            <p:cNvCxnSpPr/>
            <p:nvPr/>
          </p:nvCxnSpPr>
          <p:spPr>
            <a:xfrm>
              <a:off x="2051437" y="2040916"/>
              <a:ext cx="1281660" cy="72704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191B845F-D116-93A2-EFE0-C73FF4F986F9}"/>
                </a:ext>
              </a:extLst>
            </p:cNvPr>
            <p:cNvCxnSpPr/>
            <p:nvPr/>
          </p:nvCxnSpPr>
          <p:spPr>
            <a:xfrm>
              <a:off x="-928612" y="2039672"/>
              <a:ext cx="298800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9" name="Textfeld 38">
            <a:extLst>
              <a:ext uri="{FF2B5EF4-FFF2-40B4-BE49-F238E27FC236}">
                <a16:creationId xmlns:a16="http://schemas.microsoft.com/office/drawing/2014/main" id="{54AFC7D6-24CC-D94A-9859-E9A68DFB8705}"/>
              </a:ext>
            </a:extLst>
          </p:cNvPr>
          <p:cNvSpPr txBox="1"/>
          <p:nvPr/>
        </p:nvSpPr>
        <p:spPr>
          <a:xfrm>
            <a:off x="9002031" y="4060333"/>
            <a:ext cx="2884396" cy="170046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Bürstentischplatten</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Bürstentischplatten im Bereich der Laserklappe unterliegen einem stärkeren Verbrauch. Eine fehlerhafte Höhenregelung des Schneidkopfes kann in diesen Fällen zur Kollision mit der Laserklappe führen. Proaktiver Technical Guide gibt bspw. rechtzeitig Hinweis auf notwendigen Austausch der Bürstentische bevor Folgekosten entsteh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endParaRPr>
          </a:p>
        </p:txBody>
      </p:sp>
      <p:grpSp>
        <p:nvGrpSpPr>
          <p:cNvPr id="40" name="Gruppieren 39">
            <a:extLst>
              <a:ext uri="{FF2B5EF4-FFF2-40B4-BE49-F238E27FC236}">
                <a16:creationId xmlns:a16="http://schemas.microsoft.com/office/drawing/2014/main" id="{AE87649B-C12B-7862-8801-331B917FA68F}"/>
              </a:ext>
            </a:extLst>
          </p:cNvPr>
          <p:cNvGrpSpPr/>
          <p:nvPr/>
        </p:nvGrpSpPr>
        <p:grpSpPr>
          <a:xfrm>
            <a:off x="467520" y="3827332"/>
            <a:ext cx="3058479" cy="181306"/>
            <a:chOff x="-715534" y="2038304"/>
            <a:chExt cx="3058479" cy="181306"/>
          </a:xfrm>
        </p:grpSpPr>
        <p:cxnSp>
          <p:nvCxnSpPr>
            <p:cNvPr id="41" name="Gerader Verbinder 40">
              <a:extLst>
                <a:ext uri="{FF2B5EF4-FFF2-40B4-BE49-F238E27FC236}">
                  <a16:creationId xmlns:a16="http://schemas.microsoft.com/office/drawing/2014/main" id="{A11A67DC-E88E-EA5D-1E52-B9D7E86915B4}"/>
                </a:ext>
              </a:extLst>
            </p:cNvPr>
            <p:cNvCxnSpPr>
              <a:cxnSpLocks/>
            </p:cNvCxnSpPr>
            <p:nvPr/>
          </p:nvCxnSpPr>
          <p:spPr>
            <a:xfrm>
              <a:off x="1565946" y="2038304"/>
              <a:ext cx="776999" cy="18130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3131C4C2-8E5E-48C1-7EEB-092AC4057B73}"/>
                </a:ext>
              </a:extLst>
            </p:cNvPr>
            <p:cNvCxnSpPr>
              <a:cxnSpLocks/>
            </p:cNvCxnSpPr>
            <p:nvPr/>
          </p:nvCxnSpPr>
          <p:spPr>
            <a:xfrm>
              <a:off x="-715534" y="2039672"/>
              <a:ext cx="2302313" cy="124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43" name="Gerader Verbinder 42">
            <a:extLst>
              <a:ext uri="{FF2B5EF4-FFF2-40B4-BE49-F238E27FC236}">
                <a16:creationId xmlns:a16="http://schemas.microsoft.com/office/drawing/2014/main" id="{E710F86A-5092-FB92-45EA-C1D6EFF4ADC9}"/>
              </a:ext>
            </a:extLst>
          </p:cNvPr>
          <p:cNvCxnSpPr>
            <a:cxnSpLocks/>
          </p:cNvCxnSpPr>
          <p:nvPr/>
        </p:nvCxnSpPr>
        <p:spPr>
          <a:xfrm flipH="1">
            <a:off x="9068586" y="4304796"/>
            <a:ext cx="256919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B9E438E1-6AA0-691A-518E-3102A88F99EF}"/>
              </a:ext>
            </a:extLst>
          </p:cNvPr>
          <p:cNvCxnSpPr>
            <a:cxnSpLocks/>
          </p:cNvCxnSpPr>
          <p:nvPr/>
        </p:nvCxnSpPr>
        <p:spPr>
          <a:xfrm flipH="1">
            <a:off x="2210421" y="5354494"/>
            <a:ext cx="1783504"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D1A56FA-880D-834D-1319-0139221D4DE0}"/>
              </a:ext>
            </a:extLst>
          </p:cNvPr>
          <p:cNvCxnSpPr>
            <a:cxnSpLocks/>
          </p:cNvCxnSpPr>
          <p:nvPr/>
        </p:nvCxnSpPr>
        <p:spPr>
          <a:xfrm flipH="1">
            <a:off x="5835300" y="5576556"/>
            <a:ext cx="256919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1BE341D0-C74A-9A7B-6D17-1574BE6F2363}"/>
              </a:ext>
            </a:extLst>
          </p:cNvPr>
          <p:cNvCxnSpPr>
            <a:cxnSpLocks/>
          </p:cNvCxnSpPr>
          <p:nvPr/>
        </p:nvCxnSpPr>
        <p:spPr>
          <a:xfrm flipH="1">
            <a:off x="515938" y="2436087"/>
            <a:ext cx="240236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43772520-ED6E-E65B-1E3F-AA04E0A8C014}"/>
              </a:ext>
            </a:extLst>
          </p:cNvPr>
          <p:cNvCxnSpPr>
            <a:cxnSpLocks/>
          </p:cNvCxnSpPr>
          <p:nvPr/>
        </p:nvCxnSpPr>
        <p:spPr>
          <a:xfrm flipH="1">
            <a:off x="3813070" y="1752131"/>
            <a:ext cx="2704462"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00F1510E-459F-693C-2EA7-C166CBC6039B}"/>
              </a:ext>
            </a:extLst>
          </p:cNvPr>
          <p:cNvCxnSpPr/>
          <p:nvPr/>
        </p:nvCxnSpPr>
        <p:spPr>
          <a:xfrm>
            <a:off x="2909420" y="2428968"/>
            <a:ext cx="1281660" cy="72704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F5D8CAAB-4415-DAC9-5CC0-FFEF0BC951A5}"/>
              </a:ext>
            </a:extLst>
          </p:cNvPr>
          <p:cNvCxnSpPr>
            <a:cxnSpLocks/>
          </p:cNvCxnSpPr>
          <p:nvPr/>
        </p:nvCxnSpPr>
        <p:spPr>
          <a:xfrm flipH="1">
            <a:off x="6171247" y="1764531"/>
            <a:ext cx="328120" cy="91650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52E360A7-4CAF-6307-83EF-58AAAFA0CFDD}"/>
              </a:ext>
            </a:extLst>
          </p:cNvPr>
          <p:cNvCxnSpPr>
            <a:cxnSpLocks/>
          </p:cNvCxnSpPr>
          <p:nvPr/>
        </p:nvCxnSpPr>
        <p:spPr>
          <a:xfrm flipV="1">
            <a:off x="3968857" y="4825064"/>
            <a:ext cx="859475" cy="53560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B67C9301-421E-5D99-9CE8-7614AD79A7C4}"/>
              </a:ext>
            </a:extLst>
          </p:cNvPr>
          <p:cNvCxnSpPr>
            <a:cxnSpLocks/>
          </p:cNvCxnSpPr>
          <p:nvPr/>
        </p:nvCxnSpPr>
        <p:spPr>
          <a:xfrm>
            <a:off x="5500581" y="4942475"/>
            <a:ext cx="335024" cy="64230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DED1E872-1E6D-D58B-1F09-994690DF05F8}"/>
              </a:ext>
            </a:extLst>
          </p:cNvPr>
          <p:cNvCxnSpPr>
            <a:cxnSpLocks/>
          </p:cNvCxnSpPr>
          <p:nvPr/>
        </p:nvCxnSpPr>
        <p:spPr>
          <a:xfrm>
            <a:off x="8064230" y="3945418"/>
            <a:ext cx="1013924" cy="37258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53" name="Textfeld 52">
            <a:extLst>
              <a:ext uri="{FF2B5EF4-FFF2-40B4-BE49-F238E27FC236}">
                <a16:creationId xmlns:a16="http://schemas.microsoft.com/office/drawing/2014/main" id="{839B0110-8024-E24E-4B9C-850D08C1DFF3}"/>
              </a:ext>
            </a:extLst>
          </p:cNvPr>
          <p:cNvSpPr txBox="1"/>
          <p:nvPr/>
        </p:nvSpPr>
        <p:spPr>
          <a:xfrm>
            <a:off x="3750205" y="1513228"/>
            <a:ext cx="2814764" cy="108491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Vakuumpump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Fällt die CO</a:t>
            </a:r>
            <a:r>
              <a:rPr kumimoji="0" lang="de-DE" sz="1000" b="0" i="0" u="none" strike="noStrike" kern="1200" cap="none" spc="0" normalizeH="0" baseline="-25000" noProof="0" dirty="0">
                <a:ln>
                  <a:noFill/>
                </a:ln>
                <a:solidFill>
                  <a:srgbClr val="333333"/>
                </a:solidFill>
                <a:effectLst/>
                <a:uLnTx/>
                <a:uFillTx/>
                <a:latin typeface="Arial" panose="020B0604020202020204"/>
                <a:ea typeface="+mn-ea"/>
                <a:cs typeface="+mn-cs"/>
              </a:rPr>
              <a:t>2</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Vakuumpumpe am Resonator überraschend aus, kann kein Laserstrahl generiert werden. Die Überprüfung dieser Pumpe ermöglicht es, Stillstände zu vermeiden.</a:t>
            </a:r>
          </a:p>
        </p:txBody>
      </p:sp>
    </p:spTree>
    <p:extLst>
      <p:ext uri="{BB962C8B-B14F-4D97-AF65-F5344CB8AC3E}">
        <p14:creationId xmlns:p14="http://schemas.microsoft.com/office/powerpoint/2010/main" val="2307720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FC706960-11A8-7101-802A-B0F60BEAE79D}"/>
              </a:ext>
            </a:extLst>
          </p:cNvPr>
          <p:cNvSpPr>
            <a:spLocks noGrp="1"/>
          </p:cNvSpPr>
          <p:nvPr>
            <p:ph type="title"/>
          </p:nvPr>
        </p:nvSpPr>
        <p:spPr/>
        <p:txBody>
          <a:bodyPr/>
          <a:lstStyle/>
          <a:p>
            <a:pPr marL="0" marR="0" lvl="0" indent="0" algn="l" defTabSz="914355" rtl="0" eaLnBrk="1" fontAlgn="auto" latinLnBrk="0" hangingPunct="1">
              <a:lnSpc>
                <a:spcPct val="90000"/>
              </a:lnSpc>
              <a:spcBef>
                <a:spcPct val="0"/>
              </a:spcBef>
              <a:spcAft>
                <a:spcPts val="0"/>
              </a:spcAft>
              <a:buClrTx/>
              <a:buSzTx/>
              <a:buFontTx/>
              <a:buNone/>
              <a:tabLst/>
              <a:defRPr/>
            </a:pPr>
            <a:r>
              <a:rPr kumimoji="0" lang="de-DE" sz="2800" b="0" i="0" u="none" strike="noStrike" kern="1200" cap="none" spc="0" normalizeH="0" baseline="0" noProof="0" dirty="0" err="1">
                <a:ln>
                  <a:noFill/>
                </a:ln>
                <a:solidFill>
                  <a:srgbClr val="333333"/>
                </a:solidFill>
                <a:effectLst/>
                <a:uLnTx/>
                <a:uFillTx/>
                <a:latin typeface="Arial" panose="020B0604020202020204"/>
                <a:ea typeface="+mj-ea"/>
                <a:cs typeface="Arial" panose="020B0604020202020204" pitchFamily="34" charset="0"/>
              </a:rPr>
              <a:t>Condition</a:t>
            </a:r>
            <a:r>
              <a:rPr kumimoji="0" lang="de-DE" sz="2800" b="0" i="0" u="none" strike="noStrike" kern="1200" cap="none" spc="0" normalizeH="0" baseline="0" noProof="0" dirty="0">
                <a:ln>
                  <a:noFill/>
                </a:ln>
                <a:solidFill>
                  <a:srgbClr val="333333"/>
                </a:solidFill>
                <a:effectLst/>
                <a:uLnTx/>
                <a:uFillTx/>
                <a:latin typeface="Arial" panose="020B0604020202020204"/>
                <a:ea typeface="+mj-ea"/>
                <a:cs typeface="Arial" panose="020B0604020202020204" pitchFamily="34" charset="0"/>
              </a:rPr>
              <a:t> Monitoring für </a:t>
            </a:r>
            <a:r>
              <a:rPr kumimoji="0" lang="de-DE" sz="2800" b="0" i="0" u="none" strike="noStrike" kern="1200" cap="none" spc="0" normalizeH="0" baseline="0" noProof="0" dirty="0" err="1">
                <a:ln>
                  <a:noFill/>
                </a:ln>
                <a:solidFill>
                  <a:srgbClr val="333333"/>
                </a:solidFill>
                <a:effectLst/>
                <a:uLnTx/>
                <a:uFillTx/>
                <a:latin typeface="Arial" panose="020B0604020202020204"/>
                <a:ea typeface="+mj-ea"/>
                <a:cs typeface="Arial" panose="020B0604020202020204" pitchFamily="34" charset="0"/>
              </a:rPr>
              <a:t>TruBend</a:t>
            </a:r>
            <a:endParaRPr kumimoji="0" lang="de-DE" sz="2800" b="0" i="0" u="none" strike="noStrike" kern="1200" cap="none" spc="0" normalizeH="0" baseline="0" noProof="0" dirty="0">
              <a:ln>
                <a:noFill/>
              </a:ln>
              <a:solidFill>
                <a:srgbClr val="333333"/>
              </a:solidFill>
              <a:effectLst/>
              <a:uLnTx/>
              <a:uFillTx/>
              <a:latin typeface="Arial" panose="020B0604020202020204"/>
              <a:ea typeface="+mj-ea"/>
              <a:cs typeface="Arial" panose="020B0604020202020204" pitchFamily="34" charset="0"/>
            </a:endParaRPr>
          </a:p>
        </p:txBody>
      </p:sp>
      <p:sp>
        <p:nvSpPr>
          <p:cNvPr id="12" name="Textplatzhalter 11">
            <a:extLst>
              <a:ext uri="{FF2B5EF4-FFF2-40B4-BE49-F238E27FC236}">
                <a16:creationId xmlns:a16="http://schemas.microsoft.com/office/drawing/2014/main" id="{43C5ED29-52DE-D404-4D8C-B1ADC62938B1}"/>
              </a:ext>
            </a:extLst>
          </p:cNvPr>
          <p:cNvSpPr>
            <a:spLocks noGrp="1"/>
          </p:cNvSpPr>
          <p:nvPr>
            <p:ph type="body" sz="quarter" idx="17"/>
          </p:nvPr>
        </p:nvSpPr>
        <p:spPr/>
        <p:txBody>
          <a:bodyPr/>
          <a:lstStyle/>
          <a:p>
            <a:r>
              <a:rPr lang="de-DE" sz="2000" dirty="0">
                <a:solidFill>
                  <a:schemeClr val="tx2"/>
                </a:solidFill>
              </a:rPr>
              <a:t>Beispiele für die datenbasierte Vermeidung von Stillständen</a:t>
            </a:r>
          </a:p>
          <a:p>
            <a:endParaRPr lang="de-DE" sz="2000" dirty="0"/>
          </a:p>
        </p:txBody>
      </p:sp>
      <p:sp>
        <p:nvSpPr>
          <p:cNvPr id="13" name="Foliennummernplatzhalter 12">
            <a:extLst>
              <a:ext uri="{FF2B5EF4-FFF2-40B4-BE49-F238E27FC236}">
                <a16:creationId xmlns:a16="http://schemas.microsoft.com/office/drawing/2014/main" id="{47C7963C-F72E-0091-783C-63323B969B2E}"/>
              </a:ext>
            </a:extLst>
          </p:cNvPr>
          <p:cNvSpPr>
            <a:spLocks noGrp="1"/>
          </p:cNvSpPr>
          <p:nvPr>
            <p:ph type="sldNum" sz="quarter" idx="4"/>
          </p:nvPr>
        </p:nvSpPr>
        <p:spPr/>
        <p:txBody>
          <a:bodyPr/>
          <a:lstStyle/>
          <a:p>
            <a:fld id="{8D57957C-F0F3-7842-B0E2-B762F92D6487}" type="slidenum">
              <a:rPr lang="de-DE" b="0" smtClean="0">
                <a:solidFill>
                  <a:schemeClr val="tx1"/>
                </a:solidFill>
              </a:rPr>
              <a:pPr/>
              <a:t>15</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4" name="Fußzeilenplatzhalter 13">
            <a:extLst>
              <a:ext uri="{FF2B5EF4-FFF2-40B4-BE49-F238E27FC236}">
                <a16:creationId xmlns:a16="http://schemas.microsoft.com/office/drawing/2014/main" id="{CC2ADE52-F17F-0C47-3206-816D34D59D30}"/>
              </a:ext>
            </a:extLst>
          </p:cNvPr>
          <p:cNvSpPr>
            <a:spLocks noGrp="1"/>
          </p:cNvSpPr>
          <p:nvPr>
            <p:ph type="ftr" sz="quarter" idx="3"/>
          </p:nvPr>
        </p:nvSpPr>
        <p:spPr/>
        <p:txBody>
          <a:bodyPr/>
          <a:lstStyle/>
          <a:p>
            <a:r>
              <a:rPr lang="de-DE"/>
              <a:t>Technischer Kundendienst</a:t>
            </a:r>
            <a:endParaRPr lang="de-DE" dirty="0"/>
          </a:p>
        </p:txBody>
      </p:sp>
      <p:sp>
        <p:nvSpPr>
          <p:cNvPr id="55" name="Datumsplatzhalter 54">
            <a:extLst>
              <a:ext uri="{FF2B5EF4-FFF2-40B4-BE49-F238E27FC236}">
                <a16:creationId xmlns:a16="http://schemas.microsoft.com/office/drawing/2014/main" id="{834ED672-3BD6-0C35-3328-94B677B07D8D}"/>
              </a:ext>
            </a:extLst>
          </p:cNvPr>
          <p:cNvSpPr>
            <a:spLocks noGrp="1"/>
          </p:cNvSpPr>
          <p:nvPr>
            <p:ph type="dt" sz="half" idx="2"/>
          </p:nvPr>
        </p:nvSpPr>
        <p:spPr/>
        <p:txBody>
          <a:bodyPr/>
          <a:lstStyle/>
          <a:p>
            <a:fld id="{27C0C552-54B7-4F0D-B901-96BCDB04340B}" type="datetime1">
              <a:rPr lang="de-DE" smtClean="0"/>
              <a:pPr/>
              <a:t>20.04.2023</a:t>
            </a:fld>
            <a:endParaRPr lang="de-DE" dirty="0"/>
          </a:p>
        </p:txBody>
      </p:sp>
      <p:sp>
        <p:nvSpPr>
          <p:cNvPr id="2" name="Rechteck 1">
            <a:extLst>
              <a:ext uri="{FF2B5EF4-FFF2-40B4-BE49-F238E27FC236}">
                <a16:creationId xmlns:a16="http://schemas.microsoft.com/office/drawing/2014/main" id="{F3FB6BBD-4EEB-5AB6-D5C5-744697AF2BE0}"/>
              </a:ext>
            </a:extLst>
          </p:cNvPr>
          <p:cNvSpPr/>
          <p:nvPr/>
        </p:nvSpPr>
        <p:spPr>
          <a:xfrm>
            <a:off x="254442" y="2115744"/>
            <a:ext cx="11683116" cy="3453447"/>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Rechteck 2">
            <a:extLst>
              <a:ext uri="{FF2B5EF4-FFF2-40B4-BE49-F238E27FC236}">
                <a16:creationId xmlns:a16="http://schemas.microsoft.com/office/drawing/2014/main" id="{F23B89E2-527E-2077-8F83-EF00D91D2419}"/>
              </a:ext>
            </a:extLst>
          </p:cNvPr>
          <p:cNvSpPr/>
          <p:nvPr/>
        </p:nvSpPr>
        <p:spPr>
          <a:xfrm>
            <a:off x="254442" y="2076873"/>
            <a:ext cx="11683116" cy="3552650"/>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rgbClr val="FFFFFF"/>
              </a:solidFill>
              <a:effectLst/>
              <a:highlight>
                <a:srgbClr val="FFFF00"/>
              </a:highlight>
              <a:uLnTx/>
              <a:uFillTx/>
              <a:latin typeface="Arial" panose="020B0604020202020204"/>
              <a:ea typeface="+mn-ea"/>
              <a:cs typeface="+mn-cs"/>
            </a:endParaRPr>
          </a:p>
        </p:txBody>
      </p:sp>
      <p:pic>
        <p:nvPicPr>
          <p:cNvPr id="4" name="Bildplatzhalter 7">
            <a:extLst>
              <a:ext uri="{FF2B5EF4-FFF2-40B4-BE49-F238E27FC236}">
                <a16:creationId xmlns:a16="http://schemas.microsoft.com/office/drawing/2014/main" id="{8A50183C-B72C-14D3-4ADC-EE170E5A8EC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2999"/>
          <a:stretch/>
        </p:blipFill>
        <p:spPr>
          <a:xfrm>
            <a:off x="0" y="2029233"/>
            <a:ext cx="12192000" cy="3600289"/>
          </a:xfrm>
          <a:prstGeom prst="rect">
            <a:avLst/>
          </a:prstGeom>
        </p:spPr>
      </p:pic>
      <p:sp>
        <p:nvSpPr>
          <p:cNvPr id="6" name="Textfeld 5">
            <a:extLst>
              <a:ext uri="{FF2B5EF4-FFF2-40B4-BE49-F238E27FC236}">
                <a16:creationId xmlns:a16="http://schemas.microsoft.com/office/drawing/2014/main" id="{C5CCED1D-DAE2-EBFF-4753-0CE2B6EBD7B8}"/>
              </a:ext>
            </a:extLst>
          </p:cNvPr>
          <p:cNvSpPr txBox="1"/>
          <p:nvPr/>
        </p:nvSpPr>
        <p:spPr>
          <a:xfrm>
            <a:off x="440494" y="1928032"/>
            <a:ext cx="219880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srgbClr val="285172"/>
                </a:solidFill>
                <a:effectLst/>
                <a:uLnTx/>
                <a:uFillTx/>
                <a:latin typeface="Arial"/>
                <a:ea typeface="+mn-ea"/>
                <a:cs typeface="Times New Roman"/>
              </a:rPr>
              <a:t> </a:t>
            </a:r>
          </a:p>
        </p:txBody>
      </p:sp>
      <p:sp>
        <p:nvSpPr>
          <p:cNvPr id="7" name="Textfeld 6">
            <a:extLst>
              <a:ext uri="{FF2B5EF4-FFF2-40B4-BE49-F238E27FC236}">
                <a16:creationId xmlns:a16="http://schemas.microsoft.com/office/drawing/2014/main" id="{09A8F55D-7907-6C32-4351-E217429E546C}"/>
              </a:ext>
            </a:extLst>
          </p:cNvPr>
          <p:cNvSpPr txBox="1"/>
          <p:nvPr/>
        </p:nvSpPr>
        <p:spPr>
          <a:xfrm>
            <a:off x="7721944" y="1549046"/>
            <a:ext cx="3874625" cy="141577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85172"/>
                </a:solidFill>
                <a:effectLst/>
                <a:uLnTx/>
                <a:uFillTx/>
                <a:latin typeface="Arial"/>
                <a:ea typeface="+mn-ea"/>
                <a:cs typeface="Times New Roman"/>
              </a:rPr>
              <a:t>Führungsschienen &amp; -roll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chemeClr val="dk1"/>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Verschmutzungen und Schäden an den Führungsrollen können zu Positionierungenauigkeiten und Produktionseinschränkungen führen. Ein Technical Guide informiert über das notwendige Ausbessern von Kerben und der Reinigung von Führungsschienen. Andernfalls kann ein Austausch des Führungswagens mit Folgekosten notwendig werden.   </a:t>
            </a:r>
          </a:p>
        </p:txBody>
      </p:sp>
      <p:sp>
        <p:nvSpPr>
          <p:cNvPr id="8" name="Textfeld 7">
            <a:extLst>
              <a:ext uri="{FF2B5EF4-FFF2-40B4-BE49-F238E27FC236}">
                <a16:creationId xmlns:a16="http://schemas.microsoft.com/office/drawing/2014/main" id="{7425D5F0-F180-5E6D-6262-091238E702C9}"/>
              </a:ext>
            </a:extLst>
          </p:cNvPr>
          <p:cNvSpPr txBox="1"/>
          <p:nvPr/>
        </p:nvSpPr>
        <p:spPr>
          <a:xfrm>
            <a:off x="9186662" y="2953334"/>
            <a:ext cx="2669940" cy="1115690"/>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85172"/>
                </a:solidFill>
                <a:effectLst/>
                <a:uLnTx/>
                <a:uFillTx/>
                <a:latin typeface="Arial"/>
                <a:ea typeface="+mn-ea"/>
                <a:cs typeface="Times New Roman"/>
              </a:rPr>
              <a:t>Zentralschmieru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chemeClr val="dk1"/>
                </a:solidFill>
                <a:effectLst/>
                <a:uLnTx/>
                <a:uFillTx/>
                <a:latin typeface="Segoe UI" panose="020B0502040204020203" pitchFamily="34" charset="0"/>
                <a:ea typeface="+mn-ea"/>
                <a:cs typeface="+mn-cs"/>
              </a:rPr>
              <a:t>Aufgrund von bspw. Luftdruck, leerem Schmiermittel, Verschmutzung </a:t>
            </a:r>
            <a:r>
              <a:rPr kumimoji="0" lang="de-DE" sz="1000" b="0" i="0" u="none" strike="noStrike" kern="1200" cap="none" spc="0" normalizeH="0" baseline="0" noProof="0" dirty="0" err="1">
                <a:ln>
                  <a:noFill/>
                </a:ln>
                <a:solidFill>
                  <a:schemeClr val="dk1"/>
                </a:solidFill>
                <a:effectLst/>
                <a:uLnTx/>
                <a:uFillTx/>
                <a:latin typeface="Segoe UI" panose="020B0502040204020203" pitchFamily="34" charset="0"/>
                <a:ea typeface="+mn-ea"/>
                <a:cs typeface="+mn-cs"/>
              </a:rPr>
              <a:t>u.ä.</a:t>
            </a:r>
            <a:r>
              <a:rPr kumimoji="0" lang="de-DE" sz="1000" b="0" i="0" u="none" strike="noStrike" kern="1200" cap="none" spc="0" normalizeH="0" baseline="0" noProof="0" dirty="0">
                <a:ln>
                  <a:noFill/>
                </a:ln>
                <a:solidFill>
                  <a:schemeClr val="dk1"/>
                </a:solidFill>
                <a:effectLst/>
                <a:uLnTx/>
                <a:uFillTx/>
                <a:latin typeface="Segoe UI" panose="020B0502040204020203" pitchFamily="34" charset="0"/>
                <a:ea typeface="+mn-ea"/>
                <a:cs typeface="+mn-cs"/>
              </a:rPr>
              <a:t> entstehen Probleme an der Zentralschmierung.  </a:t>
            </a:r>
          </a:p>
        </p:txBody>
      </p:sp>
      <p:sp>
        <p:nvSpPr>
          <p:cNvPr id="9" name="Textfeld 8">
            <a:extLst>
              <a:ext uri="{FF2B5EF4-FFF2-40B4-BE49-F238E27FC236}">
                <a16:creationId xmlns:a16="http://schemas.microsoft.com/office/drawing/2014/main" id="{9EEB4E5E-62FD-A180-30A6-86FE9CEE1E9A}"/>
              </a:ext>
            </a:extLst>
          </p:cNvPr>
          <p:cNvSpPr txBox="1"/>
          <p:nvPr/>
        </p:nvSpPr>
        <p:spPr>
          <a:xfrm>
            <a:off x="8885070" y="4502295"/>
            <a:ext cx="2711500"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85172"/>
                </a:solidFill>
                <a:effectLst/>
                <a:uLnTx/>
                <a:uFillTx/>
                <a:latin typeface="Arial"/>
                <a:ea typeface="+mn-ea"/>
                <a:cs typeface="Times New Roman"/>
              </a:rPr>
              <a:t>Betriebsstundenzäh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Wird die Maschine nicht ordentlich heruntergefahren, droht Datenverlust. Korrektes Runterfahren, um Informationen zu den Maschinenstunden/Biegungen/</a:t>
            </a: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u.ä</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zu sichern, liefert Abhilfe. </a:t>
            </a:r>
          </a:p>
        </p:txBody>
      </p:sp>
      <p:sp>
        <p:nvSpPr>
          <p:cNvPr id="10" name="Textfeld 9">
            <a:extLst>
              <a:ext uri="{FF2B5EF4-FFF2-40B4-BE49-F238E27FC236}">
                <a16:creationId xmlns:a16="http://schemas.microsoft.com/office/drawing/2014/main" id="{CB5564FB-BD74-3FD0-F132-4E565785ADF6}"/>
              </a:ext>
            </a:extLst>
          </p:cNvPr>
          <p:cNvSpPr txBox="1"/>
          <p:nvPr/>
        </p:nvSpPr>
        <p:spPr>
          <a:xfrm>
            <a:off x="923545" y="4638736"/>
            <a:ext cx="1876747"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85172"/>
                </a:solidFill>
                <a:effectLst/>
                <a:uLnTx/>
                <a:uFillTx/>
                <a:latin typeface="Arial"/>
                <a:ea typeface="+mn-ea"/>
                <a:cs typeface="Times New Roman"/>
              </a:rPr>
              <a:t>Fil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Technical Guide erinnert Kunde rechtzeitig an das Tauschen von Filtern. </a:t>
            </a:r>
          </a:p>
        </p:txBody>
      </p:sp>
      <p:sp>
        <p:nvSpPr>
          <p:cNvPr id="15" name="Textfeld 14">
            <a:extLst>
              <a:ext uri="{FF2B5EF4-FFF2-40B4-BE49-F238E27FC236}">
                <a16:creationId xmlns:a16="http://schemas.microsoft.com/office/drawing/2014/main" id="{DB02EFB9-FD9E-9984-2EF1-D285E8EC4E32}"/>
              </a:ext>
            </a:extLst>
          </p:cNvPr>
          <p:cNvSpPr txBox="1"/>
          <p:nvPr/>
        </p:nvSpPr>
        <p:spPr>
          <a:xfrm>
            <a:off x="5806141" y="5357275"/>
            <a:ext cx="2960354" cy="141577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85172"/>
                </a:solidFill>
                <a:effectLst/>
                <a:uLnTx/>
                <a:uFillTx/>
                <a:latin typeface="Arial"/>
                <a:ea typeface="+mn-ea"/>
                <a:cs typeface="Times New Roman"/>
              </a:rPr>
              <a:t>Optimieru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Unsaubere Bleche führen durch ungewollte Staubaufwirbelungen zu </a:t>
            </a: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Funktionseinschränk-ungen</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des </a:t>
            </a:r>
            <a:r>
              <a:rPr kumimoji="0" lang="de-DE" sz="1000" b="0" i="0" u="none" strike="noStrike" kern="1200" cap="none" spc="0" normalizeH="0" baseline="0" noProof="0" dirty="0" err="1">
                <a:ln>
                  <a:noFill/>
                </a:ln>
                <a:solidFill>
                  <a:srgbClr val="333333"/>
                </a:solidFill>
                <a:effectLst/>
                <a:uLnTx/>
                <a:uFillTx/>
                <a:latin typeface="Arial" panose="020B0604020202020204"/>
                <a:ea typeface="+mn-ea"/>
                <a:cs typeface="+mn-cs"/>
              </a:rPr>
              <a:t>BendGuards</a:t>
            </a: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 Durch Reinigungs-hinweise können Einschränkungen reduziert und verhindert werden. Eine längerfristige Prozess-adaptierung beim Kunden kann notwendig sein</a:t>
            </a:r>
          </a:p>
        </p:txBody>
      </p:sp>
      <p:sp>
        <p:nvSpPr>
          <p:cNvPr id="16" name="Textfeld 15">
            <a:extLst>
              <a:ext uri="{FF2B5EF4-FFF2-40B4-BE49-F238E27FC236}">
                <a16:creationId xmlns:a16="http://schemas.microsoft.com/office/drawing/2014/main" id="{D47D38EB-1B32-A6A2-F7CE-2FC6855DF164}"/>
              </a:ext>
            </a:extLst>
          </p:cNvPr>
          <p:cNvSpPr txBox="1"/>
          <p:nvPr/>
        </p:nvSpPr>
        <p:spPr>
          <a:xfrm>
            <a:off x="3674378" y="1465683"/>
            <a:ext cx="2525087"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285172"/>
                </a:solidFill>
                <a:effectLst/>
                <a:uLnTx/>
                <a:uFillTx/>
                <a:latin typeface="Arial"/>
                <a:ea typeface="+mn-ea"/>
                <a:cs typeface="Times New Roman"/>
              </a:rPr>
              <a:t>Pneumatikdruck</a:t>
            </a:r>
            <a:endParaRPr kumimoji="0" lang="de-DE" sz="16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chemeClr val="dk1"/>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Verschmutzung, zu niedriger Druck oder ähnliches können zu Ausfällen führen.</a:t>
            </a:r>
          </a:p>
        </p:txBody>
      </p:sp>
      <p:sp>
        <p:nvSpPr>
          <p:cNvPr id="17" name="Textfeld 16">
            <a:extLst>
              <a:ext uri="{FF2B5EF4-FFF2-40B4-BE49-F238E27FC236}">
                <a16:creationId xmlns:a16="http://schemas.microsoft.com/office/drawing/2014/main" id="{6017D290-1009-A5C8-51E4-0C7B68EDC374}"/>
              </a:ext>
            </a:extLst>
          </p:cNvPr>
          <p:cNvSpPr txBox="1"/>
          <p:nvPr/>
        </p:nvSpPr>
        <p:spPr>
          <a:xfrm>
            <a:off x="2728634" y="5163338"/>
            <a:ext cx="2024047"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85172"/>
                </a:solidFill>
                <a:effectLst/>
                <a:uLnTx/>
                <a:uFillTx/>
                <a:latin typeface="Arial"/>
                <a:ea typeface="+mn-ea"/>
                <a:cs typeface="Times New Roman"/>
              </a:rPr>
              <a:t>ACB Werkzeu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Defekte Werkzeugplatinen können vorzeitig erkannt werden. Prozesssicherheit kann dadurch verbessert und erhöht werden. </a:t>
            </a:r>
          </a:p>
        </p:txBody>
      </p:sp>
      <p:sp>
        <p:nvSpPr>
          <p:cNvPr id="18" name="Textfeld 17">
            <a:extLst>
              <a:ext uri="{FF2B5EF4-FFF2-40B4-BE49-F238E27FC236}">
                <a16:creationId xmlns:a16="http://schemas.microsoft.com/office/drawing/2014/main" id="{5E11DD9D-B472-42B6-22BA-F1CBF8A20BAF}"/>
              </a:ext>
            </a:extLst>
          </p:cNvPr>
          <p:cNvSpPr txBox="1"/>
          <p:nvPr/>
        </p:nvSpPr>
        <p:spPr>
          <a:xfrm>
            <a:off x="923546" y="1919666"/>
            <a:ext cx="2502250"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85172"/>
                </a:solidFill>
                <a:effectLst/>
                <a:uLnTx/>
                <a:uFillTx/>
                <a:latin typeface="Arial"/>
                <a:ea typeface="+mn-ea"/>
                <a:cs typeface="Times New Roman"/>
              </a:rPr>
              <a:t>Kühlflüssigke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Schutz vor Überhitzung bei z.B. einer Leckage oder Verbrauch. Kunde erhält eine Benachrichtigung zum Nachfüllen. </a:t>
            </a:r>
          </a:p>
        </p:txBody>
      </p:sp>
      <p:grpSp>
        <p:nvGrpSpPr>
          <p:cNvPr id="19" name="Gruppieren 18">
            <a:extLst>
              <a:ext uri="{FF2B5EF4-FFF2-40B4-BE49-F238E27FC236}">
                <a16:creationId xmlns:a16="http://schemas.microsoft.com/office/drawing/2014/main" id="{11024141-5C5E-7DCB-55C4-0660E6705EB7}"/>
              </a:ext>
            </a:extLst>
          </p:cNvPr>
          <p:cNvGrpSpPr/>
          <p:nvPr/>
        </p:nvGrpSpPr>
        <p:grpSpPr>
          <a:xfrm flipH="1">
            <a:off x="7744570" y="3318679"/>
            <a:ext cx="3750745" cy="311946"/>
            <a:chOff x="-556953" y="2039672"/>
            <a:chExt cx="3750745" cy="311946"/>
          </a:xfrm>
        </p:grpSpPr>
        <p:cxnSp>
          <p:nvCxnSpPr>
            <p:cNvPr id="20" name="Gerader Verbinder 19">
              <a:extLst>
                <a:ext uri="{FF2B5EF4-FFF2-40B4-BE49-F238E27FC236}">
                  <a16:creationId xmlns:a16="http://schemas.microsoft.com/office/drawing/2014/main" id="{268057D3-D981-B5A4-D561-EE027CF1D804}"/>
                </a:ext>
              </a:extLst>
            </p:cNvPr>
            <p:cNvCxnSpPr>
              <a:cxnSpLocks/>
            </p:cNvCxnSpPr>
            <p:nvPr/>
          </p:nvCxnSpPr>
          <p:spPr>
            <a:xfrm>
              <a:off x="1829699" y="2039672"/>
              <a:ext cx="1364093" cy="31194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0CA910A3-0C0A-D67E-BE32-F863D46DDF4B}"/>
                </a:ext>
              </a:extLst>
            </p:cNvPr>
            <p:cNvCxnSpPr>
              <a:cxnSpLocks/>
            </p:cNvCxnSpPr>
            <p:nvPr/>
          </p:nvCxnSpPr>
          <p:spPr>
            <a:xfrm>
              <a:off x="-556953" y="2039672"/>
              <a:ext cx="2386652"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2" name="Gruppieren 21">
            <a:extLst>
              <a:ext uri="{FF2B5EF4-FFF2-40B4-BE49-F238E27FC236}">
                <a16:creationId xmlns:a16="http://schemas.microsoft.com/office/drawing/2014/main" id="{E798B325-6969-B4C9-C9F8-0FBCF58F229C}"/>
              </a:ext>
            </a:extLst>
          </p:cNvPr>
          <p:cNvGrpSpPr/>
          <p:nvPr/>
        </p:nvGrpSpPr>
        <p:grpSpPr>
          <a:xfrm flipH="1">
            <a:off x="7282753" y="1880123"/>
            <a:ext cx="3324502" cy="649371"/>
            <a:chOff x="-834557" y="2039672"/>
            <a:chExt cx="3324502" cy="649371"/>
          </a:xfrm>
        </p:grpSpPr>
        <p:cxnSp>
          <p:nvCxnSpPr>
            <p:cNvPr id="23" name="Gerader Verbinder 22">
              <a:extLst>
                <a:ext uri="{FF2B5EF4-FFF2-40B4-BE49-F238E27FC236}">
                  <a16:creationId xmlns:a16="http://schemas.microsoft.com/office/drawing/2014/main" id="{9CC55921-BE8C-CE01-B46F-36C24A4617E0}"/>
                </a:ext>
              </a:extLst>
            </p:cNvPr>
            <p:cNvCxnSpPr>
              <a:cxnSpLocks/>
            </p:cNvCxnSpPr>
            <p:nvPr/>
          </p:nvCxnSpPr>
          <p:spPr>
            <a:xfrm>
              <a:off x="2051436" y="2040916"/>
              <a:ext cx="438509" cy="64812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67331B2-3692-3CB1-37EB-EEE801223249}"/>
                </a:ext>
              </a:extLst>
            </p:cNvPr>
            <p:cNvCxnSpPr>
              <a:cxnSpLocks/>
            </p:cNvCxnSpPr>
            <p:nvPr/>
          </p:nvCxnSpPr>
          <p:spPr>
            <a:xfrm flipV="1">
              <a:off x="-834557" y="2039672"/>
              <a:ext cx="2893944" cy="124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5" name="Gruppieren 24">
            <a:extLst>
              <a:ext uri="{FF2B5EF4-FFF2-40B4-BE49-F238E27FC236}">
                <a16:creationId xmlns:a16="http://schemas.microsoft.com/office/drawing/2014/main" id="{766F1A22-487A-7776-9652-421D727EDF10}"/>
              </a:ext>
            </a:extLst>
          </p:cNvPr>
          <p:cNvGrpSpPr/>
          <p:nvPr/>
        </p:nvGrpSpPr>
        <p:grpSpPr>
          <a:xfrm flipH="1">
            <a:off x="7744570" y="4465208"/>
            <a:ext cx="3523885" cy="363897"/>
            <a:chOff x="1273" y="1662234"/>
            <a:chExt cx="3042968" cy="378682"/>
          </a:xfrm>
        </p:grpSpPr>
        <p:cxnSp>
          <p:nvCxnSpPr>
            <p:cNvPr id="26" name="Gerader Verbinder 25">
              <a:extLst>
                <a:ext uri="{FF2B5EF4-FFF2-40B4-BE49-F238E27FC236}">
                  <a16:creationId xmlns:a16="http://schemas.microsoft.com/office/drawing/2014/main" id="{53462FC9-25A0-3F4B-0114-47D3E5B7510D}"/>
                </a:ext>
              </a:extLst>
            </p:cNvPr>
            <p:cNvCxnSpPr>
              <a:cxnSpLocks/>
            </p:cNvCxnSpPr>
            <p:nvPr/>
          </p:nvCxnSpPr>
          <p:spPr>
            <a:xfrm flipV="1">
              <a:off x="2051435" y="1662234"/>
              <a:ext cx="992806" cy="37868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7FF4179C-4413-33F1-F5B1-F7F0870D5FDA}"/>
                </a:ext>
              </a:extLst>
            </p:cNvPr>
            <p:cNvCxnSpPr>
              <a:cxnSpLocks/>
            </p:cNvCxnSpPr>
            <p:nvPr/>
          </p:nvCxnSpPr>
          <p:spPr>
            <a:xfrm>
              <a:off x="1273" y="2039673"/>
              <a:ext cx="2058114"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28" name="Gruppieren 27">
            <a:extLst>
              <a:ext uri="{FF2B5EF4-FFF2-40B4-BE49-F238E27FC236}">
                <a16:creationId xmlns:a16="http://schemas.microsoft.com/office/drawing/2014/main" id="{AA7916BB-2082-D25B-AF77-08BBB6B3558B}"/>
              </a:ext>
            </a:extLst>
          </p:cNvPr>
          <p:cNvGrpSpPr/>
          <p:nvPr/>
        </p:nvGrpSpPr>
        <p:grpSpPr>
          <a:xfrm>
            <a:off x="956460" y="2274611"/>
            <a:ext cx="3689161" cy="893017"/>
            <a:chOff x="-649976" y="2050079"/>
            <a:chExt cx="3689161" cy="893017"/>
          </a:xfrm>
        </p:grpSpPr>
        <p:cxnSp>
          <p:nvCxnSpPr>
            <p:cNvPr id="29" name="Gerader Verbinder 28">
              <a:extLst>
                <a:ext uri="{FF2B5EF4-FFF2-40B4-BE49-F238E27FC236}">
                  <a16:creationId xmlns:a16="http://schemas.microsoft.com/office/drawing/2014/main" id="{2DE37F3A-6324-17E3-7A2D-B0BC44DC3873}"/>
                </a:ext>
              </a:extLst>
            </p:cNvPr>
            <p:cNvCxnSpPr>
              <a:cxnSpLocks/>
            </p:cNvCxnSpPr>
            <p:nvPr/>
          </p:nvCxnSpPr>
          <p:spPr>
            <a:xfrm>
              <a:off x="1852274" y="2052137"/>
              <a:ext cx="1186911" cy="89095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E1723AD9-CAB9-C593-04C2-E66682BF3DDC}"/>
                </a:ext>
              </a:extLst>
            </p:cNvPr>
            <p:cNvCxnSpPr>
              <a:cxnSpLocks/>
            </p:cNvCxnSpPr>
            <p:nvPr/>
          </p:nvCxnSpPr>
          <p:spPr>
            <a:xfrm>
              <a:off x="-649976" y="2050079"/>
              <a:ext cx="250225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6" name="Gruppieren 55">
            <a:extLst>
              <a:ext uri="{FF2B5EF4-FFF2-40B4-BE49-F238E27FC236}">
                <a16:creationId xmlns:a16="http://schemas.microsoft.com/office/drawing/2014/main" id="{4E10C496-7AED-1848-7703-7290574EFC2C}"/>
              </a:ext>
            </a:extLst>
          </p:cNvPr>
          <p:cNvGrpSpPr/>
          <p:nvPr/>
        </p:nvGrpSpPr>
        <p:grpSpPr>
          <a:xfrm>
            <a:off x="3674378" y="1833726"/>
            <a:ext cx="2637823" cy="760687"/>
            <a:chOff x="-334890" y="2039672"/>
            <a:chExt cx="2637823" cy="760687"/>
          </a:xfrm>
        </p:grpSpPr>
        <p:cxnSp>
          <p:nvCxnSpPr>
            <p:cNvPr id="57" name="Gerader Verbinder 56">
              <a:extLst>
                <a:ext uri="{FF2B5EF4-FFF2-40B4-BE49-F238E27FC236}">
                  <a16:creationId xmlns:a16="http://schemas.microsoft.com/office/drawing/2014/main" id="{37DAD5D1-B530-1E91-2A01-B98D1B5E2122}"/>
                </a:ext>
              </a:extLst>
            </p:cNvPr>
            <p:cNvCxnSpPr>
              <a:cxnSpLocks/>
            </p:cNvCxnSpPr>
            <p:nvPr/>
          </p:nvCxnSpPr>
          <p:spPr>
            <a:xfrm>
              <a:off x="2051437" y="2040916"/>
              <a:ext cx="251496" cy="75944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25B6E8B2-1F27-0B5D-6EA9-98F519174D3D}"/>
                </a:ext>
              </a:extLst>
            </p:cNvPr>
            <p:cNvCxnSpPr>
              <a:cxnSpLocks/>
            </p:cNvCxnSpPr>
            <p:nvPr/>
          </p:nvCxnSpPr>
          <p:spPr>
            <a:xfrm>
              <a:off x="-334890" y="2039672"/>
              <a:ext cx="2394278"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9" name="Gruppieren 58">
            <a:extLst>
              <a:ext uri="{FF2B5EF4-FFF2-40B4-BE49-F238E27FC236}">
                <a16:creationId xmlns:a16="http://schemas.microsoft.com/office/drawing/2014/main" id="{695EC8AF-1059-961C-934B-D30D2926ECB5}"/>
              </a:ext>
            </a:extLst>
          </p:cNvPr>
          <p:cNvGrpSpPr/>
          <p:nvPr/>
        </p:nvGrpSpPr>
        <p:grpSpPr>
          <a:xfrm flipV="1">
            <a:off x="960083" y="4304503"/>
            <a:ext cx="3216346" cy="661495"/>
            <a:chOff x="1275585" y="2039672"/>
            <a:chExt cx="3216346" cy="661495"/>
          </a:xfrm>
        </p:grpSpPr>
        <p:cxnSp>
          <p:nvCxnSpPr>
            <p:cNvPr id="60" name="Gerader Verbinder 59">
              <a:extLst>
                <a:ext uri="{FF2B5EF4-FFF2-40B4-BE49-F238E27FC236}">
                  <a16:creationId xmlns:a16="http://schemas.microsoft.com/office/drawing/2014/main" id="{CB62CE4A-ADCA-3EB4-0F81-52ABD5E65A04}"/>
                </a:ext>
              </a:extLst>
            </p:cNvPr>
            <p:cNvCxnSpPr>
              <a:cxnSpLocks/>
            </p:cNvCxnSpPr>
            <p:nvPr/>
          </p:nvCxnSpPr>
          <p:spPr>
            <a:xfrm>
              <a:off x="2051437" y="2040914"/>
              <a:ext cx="2440494" cy="660253"/>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BB2931E4-837C-7135-6C10-695552C92D25}"/>
                </a:ext>
              </a:extLst>
            </p:cNvPr>
            <p:cNvCxnSpPr>
              <a:cxnSpLocks/>
            </p:cNvCxnSpPr>
            <p:nvPr/>
          </p:nvCxnSpPr>
          <p:spPr>
            <a:xfrm flipV="1">
              <a:off x="1275585" y="2039672"/>
              <a:ext cx="783802" cy="124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80FC4077-9ADE-9CC4-CB83-3B0B890E8346}"/>
              </a:ext>
            </a:extLst>
          </p:cNvPr>
          <p:cNvGrpSpPr/>
          <p:nvPr/>
        </p:nvGrpSpPr>
        <p:grpSpPr>
          <a:xfrm flipV="1">
            <a:off x="2787358" y="4787753"/>
            <a:ext cx="2146557" cy="726826"/>
            <a:chOff x="458285" y="2039672"/>
            <a:chExt cx="2146557" cy="726826"/>
          </a:xfrm>
        </p:grpSpPr>
        <p:cxnSp>
          <p:nvCxnSpPr>
            <p:cNvPr id="63" name="Gerader Verbinder 62">
              <a:extLst>
                <a:ext uri="{FF2B5EF4-FFF2-40B4-BE49-F238E27FC236}">
                  <a16:creationId xmlns:a16="http://schemas.microsoft.com/office/drawing/2014/main" id="{CDDB164B-D663-4FC7-8FFE-404847CD03FE}"/>
                </a:ext>
              </a:extLst>
            </p:cNvPr>
            <p:cNvCxnSpPr>
              <a:cxnSpLocks/>
            </p:cNvCxnSpPr>
            <p:nvPr/>
          </p:nvCxnSpPr>
          <p:spPr>
            <a:xfrm>
              <a:off x="2051437" y="2040914"/>
              <a:ext cx="553405" cy="72558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451D4A12-CE89-FB52-DDF5-BA19826799D3}"/>
                </a:ext>
              </a:extLst>
            </p:cNvPr>
            <p:cNvCxnSpPr>
              <a:cxnSpLocks/>
            </p:cNvCxnSpPr>
            <p:nvPr/>
          </p:nvCxnSpPr>
          <p:spPr>
            <a:xfrm flipV="1">
              <a:off x="458285" y="2039672"/>
              <a:ext cx="1601102"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ABC2CF97-4566-BFAA-919F-F09646E6EBDA}"/>
              </a:ext>
            </a:extLst>
          </p:cNvPr>
          <p:cNvGrpSpPr/>
          <p:nvPr/>
        </p:nvGrpSpPr>
        <p:grpSpPr>
          <a:xfrm flipH="1" flipV="1">
            <a:off x="5545751" y="4748460"/>
            <a:ext cx="1898031" cy="948612"/>
            <a:chOff x="413796" y="2039672"/>
            <a:chExt cx="1898031" cy="948612"/>
          </a:xfrm>
        </p:grpSpPr>
        <p:cxnSp>
          <p:nvCxnSpPr>
            <p:cNvPr id="66" name="Gerader Verbinder 65">
              <a:extLst>
                <a:ext uri="{FF2B5EF4-FFF2-40B4-BE49-F238E27FC236}">
                  <a16:creationId xmlns:a16="http://schemas.microsoft.com/office/drawing/2014/main" id="{3426CECF-C380-3022-AEC9-1F504E13D237}"/>
                </a:ext>
              </a:extLst>
            </p:cNvPr>
            <p:cNvCxnSpPr>
              <a:cxnSpLocks/>
            </p:cNvCxnSpPr>
            <p:nvPr/>
          </p:nvCxnSpPr>
          <p:spPr>
            <a:xfrm>
              <a:off x="2051437" y="2040914"/>
              <a:ext cx="260390" cy="94737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A520E0BD-F553-377B-C692-8BD173309B3E}"/>
                </a:ext>
              </a:extLst>
            </p:cNvPr>
            <p:cNvCxnSpPr>
              <a:cxnSpLocks/>
            </p:cNvCxnSpPr>
            <p:nvPr/>
          </p:nvCxnSpPr>
          <p:spPr>
            <a:xfrm flipV="1">
              <a:off x="413796" y="2039672"/>
              <a:ext cx="1645591"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68" name="Textfeld 67">
            <a:extLst>
              <a:ext uri="{FF2B5EF4-FFF2-40B4-BE49-F238E27FC236}">
                <a16:creationId xmlns:a16="http://schemas.microsoft.com/office/drawing/2014/main" id="{B03A6E68-EB0E-DFBE-BC1F-27B23B0F2FB2}"/>
              </a:ext>
            </a:extLst>
          </p:cNvPr>
          <p:cNvSpPr txBox="1"/>
          <p:nvPr/>
        </p:nvSpPr>
        <p:spPr>
          <a:xfrm>
            <a:off x="576759" y="2932635"/>
            <a:ext cx="2320762" cy="126188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285172"/>
                </a:solidFill>
                <a:effectLst/>
                <a:uLnTx/>
                <a:uFillTx/>
                <a:latin typeface="Arial"/>
                <a:ea typeface="+mn-ea"/>
                <a:cs typeface="Times New Roman"/>
              </a:rPr>
              <a:t>Schutztür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srgbClr val="285172"/>
              </a:solidFill>
              <a:effectLst/>
              <a:uLnTx/>
              <a:uFillTx/>
              <a:latin typeface="Arial"/>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333333"/>
                </a:solidFill>
                <a:effectLst/>
                <a:uLnTx/>
                <a:uFillTx/>
                <a:latin typeface="Arial" panose="020B0604020202020204"/>
                <a:ea typeface="+mn-ea"/>
                <a:cs typeface="+mn-cs"/>
              </a:rPr>
              <a:t>Schutztüren müssen regelmäßig ausgerichtet werden. Technical Guide unterstützt, falls dies ausbleibt. Sind Sensoren defekt, kann dies festgestellt werden. </a:t>
            </a:r>
          </a:p>
        </p:txBody>
      </p:sp>
      <p:grpSp>
        <p:nvGrpSpPr>
          <p:cNvPr id="69" name="Gruppieren 68">
            <a:extLst>
              <a:ext uri="{FF2B5EF4-FFF2-40B4-BE49-F238E27FC236}">
                <a16:creationId xmlns:a16="http://schemas.microsoft.com/office/drawing/2014/main" id="{95C69401-5436-7B53-4C65-0E4BB21EDCD8}"/>
              </a:ext>
            </a:extLst>
          </p:cNvPr>
          <p:cNvGrpSpPr/>
          <p:nvPr/>
        </p:nvGrpSpPr>
        <p:grpSpPr>
          <a:xfrm>
            <a:off x="651687" y="3278417"/>
            <a:ext cx="3524743" cy="411956"/>
            <a:chOff x="-263531" y="2040916"/>
            <a:chExt cx="3066915" cy="792552"/>
          </a:xfrm>
        </p:grpSpPr>
        <p:cxnSp>
          <p:nvCxnSpPr>
            <p:cNvPr id="70" name="Gerader Verbinder 69">
              <a:extLst>
                <a:ext uri="{FF2B5EF4-FFF2-40B4-BE49-F238E27FC236}">
                  <a16:creationId xmlns:a16="http://schemas.microsoft.com/office/drawing/2014/main" id="{109A85EF-AFFD-8E98-49D5-7C4B33ED10FF}"/>
                </a:ext>
              </a:extLst>
            </p:cNvPr>
            <p:cNvCxnSpPr>
              <a:cxnSpLocks/>
            </p:cNvCxnSpPr>
            <p:nvPr/>
          </p:nvCxnSpPr>
          <p:spPr>
            <a:xfrm>
              <a:off x="1852274" y="2052136"/>
              <a:ext cx="951110" cy="78133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B7F448B6-DB19-7040-8810-CB45FCBCB258}"/>
                </a:ext>
              </a:extLst>
            </p:cNvPr>
            <p:cNvCxnSpPr>
              <a:cxnSpLocks/>
            </p:cNvCxnSpPr>
            <p:nvPr/>
          </p:nvCxnSpPr>
          <p:spPr>
            <a:xfrm>
              <a:off x="-263531" y="2040916"/>
              <a:ext cx="2130030" cy="1122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62671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ey Visual Services">
            <a:extLst>
              <a:ext uri="{FF2B5EF4-FFF2-40B4-BE49-F238E27FC236}">
                <a16:creationId xmlns:a16="http://schemas.microsoft.com/office/drawing/2014/main" id="{696D051B-4786-4B9B-D359-47489C5AAF78}"/>
              </a:ext>
            </a:extLst>
          </p:cNvPr>
          <p:cNvPicPr>
            <a:picLocks noGrp="1" noChangeAspect="1"/>
          </p:cNvPicPr>
          <p:nvPr>
            <p:ph type="pic" sz="quarter" idx="11"/>
            <p:custDataLst>
              <p:tags r:id="rId1"/>
            </p:custDataLst>
          </p:nvPr>
        </p:nvPicPr>
        <p:blipFill>
          <a:blip r:embed="rId4"/>
          <a:srcRect t="30064" b="30064"/>
          <a:stretch>
            <a:fillRect/>
          </a:stretch>
        </p:blipFill>
        <p:spPr>
          <a:xfrm>
            <a:off x="0" y="-1"/>
            <a:ext cx="12193126" cy="4537494"/>
          </a:xfrm>
          <a:prstGeom prst="rect">
            <a:avLst/>
          </a:prstGeom>
        </p:spPr>
      </p:pic>
      <p:sp>
        <p:nvSpPr>
          <p:cNvPr id="3" name="Untertitel 2">
            <a:extLst>
              <a:ext uri="{FF2B5EF4-FFF2-40B4-BE49-F238E27FC236}">
                <a16:creationId xmlns:a16="http://schemas.microsoft.com/office/drawing/2014/main" id="{79B94488-56DB-1979-A348-0FF9738B18C6}"/>
              </a:ext>
            </a:extLst>
          </p:cNvPr>
          <p:cNvSpPr>
            <a:spLocks noGrp="1"/>
          </p:cNvSpPr>
          <p:nvPr>
            <p:ph type="subTitle" idx="1"/>
          </p:nvPr>
        </p:nvSpPr>
        <p:spPr/>
        <p:txBody>
          <a:bodyPr/>
          <a:lstStyle/>
          <a:p>
            <a:endParaRPr lang="de-DE"/>
          </a:p>
        </p:txBody>
      </p:sp>
      <p:sp>
        <p:nvSpPr>
          <p:cNvPr id="4" name="Titel 3">
            <a:extLst>
              <a:ext uri="{FF2B5EF4-FFF2-40B4-BE49-F238E27FC236}">
                <a16:creationId xmlns:a16="http://schemas.microsoft.com/office/drawing/2014/main" id="{322CA6EC-5BC6-201D-9C89-89CF12FADC71}"/>
              </a:ext>
            </a:extLst>
          </p:cNvPr>
          <p:cNvSpPr>
            <a:spLocks noGrp="1"/>
          </p:cNvSpPr>
          <p:nvPr>
            <p:ph type="ctrTitle"/>
          </p:nvPr>
        </p:nvSpPr>
        <p:spPr/>
        <p:txBody>
          <a:bodyPr/>
          <a:lstStyle/>
          <a:p>
            <a:r>
              <a:rPr lang="de-DE" dirty="0"/>
              <a:t>Remote Support</a:t>
            </a:r>
          </a:p>
        </p:txBody>
      </p:sp>
      <p:sp>
        <p:nvSpPr>
          <p:cNvPr id="5" name="Fußzeilenplatzhalter 4">
            <a:extLst>
              <a:ext uri="{FF2B5EF4-FFF2-40B4-BE49-F238E27FC236}">
                <a16:creationId xmlns:a16="http://schemas.microsoft.com/office/drawing/2014/main" id="{043C0C97-062F-633E-17F5-9D1124712586}"/>
              </a:ext>
            </a:extLst>
          </p:cNvPr>
          <p:cNvSpPr>
            <a:spLocks noGrp="1"/>
          </p:cNvSpPr>
          <p:nvPr>
            <p:ph type="ftr" sz="quarter" idx="13"/>
          </p:nvPr>
        </p:nvSpPr>
        <p:spPr/>
        <p:txBody>
          <a:bodyPr/>
          <a:lstStyle/>
          <a:p>
            <a:r>
              <a:rPr lang="de-DE"/>
              <a:t>Technischer Kundendienst</a:t>
            </a:r>
            <a:endParaRPr lang="de-DE" dirty="0"/>
          </a:p>
        </p:txBody>
      </p:sp>
    </p:spTree>
    <p:extLst>
      <p:ext uri="{BB962C8B-B14F-4D97-AF65-F5344CB8AC3E}">
        <p14:creationId xmlns:p14="http://schemas.microsoft.com/office/powerpoint/2010/main" val="8847265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el 4"/>
          <p:cNvSpPr>
            <a:spLocks noGrp="1"/>
          </p:cNvSpPr>
          <p:nvPr>
            <p:ph type="title" hasCustomPrompt="1"/>
          </p:nvPr>
        </p:nvSpPr>
        <p:spPr>
          <a:xfrm>
            <a:off x="515938" y="340234"/>
            <a:ext cx="11160125" cy="491194"/>
          </a:xfrm>
          <a:noFill/>
          <a:ln/>
          <a:extLst>
            <a:ext uri="{909E8E84-426E-40DD-AFC4-6F175D3DCCD1}">
              <a14:hiddenFill xmlns:a14="http://schemas.microsoft.com/office/drawing/2010/main">
                <a:solidFill>
                  <a:srgbClr val="FFFFFF">
                    <a:alpha val="0"/>
                  </a:srgbClr>
                </a:solidFill>
              </a14:hiddenFill>
            </a:ext>
          </a:extLst>
        </p:spPr>
        <p:txBody>
          <a:bodyPr lIns="0" tIns="0" rIns="0" bIns="0" anchor="t">
            <a:noAutofit/>
          </a:bodyPr>
          <a:lstStyle/>
          <a:p>
            <a:r>
              <a:rPr lang="de-DE" dirty="0">
                <a:solidFill>
                  <a:srgbClr val="333333"/>
                </a:solidFill>
                <a:latin typeface="Segoe UI" panose="020B0502040204020203" pitchFamily="34" charset="0"/>
              </a:rPr>
              <a:t>Wie ist der TRUMPF Service organisiert?</a:t>
            </a:r>
          </a:p>
        </p:txBody>
      </p:sp>
      <p:sp>
        <p:nvSpPr>
          <p:cNvPr id="64" name="Textplatzhalter 1"/>
          <p:cNvSpPr>
            <a:spLocks noGrp="1"/>
          </p:cNvSpPr>
          <p:nvPr/>
        </p:nvSpPr>
        <p:spPr>
          <a:xfrm>
            <a:off x="515938" y="919611"/>
            <a:ext cx="11160000" cy="387798"/>
          </a:xfrm>
          <a:prstGeom prst="rect">
            <a:avLst/>
          </a:prstGeom>
        </p:spPr>
        <p:txBody>
          <a:bodyPr/>
          <a:lstStyle>
            <a:lvl1pPr marL="0" indent="0" algn="l" defTabSz="914355" rtl="0" eaLnBrk="1" latinLnBrk="0" hangingPunct="1">
              <a:lnSpc>
                <a:spcPct val="100000"/>
              </a:lnSpc>
              <a:spcBef>
                <a:spcPts val="600"/>
              </a:spcBef>
              <a:spcAft>
                <a:spcPts val="600"/>
              </a:spcAft>
              <a:buFont typeface="Arial" panose="020B0604020202020204" pitchFamily="34" charset="0"/>
              <a:buNone/>
              <a:defRPr lang="de-DE" sz="2800" b="0" kern="1200" smtClean="0">
                <a:solidFill>
                  <a:schemeClr val="tx2"/>
                </a:solidFill>
                <a:latin typeface="+mj-lt"/>
                <a:ea typeface="+mj-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lang="de-DE" sz="1600" b="0" i="0" kern="1200" smtClean="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lang="de-DE" sz="1600" b="0" i="0" kern="1200" smtClean="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lang="de-DE" sz="1600" b="0" i="0" kern="1200" smtClean="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lang="de-DE"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a:lstStyle>
          <a:p>
            <a:r>
              <a:rPr lang="de-DE" sz="2400" dirty="0"/>
              <a:t>Einige wichtige eigenständige Servicebereiche</a:t>
            </a:r>
          </a:p>
        </p:txBody>
      </p:sp>
      <p:sp>
        <p:nvSpPr>
          <p:cNvPr id="6" name="Textfeld 5"/>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7" name="Textfeld 6"/>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8" name="Textfeld 7"/>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9" name="Textfeld 8"/>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0" name="Textfeld 9"/>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1" name="Textfeld 10"/>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2" name="Textfeld 11"/>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3" name="Textfeld 12"/>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4" name="Textfeld 13"/>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5" name="Textfeld 14"/>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6" name="Textfeld 15"/>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7" name="Textfeld 16"/>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8" name="Textfeld 17"/>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9" name="Textfeld 18"/>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0" name="Textfeld 19"/>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1" name="Textfeld 20"/>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2" name="Textfeld 21"/>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3" name="Textfeld 22"/>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4" name="Textfeld 23"/>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5" name="Textfeld 24"/>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6" name="Textfeld 25"/>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7" name="Textfeld 26"/>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8" name="Textfeld 27"/>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9" name="Textfeld 28"/>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0" name="Textfeld 29"/>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1" name="Textfeld 30"/>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2" name="Textfeld 31"/>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3" name="Textfeld 32"/>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4" name="Textfeld 33"/>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5" name="Textfeld 34"/>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6" name="Textfeld 35"/>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7" name="Textfeld 36"/>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8" name="Textfeld 37"/>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9" name="Textfeld 38"/>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0" name="Textfeld 39"/>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1" name="Textfeld 40"/>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2" name="Textfeld 41"/>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3" name="Textfeld 42"/>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4" name="Textfeld 43"/>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86" name="Textfeld 85">
            <a:extLst>
              <a:ext uri="{FF2B5EF4-FFF2-40B4-BE49-F238E27FC236}">
                <a16:creationId xmlns:a16="http://schemas.microsoft.com/office/drawing/2014/main" id="{6706DD43-5FE4-4625-8ECE-4C542C6F5156}"/>
              </a:ext>
            </a:extLst>
          </p:cNvPr>
          <p:cNvSpPr txBox="1"/>
          <p:nvPr/>
        </p:nvSpPr>
        <p:spPr>
          <a:xfrm>
            <a:off x="523875" y="5872480"/>
            <a:ext cx="10919437" cy="426720"/>
          </a:xfrm>
          <a:prstGeom prst="rect">
            <a:avLst/>
          </a:prstGeom>
        </p:spPr>
        <p:txBody>
          <a:bodyPr vert="horz" wrap="square" lIns="0" tIns="0" rIns="0" bIns="0" rtlCol="0">
            <a:no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de-DE" sz="1000" b="0" i="1" u="none" strike="noStrike" kern="1200" cap="none" spc="0" normalizeH="0" baseline="0" noProof="0" dirty="0">
                <a:ln>
                  <a:noFill/>
                </a:ln>
                <a:solidFill>
                  <a:srgbClr val="333333"/>
                </a:solidFill>
                <a:effectLst/>
                <a:uLnTx/>
                <a:uFillTx/>
                <a:latin typeface="Arial" panose="020B0604020202020204"/>
                <a:ea typeface="+mn-ea"/>
                <a:cs typeface="+mn-cs"/>
              </a:rPr>
              <a:t> </a:t>
            </a:r>
          </a:p>
        </p:txBody>
      </p:sp>
      <p:sp>
        <p:nvSpPr>
          <p:cNvPr id="3" name="Fußzeilenplatzhalter 2">
            <a:extLst>
              <a:ext uri="{FF2B5EF4-FFF2-40B4-BE49-F238E27FC236}">
                <a16:creationId xmlns:a16="http://schemas.microsoft.com/office/drawing/2014/main" id="{9C6E0FC0-00E5-1291-810D-4AEC5A7F7C6F}"/>
              </a:ext>
            </a:extLst>
          </p:cNvPr>
          <p:cNvSpPr>
            <a:spLocks noGrp="1"/>
          </p:cNvSpPr>
          <p:nvPr>
            <p:ph type="ftr" sz="quarter" idx="3"/>
          </p:nvPr>
        </p:nvSpPr>
        <p:spPr/>
        <p:txBody>
          <a:bodyPr/>
          <a:lstStyle/>
          <a:p>
            <a:r>
              <a:rPr lang="de-DE"/>
              <a:t>Technischer Kundendienst</a:t>
            </a:r>
            <a:endParaRPr lang="de-DE" dirty="0"/>
          </a:p>
        </p:txBody>
      </p:sp>
      <p:graphicFrame>
        <p:nvGraphicFramePr>
          <p:cNvPr id="4" name="de_Tabellenplatzhalter 24">
            <a:extLst>
              <a:ext uri="{FF2B5EF4-FFF2-40B4-BE49-F238E27FC236}">
                <a16:creationId xmlns:a16="http://schemas.microsoft.com/office/drawing/2014/main" id="{3E97905C-4059-59EF-7C17-CCF96B9D695B}"/>
              </a:ext>
            </a:extLst>
          </p:cNvPr>
          <p:cNvGraphicFramePr>
            <a:graphicFrameLocks/>
          </p:cNvGraphicFramePr>
          <p:nvPr>
            <p:custDataLst>
              <p:tags r:id="rId1"/>
            </p:custDataLst>
            <p:extLst>
              <p:ext uri="{D42A27DB-BD31-4B8C-83A1-F6EECF244321}">
                <p14:modId xmlns:p14="http://schemas.microsoft.com/office/powerpoint/2010/main" val="3111264334"/>
              </p:ext>
            </p:extLst>
          </p:nvPr>
        </p:nvGraphicFramePr>
        <p:xfrm>
          <a:off x="515937" y="1674192"/>
          <a:ext cx="9514960" cy="4210969"/>
        </p:xfrm>
        <a:graphic>
          <a:graphicData uri="http://schemas.openxmlformats.org/drawingml/2006/table">
            <a:tbl>
              <a:tblPr firstRow="1" bandRow="1">
                <a:tableStyleId>{00A15C55-8517-42AA-B614-E9B94910E393}</a:tableStyleId>
              </a:tblPr>
              <a:tblGrid>
                <a:gridCol w="1978977">
                  <a:extLst>
                    <a:ext uri="{9D8B030D-6E8A-4147-A177-3AD203B41FA5}">
                      <a16:colId xmlns:a16="http://schemas.microsoft.com/office/drawing/2014/main" val="20000"/>
                    </a:ext>
                  </a:extLst>
                </a:gridCol>
                <a:gridCol w="2708860">
                  <a:extLst>
                    <a:ext uri="{9D8B030D-6E8A-4147-A177-3AD203B41FA5}">
                      <a16:colId xmlns:a16="http://schemas.microsoft.com/office/drawing/2014/main" val="20001"/>
                    </a:ext>
                  </a:extLst>
                </a:gridCol>
                <a:gridCol w="2669262">
                  <a:extLst>
                    <a:ext uri="{9D8B030D-6E8A-4147-A177-3AD203B41FA5}">
                      <a16:colId xmlns:a16="http://schemas.microsoft.com/office/drawing/2014/main" val="20002"/>
                    </a:ext>
                  </a:extLst>
                </a:gridCol>
                <a:gridCol w="2157861">
                  <a:extLst>
                    <a:ext uri="{9D8B030D-6E8A-4147-A177-3AD203B41FA5}">
                      <a16:colId xmlns:a16="http://schemas.microsoft.com/office/drawing/2014/main" val="20003"/>
                    </a:ext>
                  </a:extLst>
                </a:gridCol>
              </a:tblGrid>
              <a:tr h="1207717">
                <a:tc>
                  <a:txBody>
                    <a:bodyPr/>
                    <a:lstStyle/>
                    <a:p>
                      <a:pPr algn="ctr"/>
                      <a:endParaRPr lang="de-DE" sz="1600" dirty="0">
                        <a:solidFill>
                          <a:srgbClr val="000000"/>
                        </a:solidFill>
                        <a:latin typeface="Arial"/>
                      </a:endParaRPr>
                    </a:p>
                  </a:txBody>
                  <a:tcPr anchor="ctr">
                    <a:solidFill>
                      <a:schemeClr val="bg1"/>
                    </a:solidFill>
                  </a:tcPr>
                </a:tc>
                <a:tc>
                  <a:txBody>
                    <a:bodyPr/>
                    <a:lstStyle/>
                    <a:p>
                      <a:pPr algn="ctr"/>
                      <a:endParaRPr lang="de-DE" sz="1600" dirty="0">
                        <a:solidFill>
                          <a:srgbClr val="000000"/>
                        </a:solidFill>
                        <a:latin typeface="Arial"/>
                      </a:endParaRPr>
                    </a:p>
                  </a:txBody>
                  <a:tcPr anchor="ctr">
                    <a:solidFill>
                      <a:schemeClr val="bg1"/>
                    </a:solidFill>
                  </a:tcPr>
                </a:tc>
                <a:tc>
                  <a:txBody>
                    <a:bodyPr/>
                    <a:lstStyle/>
                    <a:p>
                      <a:pPr algn="ctr"/>
                      <a:endParaRPr lang="de-DE" sz="1600" dirty="0">
                        <a:solidFill>
                          <a:srgbClr val="000000"/>
                        </a:solidFill>
                        <a:latin typeface="Arial"/>
                      </a:endParaRPr>
                    </a:p>
                  </a:txBody>
                  <a:tcPr anchor="ctr">
                    <a:solidFill>
                      <a:schemeClr val="bg1"/>
                    </a:solidFill>
                  </a:tcPr>
                </a:tc>
                <a:tc>
                  <a:txBody>
                    <a:bodyPr/>
                    <a:lstStyle/>
                    <a:p>
                      <a:pPr algn="ctr"/>
                      <a:endParaRPr lang="de-DE" sz="1600" dirty="0">
                        <a:solidFill>
                          <a:srgbClr val="000000"/>
                        </a:solidFill>
                        <a:latin typeface="Arial"/>
                      </a:endParaRPr>
                    </a:p>
                  </a:txBody>
                  <a:tcPr anchor="ctr">
                    <a:solidFill>
                      <a:schemeClr val="bg1"/>
                    </a:solidFill>
                  </a:tcPr>
                </a:tc>
                <a:extLst>
                  <a:ext uri="{0D108BD9-81ED-4DB2-BD59-A6C34878D82A}">
                    <a16:rowId xmlns:a16="http://schemas.microsoft.com/office/drawing/2014/main" val="10000"/>
                  </a:ext>
                </a:extLst>
              </a:tr>
              <a:tr h="1235912">
                <a:tc>
                  <a:txBody>
                    <a:bodyPr/>
                    <a:lstStyle/>
                    <a:p>
                      <a:pPr algn="ctr"/>
                      <a:endParaRPr lang="de-DE" sz="1200" b="1" baseline="0" dirty="0">
                        <a:solidFill>
                          <a:schemeClr val="bg1"/>
                        </a:solidFill>
                        <a:latin typeface="Arial"/>
                      </a:endParaRPr>
                    </a:p>
                  </a:txBody>
                  <a:tcPr marL="0" marR="0" anchor="ctr">
                    <a:solidFill>
                      <a:srgbClr val="E5E5E5"/>
                    </a:solidFill>
                  </a:tcPr>
                </a:tc>
                <a:tc>
                  <a:txBody>
                    <a:bodyPr/>
                    <a:lstStyle/>
                    <a:p>
                      <a:pPr marL="0" algn="ctr" defTabSz="957835" rtl="0" eaLnBrk="1" latinLnBrk="0" hangingPunct="1"/>
                      <a:r>
                        <a:rPr lang="de-DE" sz="1200" b="1" kern="1200" dirty="0">
                          <a:solidFill>
                            <a:schemeClr val="dk1"/>
                          </a:solidFill>
                          <a:latin typeface="+mn-lt"/>
                          <a:ea typeface="+mn-ea"/>
                          <a:cs typeface="+mn-cs"/>
                        </a:rPr>
                        <a:t>NSC</a:t>
                      </a:r>
                    </a:p>
                    <a:p>
                      <a:pPr marL="0" algn="ctr" defTabSz="957835" rtl="0" eaLnBrk="1" latinLnBrk="0" hangingPunct="1"/>
                      <a:br>
                        <a:rPr lang="de-DE" sz="1200" b="1" kern="1200" dirty="0">
                          <a:solidFill>
                            <a:schemeClr val="dk1"/>
                          </a:solidFill>
                          <a:latin typeface="+mn-lt"/>
                          <a:ea typeface="+mn-ea"/>
                          <a:cs typeface="+mn-cs"/>
                        </a:rPr>
                      </a:br>
                      <a:r>
                        <a:rPr lang="de-DE" sz="800" b="1" kern="1200" dirty="0">
                          <a:solidFill>
                            <a:schemeClr val="dk1"/>
                          </a:solidFill>
                          <a:latin typeface="+mn-lt"/>
                          <a:ea typeface="+mn-ea"/>
                          <a:cs typeface="+mn-cs"/>
                        </a:rPr>
                        <a:t>(National Service</a:t>
                      </a:r>
                      <a:r>
                        <a:rPr lang="de-DE" sz="800" b="1" kern="1200" baseline="0" dirty="0">
                          <a:solidFill>
                            <a:schemeClr val="dk1"/>
                          </a:solidFill>
                          <a:latin typeface="+mn-lt"/>
                          <a:ea typeface="+mn-ea"/>
                          <a:cs typeface="+mn-cs"/>
                        </a:rPr>
                        <a:t> Center</a:t>
                      </a:r>
                      <a:r>
                        <a:rPr lang="de-DE" sz="800" b="1" kern="1200" dirty="0">
                          <a:solidFill>
                            <a:schemeClr val="dk1"/>
                          </a:solidFill>
                          <a:latin typeface="+mn-lt"/>
                          <a:ea typeface="+mn-ea"/>
                          <a:cs typeface="+mn-cs"/>
                        </a:rPr>
                        <a:t>)</a:t>
                      </a:r>
                    </a:p>
                    <a:p>
                      <a:pPr marL="0" algn="ctr" defTabSz="957835" rtl="0" eaLnBrk="1" latinLnBrk="0" hangingPunct="1"/>
                      <a:endParaRPr lang="de-DE" sz="700" b="1" kern="1200" dirty="0">
                        <a:solidFill>
                          <a:schemeClr val="dk1"/>
                        </a:solidFill>
                        <a:latin typeface="+mn-lt"/>
                        <a:ea typeface="+mn-ea"/>
                        <a:cs typeface="+mn-cs"/>
                      </a:endParaRPr>
                    </a:p>
                  </a:txBody>
                  <a:tcPr marL="36000" marR="36000" anchor="ctr">
                    <a:solidFill>
                      <a:srgbClr val="E5E5E5"/>
                    </a:solidFill>
                  </a:tcPr>
                </a:tc>
                <a:tc>
                  <a:txBody>
                    <a:bodyPr/>
                    <a:lstStyle/>
                    <a:p>
                      <a:pPr algn="ctr"/>
                      <a:r>
                        <a:rPr lang="de-DE" sz="1200" b="1" dirty="0">
                          <a:solidFill>
                            <a:schemeClr val="dk1"/>
                          </a:solidFill>
                          <a:latin typeface="+mn-lt"/>
                        </a:rPr>
                        <a:t>GSC </a:t>
                      </a:r>
                      <a:br>
                        <a:rPr lang="de-DE" sz="1200" b="1" dirty="0">
                          <a:solidFill>
                            <a:schemeClr val="dk1"/>
                          </a:solidFill>
                          <a:latin typeface="+mn-lt"/>
                        </a:rPr>
                      </a:br>
                      <a:r>
                        <a:rPr lang="de-DE" sz="1200" b="1" dirty="0">
                          <a:solidFill>
                            <a:schemeClr val="dk1"/>
                          </a:solidFill>
                          <a:latin typeface="+mn-lt"/>
                        </a:rPr>
                        <a:t>Europe / Asia / </a:t>
                      </a:r>
                      <a:r>
                        <a:rPr lang="de-DE" sz="1200" b="1" dirty="0" err="1">
                          <a:solidFill>
                            <a:schemeClr val="dk1"/>
                          </a:solidFill>
                          <a:latin typeface="+mn-lt"/>
                        </a:rPr>
                        <a:t>America</a:t>
                      </a:r>
                      <a:endParaRPr lang="de-DE" sz="1200" b="1" dirty="0">
                        <a:solidFill>
                          <a:schemeClr val="dk1"/>
                        </a:solidFill>
                        <a:latin typeface="+mn-lt"/>
                      </a:endParaRPr>
                    </a:p>
                    <a:p>
                      <a:pPr algn="ctr"/>
                      <a:br>
                        <a:rPr lang="de-DE" sz="1200" b="1" dirty="0">
                          <a:solidFill>
                            <a:schemeClr val="dk1"/>
                          </a:solidFill>
                          <a:latin typeface="+mn-lt"/>
                        </a:rPr>
                      </a:br>
                      <a:r>
                        <a:rPr lang="de-DE" sz="800" b="1" dirty="0">
                          <a:solidFill>
                            <a:schemeClr val="dk1"/>
                          </a:solidFill>
                          <a:latin typeface="+mn-lt"/>
                        </a:rPr>
                        <a:t>(Global Service Center)</a:t>
                      </a:r>
                    </a:p>
                    <a:p>
                      <a:pPr algn="ctr"/>
                      <a:endParaRPr lang="de-DE" sz="700" b="1" baseline="0" dirty="0">
                        <a:solidFill>
                          <a:schemeClr val="dk1"/>
                        </a:solidFill>
                        <a:latin typeface="+mn-lt"/>
                      </a:endParaRPr>
                    </a:p>
                  </a:txBody>
                  <a:tcPr marL="36000" marR="36000" anchor="ctr">
                    <a:solidFill>
                      <a:srgbClr val="E5E5E5"/>
                    </a:solidFill>
                  </a:tcPr>
                </a:tc>
                <a:tc>
                  <a:txBody>
                    <a:bodyPr/>
                    <a:lstStyle/>
                    <a:p>
                      <a:pPr algn="ctr"/>
                      <a:r>
                        <a:rPr lang="de-DE" sz="1200" b="1" dirty="0">
                          <a:solidFill>
                            <a:schemeClr val="dk1"/>
                          </a:solidFill>
                          <a:latin typeface="+mn-lt"/>
                        </a:rPr>
                        <a:t>SCC</a:t>
                      </a:r>
                    </a:p>
                    <a:p>
                      <a:pPr algn="ctr"/>
                      <a:br>
                        <a:rPr lang="de-DE" sz="1200" b="1" dirty="0">
                          <a:solidFill>
                            <a:schemeClr val="dk1"/>
                          </a:solidFill>
                          <a:latin typeface="+mn-lt"/>
                        </a:rPr>
                      </a:br>
                      <a:r>
                        <a:rPr lang="de-DE" sz="800" b="1" dirty="0">
                          <a:solidFill>
                            <a:schemeClr val="dk1"/>
                          </a:solidFill>
                          <a:latin typeface="+mn-lt"/>
                        </a:rPr>
                        <a:t>(Service Competenz Center)</a:t>
                      </a:r>
                    </a:p>
                    <a:p>
                      <a:pPr algn="ctr"/>
                      <a:endParaRPr lang="de-DE" sz="700" b="1" dirty="0">
                        <a:solidFill>
                          <a:schemeClr val="dk1"/>
                        </a:solidFill>
                        <a:latin typeface="+mn-lt"/>
                      </a:endParaRPr>
                    </a:p>
                  </a:txBody>
                  <a:tcPr marL="36000" marR="36000" anchor="ctr">
                    <a:solidFill>
                      <a:srgbClr val="E5E5E5"/>
                    </a:solidFill>
                  </a:tcPr>
                </a:tc>
                <a:extLst>
                  <a:ext uri="{0D108BD9-81ED-4DB2-BD59-A6C34878D82A}">
                    <a16:rowId xmlns:a16="http://schemas.microsoft.com/office/drawing/2014/main" val="10001"/>
                  </a:ext>
                </a:extLst>
              </a:tr>
              <a:tr h="883670">
                <a:tc>
                  <a:txBody>
                    <a:bodyPr/>
                    <a:lstStyle/>
                    <a:p>
                      <a:pPr algn="ctr"/>
                      <a:r>
                        <a:rPr lang="de-DE" sz="1200" b="1" dirty="0">
                          <a:solidFill>
                            <a:schemeClr val="bg1"/>
                          </a:solidFill>
                          <a:latin typeface="Arial"/>
                        </a:rPr>
                        <a:t>Reisetätigkeit</a:t>
                      </a:r>
                    </a:p>
                  </a:txBody>
                  <a:tcPr marL="36000" marR="36000" anchor="ctr">
                    <a:solidFill>
                      <a:srgbClr val="E5E5E5"/>
                    </a:solidFill>
                  </a:tcPr>
                </a:tc>
                <a:tc>
                  <a:txBody>
                    <a:bodyPr/>
                    <a:lstStyle/>
                    <a:p>
                      <a:pPr algn="ctr"/>
                      <a:r>
                        <a:rPr lang="de-DE" sz="1200" dirty="0">
                          <a:solidFill>
                            <a:schemeClr val="dk1"/>
                          </a:solidFill>
                          <a:latin typeface="+mn-lt"/>
                        </a:rPr>
                        <a:t>National</a:t>
                      </a:r>
                    </a:p>
                  </a:txBody>
                  <a:tcPr marL="36000" marR="36000" anchor="ctr">
                    <a:solidFill>
                      <a:srgbClr val="C9D3DC"/>
                    </a:solidFill>
                  </a:tcPr>
                </a:tc>
                <a:tc>
                  <a:txBody>
                    <a:bodyPr/>
                    <a:lstStyle/>
                    <a:p>
                      <a:pPr algn="ctr"/>
                      <a:r>
                        <a:rPr lang="de-DE" sz="1200" dirty="0">
                          <a:solidFill>
                            <a:schemeClr val="dk1"/>
                          </a:solidFill>
                          <a:latin typeface="+mn-lt"/>
                        </a:rPr>
                        <a:t>International</a:t>
                      </a:r>
                    </a:p>
                  </a:txBody>
                  <a:tcPr marL="36000" marR="36000" anchor="ctr">
                    <a:solidFill>
                      <a:srgbClr val="C9D3DC"/>
                    </a:solidFill>
                  </a:tcPr>
                </a:tc>
                <a:tc>
                  <a:txBody>
                    <a:bodyPr/>
                    <a:lstStyle/>
                    <a:p>
                      <a:pPr algn="ctr"/>
                      <a:r>
                        <a:rPr lang="de-DE" sz="1200" dirty="0">
                          <a:solidFill>
                            <a:schemeClr val="dk1"/>
                          </a:solidFill>
                          <a:latin typeface="+mn-lt"/>
                        </a:rPr>
                        <a:t>International</a:t>
                      </a:r>
                    </a:p>
                  </a:txBody>
                  <a:tcPr marL="36000" marR="36000" anchor="ctr">
                    <a:solidFill>
                      <a:srgbClr val="C9D3DC"/>
                    </a:solidFill>
                  </a:tcPr>
                </a:tc>
                <a:extLst>
                  <a:ext uri="{0D108BD9-81ED-4DB2-BD59-A6C34878D82A}">
                    <a16:rowId xmlns:a16="http://schemas.microsoft.com/office/drawing/2014/main" val="10003"/>
                  </a:ext>
                </a:extLst>
              </a:tr>
              <a:tr h="883670">
                <a:tc>
                  <a:txBody>
                    <a:bodyPr/>
                    <a:lstStyle/>
                    <a:p>
                      <a:pPr algn="ctr"/>
                      <a:r>
                        <a:rPr lang="de-DE" sz="1200" b="1" dirty="0">
                          <a:solidFill>
                            <a:schemeClr val="bg1"/>
                          </a:solidFill>
                          <a:latin typeface="Arial"/>
                        </a:rPr>
                        <a:t>Sprache</a:t>
                      </a:r>
                    </a:p>
                  </a:txBody>
                  <a:tcPr marL="36000" marR="36000" anchor="ctr">
                    <a:solidFill>
                      <a:srgbClr val="E5E5E5"/>
                    </a:solidFill>
                  </a:tcPr>
                </a:tc>
                <a:tc>
                  <a:txBody>
                    <a:bodyPr/>
                    <a:lstStyle/>
                    <a:p>
                      <a:pPr algn="ctr"/>
                      <a:r>
                        <a:rPr lang="de-DE" sz="1200" dirty="0">
                          <a:solidFill>
                            <a:schemeClr val="dk1"/>
                          </a:solidFill>
                          <a:latin typeface="+mn-lt"/>
                        </a:rPr>
                        <a:t>Schwäbisch und Deutsch</a:t>
                      </a:r>
                    </a:p>
                  </a:txBody>
                  <a:tcPr marL="36000" marR="36000" anchor="ctr">
                    <a:solidFill>
                      <a:srgbClr val="C9D3DC"/>
                    </a:solidFill>
                  </a:tcPr>
                </a:tc>
                <a:tc>
                  <a:txBody>
                    <a:bodyPr/>
                    <a:lstStyle/>
                    <a:p>
                      <a:pPr marL="0" algn="ctr" defTabSz="957835" rtl="0" eaLnBrk="1" latinLnBrk="0" hangingPunct="1"/>
                      <a:r>
                        <a:rPr lang="de-DE" sz="1200" kern="1200" dirty="0">
                          <a:solidFill>
                            <a:schemeClr val="dk1"/>
                          </a:solidFill>
                          <a:latin typeface="Arial"/>
                          <a:ea typeface="+mn-ea"/>
                          <a:cs typeface="+mn-cs"/>
                        </a:rPr>
                        <a:t>Englisch</a:t>
                      </a:r>
                    </a:p>
                  </a:txBody>
                  <a:tcPr marL="36000" marR="36000" anchor="ctr">
                    <a:solidFill>
                      <a:srgbClr val="C9D3DC"/>
                    </a:solidFill>
                  </a:tcPr>
                </a:tc>
                <a:tc>
                  <a:txBody>
                    <a:bodyPr/>
                    <a:lstStyle/>
                    <a:p>
                      <a:pPr algn="ctr"/>
                      <a:r>
                        <a:rPr lang="de-DE" sz="1200" dirty="0">
                          <a:solidFill>
                            <a:schemeClr val="dk1"/>
                          </a:solidFill>
                          <a:latin typeface="Arial"/>
                        </a:rPr>
                        <a:t>Englisch</a:t>
                      </a:r>
                    </a:p>
                  </a:txBody>
                  <a:tcPr marL="36000" marR="36000" anchor="ctr">
                    <a:solidFill>
                      <a:srgbClr val="C9D3DC"/>
                    </a:solidFill>
                  </a:tcPr>
                </a:tc>
                <a:extLst>
                  <a:ext uri="{0D108BD9-81ED-4DB2-BD59-A6C34878D82A}">
                    <a16:rowId xmlns:a16="http://schemas.microsoft.com/office/drawing/2014/main" val="10004"/>
                  </a:ext>
                </a:extLst>
              </a:tr>
            </a:tbl>
          </a:graphicData>
        </a:graphic>
      </p:graphicFrame>
      <p:graphicFrame>
        <p:nvGraphicFramePr>
          <p:cNvPr id="49" name="de_Tabellenplatzhalter 24">
            <a:extLst>
              <a:ext uri="{FF2B5EF4-FFF2-40B4-BE49-F238E27FC236}">
                <a16:creationId xmlns:a16="http://schemas.microsoft.com/office/drawing/2014/main" id="{83971795-BB46-C4CC-9456-9830C3913C19}"/>
              </a:ext>
            </a:extLst>
          </p:cNvPr>
          <p:cNvGraphicFramePr>
            <a:graphicFrameLocks/>
          </p:cNvGraphicFramePr>
          <p:nvPr>
            <p:custDataLst>
              <p:tags r:id="rId2"/>
            </p:custDataLst>
            <p:extLst>
              <p:ext uri="{D42A27DB-BD31-4B8C-83A1-F6EECF244321}">
                <p14:modId xmlns:p14="http://schemas.microsoft.com/office/powerpoint/2010/main" val="2777738028"/>
              </p:ext>
            </p:extLst>
          </p:nvPr>
        </p:nvGraphicFramePr>
        <p:xfrm>
          <a:off x="515937" y="1674192"/>
          <a:ext cx="9514960" cy="4210969"/>
        </p:xfrm>
        <a:graphic>
          <a:graphicData uri="http://schemas.openxmlformats.org/drawingml/2006/table">
            <a:tbl>
              <a:tblPr firstRow="1" bandRow="1">
                <a:tableStyleId>{00A15C55-8517-42AA-B614-E9B94910E393}</a:tableStyleId>
              </a:tblPr>
              <a:tblGrid>
                <a:gridCol w="1978977">
                  <a:extLst>
                    <a:ext uri="{9D8B030D-6E8A-4147-A177-3AD203B41FA5}">
                      <a16:colId xmlns:a16="http://schemas.microsoft.com/office/drawing/2014/main" val="20000"/>
                    </a:ext>
                  </a:extLst>
                </a:gridCol>
                <a:gridCol w="2708860">
                  <a:extLst>
                    <a:ext uri="{9D8B030D-6E8A-4147-A177-3AD203B41FA5}">
                      <a16:colId xmlns:a16="http://schemas.microsoft.com/office/drawing/2014/main" val="20001"/>
                    </a:ext>
                  </a:extLst>
                </a:gridCol>
                <a:gridCol w="2669262">
                  <a:extLst>
                    <a:ext uri="{9D8B030D-6E8A-4147-A177-3AD203B41FA5}">
                      <a16:colId xmlns:a16="http://schemas.microsoft.com/office/drawing/2014/main" val="20002"/>
                    </a:ext>
                  </a:extLst>
                </a:gridCol>
                <a:gridCol w="2157861">
                  <a:extLst>
                    <a:ext uri="{9D8B030D-6E8A-4147-A177-3AD203B41FA5}">
                      <a16:colId xmlns:a16="http://schemas.microsoft.com/office/drawing/2014/main" val="20003"/>
                    </a:ext>
                  </a:extLst>
                </a:gridCol>
              </a:tblGrid>
              <a:tr h="1207717">
                <a:tc>
                  <a:txBody>
                    <a:bodyPr/>
                    <a:lstStyle/>
                    <a:p>
                      <a:pPr algn="ctr"/>
                      <a:endParaRPr lang="de-DE" sz="1600" dirty="0">
                        <a:solidFill>
                          <a:srgbClr val="000000"/>
                        </a:solidFill>
                        <a:latin typeface="Arial"/>
                      </a:endParaRPr>
                    </a:p>
                  </a:txBody>
                  <a:tcPr anchor="ctr">
                    <a:solidFill>
                      <a:schemeClr val="bg1"/>
                    </a:solidFill>
                  </a:tcPr>
                </a:tc>
                <a:tc>
                  <a:txBody>
                    <a:bodyPr/>
                    <a:lstStyle/>
                    <a:p>
                      <a:pPr algn="ctr"/>
                      <a:endParaRPr lang="de-DE" sz="1600" dirty="0">
                        <a:solidFill>
                          <a:srgbClr val="000000"/>
                        </a:solidFill>
                        <a:latin typeface="Arial"/>
                      </a:endParaRPr>
                    </a:p>
                  </a:txBody>
                  <a:tcPr anchor="ctr">
                    <a:solidFill>
                      <a:schemeClr val="bg1"/>
                    </a:solidFill>
                  </a:tcPr>
                </a:tc>
                <a:tc>
                  <a:txBody>
                    <a:bodyPr/>
                    <a:lstStyle/>
                    <a:p>
                      <a:pPr algn="ctr"/>
                      <a:endParaRPr lang="de-DE" sz="1600" dirty="0">
                        <a:solidFill>
                          <a:srgbClr val="000000"/>
                        </a:solidFill>
                        <a:latin typeface="Arial"/>
                      </a:endParaRPr>
                    </a:p>
                  </a:txBody>
                  <a:tcPr anchor="ctr">
                    <a:solidFill>
                      <a:schemeClr val="bg1"/>
                    </a:solidFill>
                  </a:tcPr>
                </a:tc>
                <a:tc>
                  <a:txBody>
                    <a:bodyPr/>
                    <a:lstStyle/>
                    <a:p>
                      <a:pPr algn="ctr"/>
                      <a:endParaRPr lang="de-DE" sz="1600" dirty="0">
                        <a:solidFill>
                          <a:srgbClr val="000000"/>
                        </a:solidFill>
                        <a:latin typeface="Arial"/>
                      </a:endParaRPr>
                    </a:p>
                  </a:txBody>
                  <a:tcPr anchor="ctr">
                    <a:solidFill>
                      <a:schemeClr val="bg1"/>
                    </a:solidFill>
                  </a:tcPr>
                </a:tc>
                <a:extLst>
                  <a:ext uri="{0D108BD9-81ED-4DB2-BD59-A6C34878D82A}">
                    <a16:rowId xmlns:a16="http://schemas.microsoft.com/office/drawing/2014/main" val="10000"/>
                  </a:ext>
                </a:extLst>
              </a:tr>
              <a:tr h="1235912">
                <a:tc>
                  <a:txBody>
                    <a:bodyPr/>
                    <a:lstStyle/>
                    <a:p>
                      <a:pPr algn="ctr"/>
                      <a:endParaRPr lang="de-DE" sz="1200" b="1" baseline="0" dirty="0">
                        <a:solidFill>
                          <a:schemeClr val="bg1"/>
                        </a:solidFill>
                        <a:latin typeface="Arial"/>
                      </a:endParaRPr>
                    </a:p>
                  </a:txBody>
                  <a:tcPr marL="0" marR="0" anchor="ctr">
                    <a:solidFill>
                      <a:srgbClr val="E5E5E5"/>
                    </a:solidFill>
                  </a:tcPr>
                </a:tc>
                <a:tc>
                  <a:txBody>
                    <a:bodyPr/>
                    <a:lstStyle/>
                    <a:p>
                      <a:pPr marL="0" algn="ctr" defTabSz="957835" rtl="0" eaLnBrk="1" latinLnBrk="0" hangingPunct="1"/>
                      <a:r>
                        <a:rPr lang="de-DE" sz="1200" b="1" kern="1200" dirty="0">
                          <a:solidFill>
                            <a:schemeClr val="dk1"/>
                          </a:solidFill>
                          <a:latin typeface="+mn-lt"/>
                          <a:ea typeface="+mn-ea"/>
                          <a:cs typeface="+mn-cs"/>
                        </a:rPr>
                        <a:t>NSC</a:t>
                      </a:r>
                    </a:p>
                    <a:p>
                      <a:pPr marL="0" algn="ctr" defTabSz="957835" rtl="0" eaLnBrk="1" latinLnBrk="0" hangingPunct="1"/>
                      <a:br>
                        <a:rPr lang="de-DE" sz="1200" b="1" kern="1200" dirty="0">
                          <a:solidFill>
                            <a:schemeClr val="dk1"/>
                          </a:solidFill>
                          <a:latin typeface="+mn-lt"/>
                          <a:ea typeface="+mn-ea"/>
                          <a:cs typeface="+mn-cs"/>
                        </a:rPr>
                      </a:br>
                      <a:r>
                        <a:rPr lang="de-DE" sz="800" b="1" kern="1200" dirty="0">
                          <a:solidFill>
                            <a:schemeClr val="dk1"/>
                          </a:solidFill>
                          <a:latin typeface="+mn-lt"/>
                          <a:ea typeface="+mn-ea"/>
                          <a:cs typeface="+mn-cs"/>
                        </a:rPr>
                        <a:t>(National Service</a:t>
                      </a:r>
                      <a:r>
                        <a:rPr lang="de-DE" sz="800" b="1" kern="1200" baseline="0" dirty="0">
                          <a:solidFill>
                            <a:schemeClr val="dk1"/>
                          </a:solidFill>
                          <a:latin typeface="+mn-lt"/>
                          <a:ea typeface="+mn-ea"/>
                          <a:cs typeface="+mn-cs"/>
                        </a:rPr>
                        <a:t> Center</a:t>
                      </a:r>
                      <a:r>
                        <a:rPr lang="de-DE" sz="800" b="1" kern="1200" dirty="0">
                          <a:solidFill>
                            <a:schemeClr val="dk1"/>
                          </a:solidFill>
                          <a:latin typeface="+mn-lt"/>
                          <a:ea typeface="+mn-ea"/>
                          <a:cs typeface="+mn-cs"/>
                        </a:rPr>
                        <a:t>)</a:t>
                      </a:r>
                    </a:p>
                    <a:p>
                      <a:pPr marL="0" algn="ctr" defTabSz="957835" rtl="0" eaLnBrk="1" latinLnBrk="0" hangingPunct="1"/>
                      <a:endParaRPr lang="de-DE" sz="700" b="1" kern="1200" dirty="0">
                        <a:solidFill>
                          <a:schemeClr val="dk1"/>
                        </a:solidFill>
                        <a:latin typeface="+mn-lt"/>
                        <a:ea typeface="+mn-ea"/>
                        <a:cs typeface="+mn-cs"/>
                      </a:endParaRPr>
                    </a:p>
                  </a:txBody>
                  <a:tcPr marL="36000" marR="36000" anchor="ctr">
                    <a:solidFill>
                      <a:srgbClr val="E5E5E5"/>
                    </a:solidFill>
                  </a:tcPr>
                </a:tc>
                <a:tc>
                  <a:txBody>
                    <a:bodyPr/>
                    <a:lstStyle/>
                    <a:p>
                      <a:pPr algn="ctr"/>
                      <a:r>
                        <a:rPr lang="de-DE" sz="1200" b="1" dirty="0">
                          <a:solidFill>
                            <a:schemeClr val="dk1"/>
                          </a:solidFill>
                          <a:latin typeface="+mn-lt"/>
                        </a:rPr>
                        <a:t>GSC </a:t>
                      </a:r>
                      <a:br>
                        <a:rPr lang="de-DE" sz="1200" b="1" dirty="0">
                          <a:solidFill>
                            <a:schemeClr val="dk1"/>
                          </a:solidFill>
                          <a:latin typeface="+mn-lt"/>
                        </a:rPr>
                      </a:br>
                      <a:r>
                        <a:rPr lang="de-DE" sz="1200" b="1" dirty="0">
                          <a:solidFill>
                            <a:schemeClr val="dk1"/>
                          </a:solidFill>
                          <a:latin typeface="+mn-lt"/>
                        </a:rPr>
                        <a:t>Europe / Asia / </a:t>
                      </a:r>
                      <a:r>
                        <a:rPr lang="de-DE" sz="1200" b="1" dirty="0" err="1">
                          <a:solidFill>
                            <a:schemeClr val="dk1"/>
                          </a:solidFill>
                          <a:latin typeface="+mn-lt"/>
                        </a:rPr>
                        <a:t>America</a:t>
                      </a:r>
                      <a:endParaRPr lang="de-DE" sz="1200" b="1" dirty="0">
                        <a:solidFill>
                          <a:schemeClr val="dk1"/>
                        </a:solidFill>
                        <a:latin typeface="+mn-lt"/>
                      </a:endParaRPr>
                    </a:p>
                    <a:p>
                      <a:pPr algn="ctr"/>
                      <a:br>
                        <a:rPr lang="de-DE" sz="1200" b="1" dirty="0">
                          <a:solidFill>
                            <a:schemeClr val="dk1"/>
                          </a:solidFill>
                          <a:latin typeface="+mn-lt"/>
                        </a:rPr>
                      </a:br>
                      <a:r>
                        <a:rPr lang="de-DE" sz="800" b="1" dirty="0">
                          <a:solidFill>
                            <a:schemeClr val="dk1"/>
                          </a:solidFill>
                          <a:latin typeface="+mn-lt"/>
                        </a:rPr>
                        <a:t>(Global Service Center)</a:t>
                      </a:r>
                    </a:p>
                    <a:p>
                      <a:pPr algn="ctr"/>
                      <a:endParaRPr lang="de-DE" sz="700" b="1" baseline="0" dirty="0">
                        <a:solidFill>
                          <a:schemeClr val="dk1"/>
                        </a:solidFill>
                        <a:latin typeface="+mn-lt"/>
                      </a:endParaRPr>
                    </a:p>
                  </a:txBody>
                  <a:tcPr marL="36000" marR="36000" anchor="ctr">
                    <a:solidFill>
                      <a:srgbClr val="E5E5E5"/>
                    </a:solidFill>
                  </a:tcPr>
                </a:tc>
                <a:tc>
                  <a:txBody>
                    <a:bodyPr/>
                    <a:lstStyle/>
                    <a:p>
                      <a:pPr algn="ctr"/>
                      <a:r>
                        <a:rPr lang="de-DE" sz="1200" b="1" dirty="0">
                          <a:solidFill>
                            <a:schemeClr val="dk1"/>
                          </a:solidFill>
                          <a:latin typeface="+mn-lt"/>
                        </a:rPr>
                        <a:t>SCC</a:t>
                      </a:r>
                    </a:p>
                    <a:p>
                      <a:pPr algn="ctr"/>
                      <a:br>
                        <a:rPr lang="de-DE" sz="1200" b="1" dirty="0">
                          <a:solidFill>
                            <a:schemeClr val="dk1"/>
                          </a:solidFill>
                          <a:latin typeface="+mn-lt"/>
                        </a:rPr>
                      </a:br>
                      <a:r>
                        <a:rPr lang="de-DE" sz="800" b="1" dirty="0">
                          <a:solidFill>
                            <a:schemeClr val="dk1"/>
                          </a:solidFill>
                          <a:latin typeface="+mn-lt"/>
                        </a:rPr>
                        <a:t>(Service Competenz Center)</a:t>
                      </a:r>
                    </a:p>
                    <a:p>
                      <a:pPr algn="ctr"/>
                      <a:endParaRPr lang="de-DE" sz="700" b="1" dirty="0">
                        <a:solidFill>
                          <a:schemeClr val="dk1"/>
                        </a:solidFill>
                        <a:latin typeface="+mn-lt"/>
                      </a:endParaRPr>
                    </a:p>
                  </a:txBody>
                  <a:tcPr marL="36000" marR="36000" anchor="ctr">
                    <a:solidFill>
                      <a:srgbClr val="E5E5E5"/>
                    </a:solidFill>
                  </a:tcPr>
                </a:tc>
                <a:extLst>
                  <a:ext uri="{0D108BD9-81ED-4DB2-BD59-A6C34878D82A}">
                    <a16:rowId xmlns:a16="http://schemas.microsoft.com/office/drawing/2014/main" val="10001"/>
                  </a:ext>
                </a:extLst>
              </a:tr>
              <a:tr h="883670">
                <a:tc>
                  <a:txBody>
                    <a:bodyPr/>
                    <a:lstStyle/>
                    <a:p>
                      <a:pPr algn="ctr"/>
                      <a:r>
                        <a:rPr lang="de-DE" sz="1200" b="1" dirty="0">
                          <a:solidFill>
                            <a:schemeClr val="bg1"/>
                          </a:solidFill>
                          <a:latin typeface="Arial"/>
                        </a:rPr>
                        <a:t>Reisetätigkeit</a:t>
                      </a:r>
                    </a:p>
                  </a:txBody>
                  <a:tcPr marL="36000" marR="36000" anchor="ctr">
                    <a:solidFill>
                      <a:srgbClr val="E5E5E5"/>
                    </a:solidFill>
                  </a:tcPr>
                </a:tc>
                <a:tc>
                  <a:txBody>
                    <a:bodyPr/>
                    <a:lstStyle/>
                    <a:p>
                      <a:pPr algn="ctr"/>
                      <a:r>
                        <a:rPr lang="de-DE" sz="1200" dirty="0">
                          <a:solidFill>
                            <a:schemeClr val="dk1"/>
                          </a:solidFill>
                          <a:latin typeface="+mn-lt"/>
                        </a:rPr>
                        <a:t>National</a:t>
                      </a:r>
                    </a:p>
                  </a:txBody>
                  <a:tcPr marL="36000" marR="36000" anchor="ctr">
                    <a:solidFill>
                      <a:srgbClr val="C9D3DC"/>
                    </a:solidFill>
                  </a:tcPr>
                </a:tc>
                <a:tc>
                  <a:txBody>
                    <a:bodyPr/>
                    <a:lstStyle/>
                    <a:p>
                      <a:pPr algn="ctr"/>
                      <a:r>
                        <a:rPr lang="de-DE" sz="1200" dirty="0">
                          <a:solidFill>
                            <a:schemeClr val="dk1"/>
                          </a:solidFill>
                          <a:latin typeface="+mn-lt"/>
                        </a:rPr>
                        <a:t>International</a:t>
                      </a:r>
                    </a:p>
                  </a:txBody>
                  <a:tcPr marL="36000" marR="36000" anchor="ctr">
                    <a:solidFill>
                      <a:srgbClr val="C9D3DC"/>
                    </a:solidFill>
                  </a:tcPr>
                </a:tc>
                <a:tc>
                  <a:txBody>
                    <a:bodyPr/>
                    <a:lstStyle/>
                    <a:p>
                      <a:pPr algn="ctr"/>
                      <a:r>
                        <a:rPr lang="de-DE" sz="1200" dirty="0">
                          <a:solidFill>
                            <a:schemeClr val="dk1"/>
                          </a:solidFill>
                          <a:latin typeface="+mn-lt"/>
                        </a:rPr>
                        <a:t>International</a:t>
                      </a:r>
                    </a:p>
                  </a:txBody>
                  <a:tcPr marL="36000" marR="36000" anchor="ctr">
                    <a:solidFill>
                      <a:srgbClr val="C9D3DC"/>
                    </a:solidFill>
                  </a:tcPr>
                </a:tc>
                <a:extLst>
                  <a:ext uri="{0D108BD9-81ED-4DB2-BD59-A6C34878D82A}">
                    <a16:rowId xmlns:a16="http://schemas.microsoft.com/office/drawing/2014/main" val="10003"/>
                  </a:ext>
                </a:extLst>
              </a:tr>
              <a:tr h="883670">
                <a:tc>
                  <a:txBody>
                    <a:bodyPr/>
                    <a:lstStyle/>
                    <a:p>
                      <a:pPr algn="ctr"/>
                      <a:r>
                        <a:rPr lang="de-DE" sz="1200" b="1" dirty="0">
                          <a:solidFill>
                            <a:schemeClr val="bg1"/>
                          </a:solidFill>
                          <a:latin typeface="Arial"/>
                        </a:rPr>
                        <a:t>Sprache</a:t>
                      </a:r>
                    </a:p>
                  </a:txBody>
                  <a:tcPr marL="36000" marR="36000" anchor="ctr">
                    <a:solidFill>
                      <a:srgbClr val="E5E5E5"/>
                    </a:solidFill>
                  </a:tcPr>
                </a:tc>
                <a:tc>
                  <a:txBody>
                    <a:bodyPr/>
                    <a:lstStyle/>
                    <a:p>
                      <a:pPr algn="ctr"/>
                      <a:r>
                        <a:rPr lang="de-DE" sz="1200" dirty="0">
                          <a:solidFill>
                            <a:schemeClr val="dk1"/>
                          </a:solidFill>
                          <a:latin typeface="+mn-lt"/>
                        </a:rPr>
                        <a:t>Schwäbisch und Deutsch</a:t>
                      </a:r>
                    </a:p>
                  </a:txBody>
                  <a:tcPr marL="36000" marR="36000" anchor="ctr">
                    <a:solidFill>
                      <a:srgbClr val="C9D3DC"/>
                    </a:solidFill>
                  </a:tcPr>
                </a:tc>
                <a:tc>
                  <a:txBody>
                    <a:bodyPr/>
                    <a:lstStyle/>
                    <a:p>
                      <a:pPr marL="0" algn="ctr" defTabSz="957835" rtl="0" eaLnBrk="1" latinLnBrk="0" hangingPunct="1"/>
                      <a:r>
                        <a:rPr lang="de-DE" sz="1200" kern="1200" dirty="0">
                          <a:solidFill>
                            <a:schemeClr val="dk1"/>
                          </a:solidFill>
                          <a:latin typeface="Arial"/>
                          <a:ea typeface="+mn-ea"/>
                          <a:cs typeface="+mn-cs"/>
                        </a:rPr>
                        <a:t>Englisch</a:t>
                      </a:r>
                    </a:p>
                  </a:txBody>
                  <a:tcPr marL="36000" marR="36000" anchor="ctr">
                    <a:solidFill>
                      <a:srgbClr val="C9D3DC"/>
                    </a:solidFill>
                  </a:tcPr>
                </a:tc>
                <a:tc>
                  <a:txBody>
                    <a:bodyPr/>
                    <a:lstStyle/>
                    <a:p>
                      <a:pPr algn="ctr"/>
                      <a:r>
                        <a:rPr lang="de-DE" sz="1200" dirty="0">
                          <a:solidFill>
                            <a:schemeClr val="dk1"/>
                          </a:solidFill>
                          <a:latin typeface="Arial"/>
                        </a:rPr>
                        <a:t>Englisch</a:t>
                      </a:r>
                    </a:p>
                  </a:txBody>
                  <a:tcPr marL="36000" marR="36000" anchor="ctr">
                    <a:solidFill>
                      <a:srgbClr val="C9D3DC"/>
                    </a:solidFill>
                  </a:tcPr>
                </a:tc>
                <a:extLst>
                  <a:ext uri="{0D108BD9-81ED-4DB2-BD59-A6C34878D82A}">
                    <a16:rowId xmlns:a16="http://schemas.microsoft.com/office/drawing/2014/main" val="10004"/>
                  </a:ext>
                </a:extLst>
              </a:tr>
            </a:tbl>
          </a:graphicData>
        </a:graphic>
      </p:graphicFrame>
      <p:grpSp>
        <p:nvGrpSpPr>
          <p:cNvPr id="50" name="Gruppieren 49">
            <a:extLst>
              <a:ext uri="{FF2B5EF4-FFF2-40B4-BE49-F238E27FC236}">
                <a16:creationId xmlns:a16="http://schemas.microsoft.com/office/drawing/2014/main" id="{D4ADACAB-8FF5-CC95-229A-8D94BB6E6082}"/>
              </a:ext>
            </a:extLst>
          </p:cNvPr>
          <p:cNvGrpSpPr/>
          <p:nvPr/>
        </p:nvGrpSpPr>
        <p:grpSpPr>
          <a:xfrm>
            <a:off x="8031780" y="1793195"/>
            <a:ext cx="1341021" cy="789586"/>
            <a:chOff x="1441569" y="1616873"/>
            <a:chExt cx="6456017" cy="4260399"/>
          </a:xfrm>
        </p:grpSpPr>
        <p:grpSp>
          <p:nvGrpSpPr>
            <p:cNvPr id="52" name="Gruppieren 18">
              <a:extLst>
                <a:ext uri="{FF2B5EF4-FFF2-40B4-BE49-F238E27FC236}">
                  <a16:creationId xmlns:a16="http://schemas.microsoft.com/office/drawing/2014/main" id="{61218BB3-3B9B-3748-78C7-66974778BDE3}"/>
                </a:ext>
              </a:extLst>
            </p:cNvPr>
            <p:cNvGrpSpPr/>
            <p:nvPr/>
          </p:nvGrpSpPr>
          <p:grpSpPr bwMode="gray">
            <a:xfrm>
              <a:off x="4023034" y="1797239"/>
              <a:ext cx="3874552" cy="2088527"/>
              <a:chOff x="4333654" y="2120458"/>
              <a:chExt cx="4234800" cy="2158558"/>
            </a:xfrm>
            <a:solidFill>
              <a:srgbClr val="D0D0D0"/>
            </a:solidFill>
          </p:grpSpPr>
          <p:grpSp>
            <p:nvGrpSpPr>
              <p:cNvPr id="324" name="Gruppieren 17">
                <a:extLst>
                  <a:ext uri="{FF2B5EF4-FFF2-40B4-BE49-F238E27FC236}">
                    <a16:creationId xmlns:a16="http://schemas.microsoft.com/office/drawing/2014/main" id="{E7B4D2C3-059E-6343-769D-CF0EB5E577CF}"/>
                  </a:ext>
                </a:extLst>
              </p:cNvPr>
              <p:cNvGrpSpPr/>
              <p:nvPr/>
            </p:nvGrpSpPr>
            <p:grpSpPr bwMode="gray">
              <a:xfrm>
                <a:off x="4333654" y="2120458"/>
                <a:ext cx="4234800" cy="2158558"/>
                <a:chOff x="4333654" y="2120458"/>
                <a:chExt cx="4234800" cy="2158558"/>
              </a:xfrm>
              <a:grpFill/>
            </p:grpSpPr>
            <p:sp>
              <p:nvSpPr>
                <p:cNvPr id="326" name="Line 37">
                  <a:extLst>
                    <a:ext uri="{FF2B5EF4-FFF2-40B4-BE49-F238E27FC236}">
                      <a16:creationId xmlns:a16="http://schemas.microsoft.com/office/drawing/2014/main" id="{E8564633-4123-7021-186D-DF389DD18398}"/>
                    </a:ext>
                  </a:extLst>
                </p:cNvPr>
                <p:cNvSpPr>
                  <a:spLocks noChangeShapeType="1"/>
                </p:cNvSpPr>
                <p:nvPr/>
              </p:nvSpPr>
              <p:spPr bwMode="gray">
                <a:xfrm>
                  <a:off x="5332500" y="4216945"/>
                  <a:ext cx="0" cy="11401"/>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327" name="Freeform 39">
                  <a:extLst>
                    <a:ext uri="{FF2B5EF4-FFF2-40B4-BE49-F238E27FC236}">
                      <a16:creationId xmlns:a16="http://schemas.microsoft.com/office/drawing/2014/main" id="{6138AC2F-F73F-CE8B-B51E-2D2F211FE39D}"/>
                    </a:ext>
                  </a:extLst>
                </p:cNvPr>
                <p:cNvSpPr>
                  <a:spLocks/>
                </p:cNvSpPr>
                <p:nvPr/>
              </p:nvSpPr>
              <p:spPr bwMode="gray">
                <a:xfrm>
                  <a:off x="5358244" y="3983862"/>
                  <a:ext cx="278030" cy="172280"/>
                </a:xfrm>
                <a:custGeom>
                  <a:avLst/>
                  <a:gdLst>
                    <a:gd name="T0" fmla="*/ 114 w 180"/>
                    <a:gd name="T1" fmla="*/ 41 h 114"/>
                    <a:gd name="T2" fmla="*/ 105 w 180"/>
                    <a:gd name="T3" fmla="*/ 41 h 114"/>
                    <a:gd name="T4" fmla="*/ 89 w 180"/>
                    <a:gd name="T5" fmla="*/ 32 h 114"/>
                    <a:gd name="T6" fmla="*/ 130 w 180"/>
                    <a:gd name="T7" fmla="*/ 8 h 114"/>
                    <a:gd name="T8" fmla="*/ 145 w 180"/>
                    <a:gd name="T9" fmla="*/ 0 h 114"/>
                    <a:gd name="T10" fmla="*/ 154 w 180"/>
                    <a:gd name="T11" fmla="*/ 8 h 114"/>
                    <a:gd name="T12" fmla="*/ 130 w 180"/>
                    <a:gd name="T13" fmla="*/ 16 h 114"/>
                    <a:gd name="T14" fmla="*/ 139 w 180"/>
                    <a:gd name="T15" fmla="*/ 23 h 114"/>
                    <a:gd name="T16" fmla="*/ 120 w 180"/>
                    <a:gd name="T17" fmla="*/ 41 h 114"/>
                    <a:gd name="T18" fmla="*/ 114 w 180"/>
                    <a:gd name="T19" fmla="*/ 41 h 114"/>
                    <a:gd name="T20" fmla="*/ 120 w 180"/>
                    <a:gd name="T21" fmla="*/ 41 h 114"/>
                    <a:gd name="T22" fmla="*/ 179 w 180"/>
                    <a:gd name="T23" fmla="*/ 88 h 114"/>
                    <a:gd name="T24" fmla="*/ 179 w 180"/>
                    <a:gd name="T25" fmla="*/ 97 h 114"/>
                    <a:gd name="T26" fmla="*/ 179 w 180"/>
                    <a:gd name="T27" fmla="*/ 105 h 114"/>
                    <a:gd name="T28" fmla="*/ 154 w 180"/>
                    <a:gd name="T29" fmla="*/ 113 h 114"/>
                    <a:gd name="T30" fmla="*/ 120 w 180"/>
                    <a:gd name="T31" fmla="*/ 113 h 114"/>
                    <a:gd name="T32" fmla="*/ 97 w 180"/>
                    <a:gd name="T33" fmla="*/ 97 h 114"/>
                    <a:gd name="T34" fmla="*/ 73 w 180"/>
                    <a:gd name="T35" fmla="*/ 97 h 114"/>
                    <a:gd name="T36" fmla="*/ 49 w 180"/>
                    <a:gd name="T37" fmla="*/ 113 h 114"/>
                    <a:gd name="T38" fmla="*/ 33 w 180"/>
                    <a:gd name="T39" fmla="*/ 113 h 114"/>
                    <a:gd name="T40" fmla="*/ 15 w 180"/>
                    <a:gd name="T41" fmla="*/ 113 h 114"/>
                    <a:gd name="T42" fmla="*/ 8 w 180"/>
                    <a:gd name="T43" fmla="*/ 97 h 114"/>
                    <a:gd name="T44" fmla="*/ 0 w 180"/>
                    <a:gd name="T45" fmla="*/ 88 h 114"/>
                    <a:gd name="T46" fmla="*/ 8 w 180"/>
                    <a:gd name="T47" fmla="*/ 73 h 114"/>
                    <a:gd name="T48" fmla="*/ 15 w 180"/>
                    <a:gd name="T49" fmla="*/ 73 h 114"/>
                    <a:gd name="T50" fmla="*/ 15 w 180"/>
                    <a:gd name="T51" fmla="*/ 63 h 114"/>
                    <a:gd name="T52" fmla="*/ 15 w 180"/>
                    <a:gd name="T53" fmla="*/ 57 h 114"/>
                    <a:gd name="T54" fmla="*/ 24 w 180"/>
                    <a:gd name="T55" fmla="*/ 48 h 114"/>
                    <a:gd name="T56" fmla="*/ 24 w 180"/>
                    <a:gd name="T57" fmla="*/ 41 h 114"/>
                    <a:gd name="T58" fmla="*/ 24 w 180"/>
                    <a:gd name="T59" fmla="*/ 32 h 114"/>
                    <a:gd name="T60" fmla="*/ 33 w 180"/>
                    <a:gd name="T61" fmla="*/ 32 h 114"/>
                    <a:gd name="T62" fmla="*/ 40 w 180"/>
                    <a:gd name="T63" fmla="*/ 16 h 114"/>
                    <a:gd name="T64" fmla="*/ 55 w 180"/>
                    <a:gd name="T65" fmla="*/ 16 h 114"/>
                    <a:gd name="T66" fmla="*/ 55 w 180"/>
                    <a:gd name="T67" fmla="*/ 23 h 114"/>
                    <a:gd name="T68" fmla="*/ 80 w 180"/>
                    <a:gd name="T69" fmla="*/ 32 h 114"/>
                    <a:gd name="T70" fmla="*/ 65 w 180"/>
                    <a:gd name="T71" fmla="*/ 41 h 114"/>
                    <a:gd name="T72" fmla="*/ 73 w 180"/>
                    <a:gd name="T73" fmla="*/ 48 h 114"/>
                    <a:gd name="T74" fmla="*/ 73 w 180"/>
                    <a:gd name="T75" fmla="*/ 57 h 114"/>
                    <a:gd name="T76" fmla="*/ 80 w 180"/>
                    <a:gd name="T77" fmla="*/ 57 h 114"/>
                    <a:gd name="T78" fmla="*/ 105 w 180"/>
                    <a:gd name="T79" fmla="*/ 41 h 114"/>
                    <a:gd name="T80" fmla="*/ 114 w 180"/>
                    <a:gd name="T81" fmla="*/ 4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6350" cap="rnd" cmpd="sng">
                  <a:solidFill>
                    <a:srgbClr val="D0D0D0"/>
                  </a:solidFill>
                  <a:prstDash val="solid"/>
                  <a:round/>
                  <a:headEnd/>
                  <a:tailEnd/>
                </a:ln>
                <a:effectLst/>
              </p:spPr>
              <p:txBody>
                <a:bodyPr/>
                <a:lstStyle/>
                <a:p>
                  <a:endParaRPr lang="de-DE" dirty="0"/>
                </a:p>
              </p:txBody>
            </p:sp>
            <p:sp>
              <p:nvSpPr>
                <p:cNvPr id="328" name="Freeform 43">
                  <a:extLst>
                    <a:ext uri="{FF2B5EF4-FFF2-40B4-BE49-F238E27FC236}">
                      <a16:creationId xmlns:a16="http://schemas.microsoft.com/office/drawing/2014/main" id="{38D304C2-B39E-4103-4341-1BDDC9163D1C}"/>
                    </a:ext>
                  </a:extLst>
                </p:cNvPr>
                <p:cNvSpPr>
                  <a:spLocks/>
                </p:cNvSpPr>
                <p:nvPr/>
              </p:nvSpPr>
              <p:spPr bwMode="gray">
                <a:xfrm>
                  <a:off x="5409731" y="3505027"/>
                  <a:ext cx="50200" cy="76006"/>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329" name="Freeform 44">
                  <a:extLst>
                    <a:ext uri="{FF2B5EF4-FFF2-40B4-BE49-F238E27FC236}">
                      <a16:creationId xmlns:a16="http://schemas.microsoft.com/office/drawing/2014/main" id="{4A6E2132-B686-7F56-37EC-7A5484143C0D}"/>
                    </a:ext>
                  </a:extLst>
                </p:cNvPr>
                <p:cNvSpPr>
                  <a:spLocks/>
                </p:cNvSpPr>
                <p:nvPr/>
              </p:nvSpPr>
              <p:spPr bwMode="gray">
                <a:xfrm>
                  <a:off x="5409731" y="3505027"/>
                  <a:ext cx="50200" cy="76006"/>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30" name="Freeform 45">
                  <a:extLst>
                    <a:ext uri="{FF2B5EF4-FFF2-40B4-BE49-F238E27FC236}">
                      <a16:creationId xmlns:a16="http://schemas.microsoft.com/office/drawing/2014/main" id="{5F989FA0-9758-0CAD-FF35-C4198F77F371}"/>
                    </a:ext>
                  </a:extLst>
                </p:cNvPr>
                <p:cNvSpPr>
                  <a:spLocks/>
                </p:cNvSpPr>
                <p:nvPr/>
              </p:nvSpPr>
              <p:spPr bwMode="gray">
                <a:xfrm>
                  <a:off x="5495971" y="3456889"/>
                  <a:ext cx="39902" cy="7347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6350" cap="rnd" cmpd="sng">
                  <a:solidFill>
                    <a:srgbClr val="D0D0D0"/>
                  </a:solidFill>
                  <a:prstDash val="solid"/>
                  <a:round/>
                  <a:headEnd/>
                  <a:tailEnd/>
                </a:ln>
                <a:effectLst/>
              </p:spPr>
              <p:txBody>
                <a:bodyPr/>
                <a:lstStyle/>
                <a:p>
                  <a:endParaRPr lang="de-DE" dirty="0"/>
                </a:p>
              </p:txBody>
            </p:sp>
            <p:sp>
              <p:nvSpPr>
                <p:cNvPr id="331" name="Freeform 46">
                  <a:extLst>
                    <a:ext uri="{FF2B5EF4-FFF2-40B4-BE49-F238E27FC236}">
                      <a16:creationId xmlns:a16="http://schemas.microsoft.com/office/drawing/2014/main" id="{C69CCE09-133F-8F7D-9FE3-1BD1FEF9451C}"/>
                    </a:ext>
                  </a:extLst>
                </p:cNvPr>
                <p:cNvSpPr>
                  <a:spLocks/>
                </p:cNvSpPr>
                <p:nvPr/>
              </p:nvSpPr>
              <p:spPr bwMode="gray">
                <a:xfrm>
                  <a:off x="5495971" y="3456889"/>
                  <a:ext cx="39902" cy="7347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32" name="Freeform 55">
                  <a:extLst>
                    <a:ext uri="{FF2B5EF4-FFF2-40B4-BE49-F238E27FC236}">
                      <a16:creationId xmlns:a16="http://schemas.microsoft.com/office/drawing/2014/main" id="{2C1CFD9A-4DBC-FC1E-523B-493371161FFB}"/>
                    </a:ext>
                  </a:extLst>
                </p:cNvPr>
                <p:cNvSpPr>
                  <a:spLocks/>
                </p:cNvSpPr>
                <p:nvPr/>
              </p:nvSpPr>
              <p:spPr bwMode="gray">
                <a:xfrm>
                  <a:off x="5148435" y="3923057"/>
                  <a:ext cx="110697" cy="49404"/>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6350" cap="rnd" cmpd="sng">
                  <a:solidFill>
                    <a:srgbClr val="D0D0D0"/>
                  </a:solidFill>
                  <a:prstDash val="solid"/>
                  <a:round/>
                  <a:headEnd/>
                  <a:tailEnd/>
                </a:ln>
                <a:effectLst/>
              </p:spPr>
              <p:txBody>
                <a:bodyPr/>
                <a:lstStyle/>
                <a:p>
                  <a:endParaRPr lang="de-DE" dirty="0"/>
                </a:p>
              </p:txBody>
            </p:sp>
            <p:sp>
              <p:nvSpPr>
                <p:cNvPr id="333" name="Freeform 56">
                  <a:extLst>
                    <a:ext uri="{FF2B5EF4-FFF2-40B4-BE49-F238E27FC236}">
                      <a16:creationId xmlns:a16="http://schemas.microsoft.com/office/drawing/2014/main" id="{73EC45EA-2DCD-7627-08A1-F906279622A1}"/>
                    </a:ext>
                  </a:extLst>
                </p:cNvPr>
                <p:cNvSpPr>
                  <a:spLocks/>
                </p:cNvSpPr>
                <p:nvPr/>
              </p:nvSpPr>
              <p:spPr bwMode="gray">
                <a:xfrm>
                  <a:off x="5148435" y="3923057"/>
                  <a:ext cx="110697" cy="49404"/>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34" name="Freeform 57">
                  <a:extLst>
                    <a:ext uri="{FF2B5EF4-FFF2-40B4-BE49-F238E27FC236}">
                      <a16:creationId xmlns:a16="http://schemas.microsoft.com/office/drawing/2014/main" id="{56AD3D58-0F51-93E6-5A26-78F2A75F8CE5}"/>
                    </a:ext>
                  </a:extLst>
                </p:cNvPr>
                <p:cNvSpPr>
                  <a:spLocks/>
                </p:cNvSpPr>
                <p:nvPr/>
              </p:nvSpPr>
              <p:spPr bwMode="gray">
                <a:xfrm>
                  <a:off x="5346660" y="2561291"/>
                  <a:ext cx="3220507" cy="1580916"/>
                </a:xfrm>
                <a:custGeom>
                  <a:avLst/>
                  <a:gdLst>
                    <a:gd name="T0" fmla="*/ 1030 w 2093"/>
                    <a:gd name="T1" fmla="*/ 210 h 1044"/>
                    <a:gd name="T2" fmla="*/ 1014 w 2093"/>
                    <a:gd name="T3" fmla="*/ 73 h 1044"/>
                    <a:gd name="T4" fmla="*/ 949 w 2093"/>
                    <a:gd name="T5" fmla="*/ 73 h 1044"/>
                    <a:gd name="T6" fmla="*/ 682 w 2093"/>
                    <a:gd name="T7" fmla="*/ 218 h 1044"/>
                    <a:gd name="T8" fmla="*/ 640 w 2093"/>
                    <a:gd name="T9" fmla="*/ 266 h 1044"/>
                    <a:gd name="T10" fmla="*/ 608 w 2093"/>
                    <a:gd name="T11" fmla="*/ 340 h 1044"/>
                    <a:gd name="T12" fmla="*/ 560 w 2093"/>
                    <a:gd name="T13" fmla="*/ 477 h 1044"/>
                    <a:gd name="T14" fmla="*/ 585 w 2093"/>
                    <a:gd name="T15" fmla="*/ 250 h 1044"/>
                    <a:gd name="T16" fmla="*/ 511 w 2093"/>
                    <a:gd name="T17" fmla="*/ 372 h 1044"/>
                    <a:gd name="T18" fmla="*/ 438 w 2093"/>
                    <a:gd name="T19" fmla="*/ 396 h 1044"/>
                    <a:gd name="T20" fmla="*/ 349 w 2093"/>
                    <a:gd name="T21" fmla="*/ 396 h 1044"/>
                    <a:gd name="T22" fmla="*/ 243 w 2093"/>
                    <a:gd name="T23" fmla="*/ 412 h 1044"/>
                    <a:gd name="T24" fmla="*/ 194 w 2093"/>
                    <a:gd name="T25" fmla="*/ 486 h 1044"/>
                    <a:gd name="T26" fmla="*/ 122 w 2093"/>
                    <a:gd name="T27" fmla="*/ 558 h 1044"/>
                    <a:gd name="T28" fmla="*/ 147 w 2093"/>
                    <a:gd name="T29" fmla="*/ 493 h 1044"/>
                    <a:gd name="T30" fmla="*/ 63 w 2093"/>
                    <a:gd name="T31" fmla="*/ 364 h 1044"/>
                    <a:gd name="T32" fmla="*/ 41 w 2093"/>
                    <a:gd name="T33" fmla="*/ 501 h 1044"/>
                    <a:gd name="T34" fmla="*/ 32 w 2093"/>
                    <a:gd name="T35" fmla="*/ 632 h 1044"/>
                    <a:gd name="T36" fmla="*/ 0 w 2093"/>
                    <a:gd name="T37" fmla="*/ 688 h 1044"/>
                    <a:gd name="T38" fmla="*/ 48 w 2093"/>
                    <a:gd name="T39" fmla="*/ 769 h 1044"/>
                    <a:gd name="T40" fmla="*/ 57 w 2093"/>
                    <a:gd name="T41" fmla="*/ 825 h 1044"/>
                    <a:gd name="T42" fmla="*/ 105 w 2093"/>
                    <a:gd name="T43" fmla="*/ 859 h 1044"/>
                    <a:gd name="T44" fmla="*/ 153 w 2093"/>
                    <a:gd name="T45" fmla="*/ 922 h 1044"/>
                    <a:gd name="T46" fmla="*/ 147 w 2093"/>
                    <a:gd name="T47" fmla="*/ 962 h 1044"/>
                    <a:gd name="T48" fmla="*/ 234 w 2093"/>
                    <a:gd name="T49" fmla="*/ 1021 h 1044"/>
                    <a:gd name="T50" fmla="*/ 259 w 2093"/>
                    <a:gd name="T51" fmla="*/ 1002 h 1044"/>
                    <a:gd name="T52" fmla="*/ 275 w 2093"/>
                    <a:gd name="T53" fmla="*/ 955 h 1044"/>
                    <a:gd name="T54" fmla="*/ 275 w 2093"/>
                    <a:gd name="T55" fmla="*/ 890 h 1044"/>
                    <a:gd name="T56" fmla="*/ 340 w 2093"/>
                    <a:gd name="T57" fmla="*/ 859 h 1044"/>
                    <a:gd name="T58" fmla="*/ 446 w 2093"/>
                    <a:gd name="T59" fmla="*/ 859 h 1044"/>
                    <a:gd name="T60" fmla="*/ 454 w 2093"/>
                    <a:gd name="T61" fmla="*/ 810 h 1044"/>
                    <a:gd name="T62" fmla="*/ 567 w 2093"/>
                    <a:gd name="T63" fmla="*/ 800 h 1044"/>
                    <a:gd name="T64" fmla="*/ 640 w 2093"/>
                    <a:gd name="T65" fmla="*/ 794 h 1044"/>
                    <a:gd name="T66" fmla="*/ 747 w 2093"/>
                    <a:gd name="T67" fmla="*/ 890 h 1044"/>
                    <a:gd name="T68" fmla="*/ 859 w 2093"/>
                    <a:gd name="T69" fmla="*/ 882 h 1044"/>
                    <a:gd name="T70" fmla="*/ 973 w 2093"/>
                    <a:gd name="T71" fmla="*/ 882 h 1044"/>
                    <a:gd name="T72" fmla="*/ 1120 w 2093"/>
                    <a:gd name="T73" fmla="*/ 882 h 1044"/>
                    <a:gd name="T74" fmla="*/ 1200 w 2093"/>
                    <a:gd name="T75" fmla="*/ 841 h 1044"/>
                    <a:gd name="T76" fmla="*/ 1290 w 2093"/>
                    <a:gd name="T77" fmla="*/ 899 h 1044"/>
                    <a:gd name="T78" fmla="*/ 1379 w 2093"/>
                    <a:gd name="T79" fmla="*/ 939 h 1044"/>
                    <a:gd name="T80" fmla="*/ 1347 w 2093"/>
                    <a:gd name="T81" fmla="*/ 1012 h 1044"/>
                    <a:gd name="T82" fmla="*/ 1461 w 2093"/>
                    <a:gd name="T83" fmla="*/ 850 h 1044"/>
                    <a:gd name="T84" fmla="*/ 1419 w 2093"/>
                    <a:gd name="T85" fmla="*/ 800 h 1044"/>
                    <a:gd name="T86" fmla="*/ 1518 w 2093"/>
                    <a:gd name="T87" fmla="*/ 679 h 1044"/>
                    <a:gd name="T88" fmla="*/ 1598 w 2093"/>
                    <a:gd name="T89" fmla="*/ 679 h 1044"/>
                    <a:gd name="T90" fmla="*/ 1704 w 2093"/>
                    <a:gd name="T91" fmla="*/ 614 h 1044"/>
                    <a:gd name="T92" fmla="*/ 1754 w 2093"/>
                    <a:gd name="T93" fmla="*/ 608 h 1044"/>
                    <a:gd name="T94" fmla="*/ 1663 w 2093"/>
                    <a:gd name="T95" fmla="*/ 874 h 1044"/>
                    <a:gd name="T96" fmla="*/ 1729 w 2093"/>
                    <a:gd name="T97" fmla="*/ 769 h 1044"/>
                    <a:gd name="T98" fmla="*/ 1744 w 2093"/>
                    <a:gd name="T99" fmla="*/ 688 h 1044"/>
                    <a:gd name="T100" fmla="*/ 1817 w 2093"/>
                    <a:gd name="T101" fmla="*/ 655 h 1044"/>
                    <a:gd name="T102" fmla="*/ 1938 w 2093"/>
                    <a:gd name="T103" fmla="*/ 551 h 1044"/>
                    <a:gd name="T104" fmla="*/ 1963 w 2093"/>
                    <a:gd name="T105" fmla="*/ 493 h 1044"/>
                    <a:gd name="T106" fmla="*/ 2061 w 2093"/>
                    <a:gd name="T107" fmla="*/ 526 h 1044"/>
                    <a:gd name="T108" fmla="*/ 1956 w 2093"/>
                    <a:gd name="T109" fmla="*/ 396 h 1044"/>
                    <a:gd name="T110" fmla="*/ 1809 w 2093"/>
                    <a:gd name="T111" fmla="*/ 372 h 1044"/>
                    <a:gd name="T112" fmla="*/ 1711 w 2093"/>
                    <a:gd name="T113" fmla="*/ 372 h 1044"/>
                    <a:gd name="T114" fmla="*/ 1598 w 2093"/>
                    <a:gd name="T115" fmla="*/ 307 h 1044"/>
                    <a:gd name="T116" fmla="*/ 1436 w 2093"/>
                    <a:gd name="T117" fmla="*/ 275 h 1044"/>
                    <a:gd name="T118" fmla="*/ 1322 w 2093"/>
                    <a:gd name="T119" fmla="*/ 324 h 1044"/>
                    <a:gd name="T120" fmla="*/ 1225 w 2093"/>
                    <a:gd name="T121" fmla="*/ 225 h 1044"/>
                    <a:gd name="T122" fmla="*/ 1063 w 2093"/>
                    <a:gd name="T123" fmla="*/ 194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35" name="Freeform 58">
                  <a:extLst>
                    <a:ext uri="{FF2B5EF4-FFF2-40B4-BE49-F238E27FC236}">
                      <a16:creationId xmlns:a16="http://schemas.microsoft.com/office/drawing/2014/main" id="{6CA34A30-52C6-D0AD-A7BA-5D49A37513A3}"/>
                    </a:ext>
                  </a:extLst>
                </p:cNvPr>
                <p:cNvSpPr>
                  <a:spLocks/>
                </p:cNvSpPr>
                <p:nvPr/>
              </p:nvSpPr>
              <p:spPr bwMode="gray">
                <a:xfrm>
                  <a:off x="4907733" y="3038859"/>
                  <a:ext cx="527742" cy="604245"/>
                </a:xfrm>
                <a:custGeom>
                  <a:avLst/>
                  <a:gdLst>
                    <a:gd name="T0" fmla="*/ 81 w 343"/>
                    <a:gd name="T1" fmla="*/ 373 h 399"/>
                    <a:gd name="T2" fmla="*/ 74 w 343"/>
                    <a:gd name="T3" fmla="*/ 373 h 399"/>
                    <a:gd name="T4" fmla="*/ 40 w 343"/>
                    <a:gd name="T5" fmla="*/ 398 h 399"/>
                    <a:gd name="T6" fmla="*/ 9 w 343"/>
                    <a:gd name="T7" fmla="*/ 388 h 399"/>
                    <a:gd name="T8" fmla="*/ 0 w 343"/>
                    <a:gd name="T9" fmla="*/ 324 h 399"/>
                    <a:gd name="T10" fmla="*/ 0 w 343"/>
                    <a:gd name="T11" fmla="*/ 299 h 399"/>
                    <a:gd name="T12" fmla="*/ 40 w 343"/>
                    <a:gd name="T13" fmla="*/ 268 h 399"/>
                    <a:gd name="T14" fmla="*/ 81 w 343"/>
                    <a:gd name="T15" fmla="*/ 218 h 399"/>
                    <a:gd name="T16" fmla="*/ 114 w 343"/>
                    <a:gd name="T17" fmla="*/ 162 h 399"/>
                    <a:gd name="T18" fmla="*/ 146 w 343"/>
                    <a:gd name="T19" fmla="*/ 106 h 399"/>
                    <a:gd name="T20" fmla="*/ 106 w 343"/>
                    <a:gd name="T21" fmla="*/ 122 h 399"/>
                    <a:gd name="T22" fmla="*/ 122 w 343"/>
                    <a:gd name="T23" fmla="*/ 90 h 399"/>
                    <a:gd name="T24" fmla="*/ 146 w 343"/>
                    <a:gd name="T25" fmla="*/ 90 h 399"/>
                    <a:gd name="T26" fmla="*/ 156 w 343"/>
                    <a:gd name="T27" fmla="*/ 65 h 399"/>
                    <a:gd name="T28" fmla="*/ 179 w 343"/>
                    <a:gd name="T29" fmla="*/ 41 h 399"/>
                    <a:gd name="T30" fmla="*/ 211 w 343"/>
                    <a:gd name="T31" fmla="*/ 34 h 399"/>
                    <a:gd name="T32" fmla="*/ 251 w 343"/>
                    <a:gd name="T33" fmla="*/ 16 h 399"/>
                    <a:gd name="T34" fmla="*/ 293 w 343"/>
                    <a:gd name="T35" fmla="*/ 0 h 399"/>
                    <a:gd name="T36" fmla="*/ 342 w 343"/>
                    <a:gd name="T37" fmla="*/ 34 h 399"/>
                    <a:gd name="T38" fmla="*/ 308 w 343"/>
                    <a:gd name="T39" fmla="*/ 41 h 399"/>
                    <a:gd name="T40" fmla="*/ 333 w 343"/>
                    <a:gd name="T41" fmla="*/ 57 h 399"/>
                    <a:gd name="T42" fmla="*/ 317 w 343"/>
                    <a:gd name="T43" fmla="*/ 57 h 399"/>
                    <a:gd name="T44" fmla="*/ 276 w 343"/>
                    <a:gd name="T45" fmla="*/ 49 h 399"/>
                    <a:gd name="T46" fmla="*/ 261 w 343"/>
                    <a:gd name="T47" fmla="*/ 90 h 399"/>
                    <a:gd name="T48" fmla="*/ 211 w 343"/>
                    <a:gd name="T49" fmla="*/ 72 h 399"/>
                    <a:gd name="T50" fmla="*/ 196 w 343"/>
                    <a:gd name="T51" fmla="*/ 81 h 399"/>
                    <a:gd name="T52" fmla="*/ 179 w 343"/>
                    <a:gd name="T53" fmla="*/ 97 h 399"/>
                    <a:gd name="T54" fmla="*/ 171 w 343"/>
                    <a:gd name="T55" fmla="*/ 112 h 399"/>
                    <a:gd name="T56" fmla="*/ 156 w 343"/>
                    <a:gd name="T57" fmla="*/ 122 h 399"/>
                    <a:gd name="T58" fmla="*/ 146 w 343"/>
                    <a:gd name="T59" fmla="*/ 154 h 399"/>
                    <a:gd name="T60" fmla="*/ 122 w 343"/>
                    <a:gd name="T61" fmla="*/ 203 h 399"/>
                    <a:gd name="T62" fmla="*/ 122 w 343"/>
                    <a:gd name="T63" fmla="*/ 236 h 399"/>
                    <a:gd name="T64" fmla="*/ 99 w 343"/>
                    <a:gd name="T65" fmla="*/ 251 h 399"/>
                    <a:gd name="T66" fmla="*/ 99 w 343"/>
                    <a:gd name="T67" fmla="*/ 317 h 399"/>
                    <a:gd name="T68" fmla="*/ 90 w 343"/>
                    <a:gd name="T69" fmla="*/ 357 h 399"/>
                    <a:gd name="T70" fmla="*/ 81 w 343"/>
                    <a:gd name="T71" fmla="*/ 38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36" name="Freeform 59">
                  <a:extLst>
                    <a:ext uri="{FF2B5EF4-FFF2-40B4-BE49-F238E27FC236}">
                      <a16:creationId xmlns:a16="http://schemas.microsoft.com/office/drawing/2014/main" id="{2EE20307-8302-36CC-A652-26851CF7FEC9}"/>
                    </a:ext>
                  </a:extLst>
                </p:cNvPr>
                <p:cNvSpPr>
                  <a:spLocks/>
                </p:cNvSpPr>
                <p:nvPr/>
              </p:nvSpPr>
              <p:spPr bwMode="gray">
                <a:xfrm>
                  <a:off x="5320916" y="4130805"/>
                  <a:ext cx="375855" cy="148211"/>
                </a:xfrm>
                <a:custGeom>
                  <a:avLst/>
                  <a:gdLst>
                    <a:gd name="T0" fmla="*/ 244 w 245"/>
                    <a:gd name="T1" fmla="*/ 32 h 98"/>
                    <a:gd name="T2" fmla="*/ 236 w 245"/>
                    <a:gd name="T3" fmla="*/ 32 h 98"/>
                    <a:gd name="T4" fmla="*/ 227 w 245"/>
                    <a:gd name="T5" fmla="*/ 8 h 98"/>
                    <a:gd name="T6" fmla="*/ 204 w 245"/>
                    <a:gd name="T7" fmla="*/ 8 h 98"/>
                    <a:gd name="T8" fmla="*/ 179 w 245"/>
                    <a:gd name="T9" fmla="*/ 16 h 98"/>
                    <a:gd name="T10" fmla="*/ 145 w 245"/>
                    <a:gd name="T11" fmla="*/ 16 h 98"/>
                    <a:gd name="T12" fmla="*/ 122 w 245"/>
                    <a:gd name="T13" fmla="*/ 0 h 98"/>
                    <a:gd name="T14" fmla="*/ 98 w 245"/>
                    <a:gd name="T15" fmla="*/ 0 h 98"/>
                    <a:gd name="T16" fmla="*/ 74 w 245"/>
                    <a:gd name="T17" fmla="*/ 16 h 98"/>
                    <a:gd name="T18" fmla="*/ 58 w 245"/>
                    <a:gd name="T19" fmla="*/ 16 h 98"/>
                    <a:gd name="T20" fmla="*/ 40 w 245"/>
                    <a:gd name="T21" fmla="*/ 16 h 98"/>
                    <a:gd name="T22" fmla="*/ 33 w 245"/>
                    <a:gd name="T23" fmla="*/ 0 h 98"/>
                    <a:gd name="T24" fmla="*/ 17 w 245"/>
                    <a:gd name="T25" fmla="*/ 0 h 98"/>
                    <a:gd name="T26" fmla="*/ 8 w 245"/>
                    <a:gd name="T27" fmla="*/ 8 h 98"/>
                    <a:gd name="T28" fmla="*/ 0 w 245"/>
                    <a:gd name="T29" fmla="*/ 25 h 98"/>
                    <a:gd name="T30" fmla="*/ 8 w 245"/>
                    <a:gd name="T31" fmla="*/ 25 h 98"/>
                    <a:gd name="T32" fmla="*/ 8 w 245"/>
                    <a:gd name="T33" fmla="*/ 32 h 98"/>
                    <a:gd name="T34" fmla="*/ 25 w 245"/>
                    <a:gd name="T35" fmla="*/ 16 h 98"/>
                    <a:gd name="T36" fmla="*/ 40 w 245"/>
                    <a:gd name="T37" fmla="*/ 16 h 98"/>
                    <a:gd name="T38" fmla="*/ 49 w 245"/>
                    <a:gd name="T39" fmla="*/ 25 h 98"/>
                    <a:gd name="T40" fmla="*/ 40 w 245"/>
                    <a:gd name="T41" fmla="*/ 25 h 98"/>
                    <a:gd name="T42" fmla="*/ 40 w 245"/>
                    <a:gd name="T43" fmla="*/ 32 h 98"/>
                    <a:gd name="T44" fmla="*/ 17 w 245"/>
                    <a:gd name="T45" fmla="*/ 32 h 98"/>
                    <a:gd name="T46" fmla="*/ 8 w 245"/>
                    <a:gd name="T47" fmla="*/ 41 h 98"/>
                    <a:gd name="T48" fmla="*/ 8 w 245"/>
                    <a:gd name="T49" fmla="*/ 48 h 98"/>
                    <a:gd name="T50" fmla="*/ 17 w 245"/>
                    <a:gd name="T51" fmla="*/ 41 h 98"/>
                    <a:gd name="T52" fmla="*/ 17 w 245"/>
                    <a:gd name="T53" fmla="*/ 48 h 98"/>
                    <a:gd name="T54" fmla="*/ 8 w 245"/>
                    <a:gd name="T55" fmla="*/ 57 h 98"/>
                    <a:gd name="T56" fmla="*/ 8 w 245"/>
                    <a:gd name="T57" fmla="*/ 65 h 98"/>
                    <a:gd name="T58" fmla="*/ 17 w 245"/>
                    <a:gd name="T59" fmla="*/ 73 h 98"/>
                    <a:gd name="T60" fmla="*/ 25 w 245"/>
                    <a:gd name="T61" fmla="*/ 81 h 98"/>
                    <a:gd name="T62" fmla="*/ 33 w 245"/>
                    <a:gd name="T63" fmla="*/ 81 h 98"/>
                    <a:gd name="T64" fmla="*/ 33 w 245"/>
                    <a:gd name="T65" fmla="*/ 90 h 98"/>
                    <a:gd name="T66" fmla="*/ 49 w 245"/>
                    <a:gd name="T67" fmla="*/ 97 h 98"/>
                    <a:gd name="T68" fmla="*/ 65 w 245"/>
                    <a:gd name="T69" fmla="*/ 90 h 98"/>
                    <a:gd name="T70" fmla="*/ 74 w 245"/>
                    <a:gd name="T71" fmla="*/ 90 h 98"/>
                    <a:gd name="T72" fmla="*/ 90 w 245"/>
                    <a:gd name="T73" fmla="*/ 97 h 98"/>
                    <a:gd name="T74" fmla="*/ 98 w 245"/>
                    <a:gd name="T75" fmla="*/ 97 h 98"/>
                    <a:gd name="T76" fmla="*/ 114 w 245"/>
                    <a:gd name="T77" fmla="*/ 90 h 98"/>
                    <a:gd name="T78" fmla="*/ 130 w 245"/>
                    <a:gd name="T79" fmla="*/ 90 h 98"/>
                    <a:gd name="T80" fmla="*/ 130 w 245"/>
                    <a:gd name="T81" fmla="*/ 97 h 98"/>
                    <a:gd name="T82" fmla="*/ 139 w 245"/>
                    <a:gd name="T83" fmla="*/ 97 h 98"/>
                    <a:gd name="T84" fmla="*/ 139 w 245"/>
                    <a:gd name="T85" fmla="*/ 90 h 98"/>
                    <a:gd name="T86" fmla="*/ 164 w 245"/>
                    <a:gd name="T87" fmla="*/ 81 h 98"/>
                    <a:gd name="T88" fmla="*/ 170 w 245"/>
                    <a:gd name="T89" fmla="*/ 90 h 98"/>
                    <a:gd name="T90" fmla="*/ 195 w 245"/>
                    <a:gd name="T91" fmla="*/ 81 h 98"/>
                    <a:gd name="T92" fmla="*/ 219 w 245"/>
                    <a:gd name="T93" fmla="*/ 81 h 98"/>
                    <a:gd name="T94" fmla="*/ 219 w 245"/>
                    <a:gd name="T95" fmla="*/ 73 h 98"/>
                    <a:gd name="T96" fmla="*/ 244 w 245"/>
                    <a:gd name="T97" fmla="*/ 81 h 98"/>
                    <a:gd name="T98" fmla="*/ 236 w 245"/>
                    <a:gd name="T99" fmla="*/ 41 h 98"/>
                    <a:gd name="T100" fmla="*/ 244 w 245"/>
                    <a:gd name="T10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6350" cap="rnd" cmpd="sng">
                  <a:solidFill>
                    <a:srgbClr val="D0D0D0"/>
                  </a:solidFill>
                  <a:prstDash val="solid"/>
                  <a:round/>
                  <a:headEnd/>
                  <a:tailEnd/>
                </a:ln>
                <a:effectLst/>
              </p:spPr>
              <p:txBody>
                <a:bodyPr/>
                <a:lstStyle/>
                <a:p>
                  <a:endParaRPr lang="de-DE" dirty="0"/>
                </a:p>
              </p:txBody>
            </p:sp>
            <p:sp>
              <p:nvSpPr>
                <p:cNvPr id="337" name="Freeform 76">
                  <a:extLst>
                    <a:ext uri="{FF2B5EF4-FFF2-40B4-BE49-F238E27FC236}">
                      <a16:creationId xmlns:a16="http://schemas.microsoft.com/office/drawing/2014/main" id="{6E46663B-76C0-B07F-1AA2-C7208AA7EF70}"/>
                    </a:ext>
                  </a:extLst>
                </p:cNvPr>
                <p:cNvSpPr>
                  <a:spLocks/>
                </p:cNvSpPr>
                <p:nvPr/>
              </p:nvSpPr>
              <p:spPr bwMode="gray">
                <a:xfrm>
                  <a:off x="5219230" y="3100930"/>
                  <a:ext cx="216245" cy="466167"/>
                </a:xfrm>
                <a:custGeom>
                  <a:avLst/>
                  <a:gdLst>
                    <a:gd name="T0" fmla="*/ 106 w 141"/>
                    <a:gd name="T1" fmla="*/ 40 h 308"/>
                    <a:gd name="T2" fmla="*/ 106 w 141"/>
                    <a:gd name="T3" fmla="*/ 65 h 308"/>
                    <a:gd name="T4" fmla="*/ 124 w 141"/>
                    <a:gd name="T5" fmla="*/ 81 h 308"/>
                    <a:gd name="T6" fmla="*/ 115 w 141"/>
                    <a:gd name="T7" fmla="*/ 105 h 308"/>
                    <a:gd name="T8" fmla="*/ 124 w 141"/>
                    <a:gd name="T9" fmla="*/ 145 h 308"/>
                    <a:gd name="T10" fmla="*/ 115 w 141"/>
                    <a:gd name="T11" fmla="*/ 170 h 308"/>
                    <a:gd name="T12" fmla="*/ 131 w 141"/>
                    <a:gd name="T13" fmla="*/ 195 h 308"/>
                    <a:gd name="T14" fmla="*/ 124 w 141"/>
                    <a:gd name="T15" fmla="*/ 210 h 308"/>
                    <a:gd name="T16" fmla="*/ 140 w 141"/>
                    <a:gd name="T17" fmla="*/ 227 h 308"/>
                    <a:gd name="T18" fmla="*/ 140 w 141"/>
                    <a:gd name="T19" fmla="*/ 235 h 308"/>
                    <a:gd name="T20" fmla="*/ 115 w 141"/>
                    <a:gd name="T21" fmla="*/ 276 h 308"/>
                    <a:gd name="T22" fmla="*/ 91 w 141"/>
                    <a:gd name="T23" fmla="*/ 292 h 308"/>
                    <a:gd name="T24" fmla="*/ 83 w 141"/>
                    <a:gd name="T25" fmla="*/ 292 h 308"/>
                    <a:gd name="T26" fmla="*/ 41 w 141"/>
                    <a:gd name="T27" fmla="*/ 307 h 308"/>
                    <a:gd name="T28" fmla="*/ 9 w 141"/>
                    <a:gd name="T29" fmla="*/ 292 h 308"/>
                    <a:gd name="T30" fmla="*/ 18 w 141"/>
                    <a:gd name="T31" fmla="*/ 267 h 308"/>
                    <a:gd name="T32" fmla="*/ 9 w 141"/>
                    <a:gd name="T33" fmla="*/ 242 h 308"/>
                    <a:gd name="T34" fmla="*/ 18 w 141"/>
                    <a:gd name="T35" fmla="*/ 227 h 308"/>
                    <a:gd name="T36" fmla="*/ 49 w 141"/>
                    <a:gd name="T37" fmla="*/ 177 h 308"/>
                    <a:gd name="T38" fmla="*/ 59 w 141"/>
                    <a:gd name="T39" fmla="*/ 170 h 308"/>
                    <a:gd name="T40" fmla="*/ 59 w 141"/>
                    <a:gd name="T41" fmla="*/ 153 h 308"/>
                    <a:gd name="T42" fmla="*/ 49 w 141"/>
                    <a:gd name="T43" fmla="*/ 145 h 308"/>
                    <a:gd name="T44" fmla="*/ 41 w 141"/>
                    <a:gd name="T45" fmla="*/ 145 h 308"/>
                    <a:gd name="T46" fmla="*/ 34 w 141"/>
                    <a:gd name="T47" fmla="*/ 71 h 308"/>
                    <a:gd name="T48" fmla="*/ 0 w 141"/>
                    <a:gd name="T49" fmla="*/ 40 h 308"/>
                    <a:gd name="T50" fmla="*/ 9 w 141"/>
                    <a:gd name="T51" fmla="*/ 31 h 308"/>
                    <a:gd name="T52" fmla="*/ 25 w 141"/>
                    <a:gd name="T53" fmla="*/ 49 h 308"/>
                    <a:gd name="T54" fmla="*/ 59 w 141"/>
                    <a:gd name="T55" fmla="*/ 49 h 308"/>
                    <a:gd name="T56" fmla="*/ 66 w 141"/>
                    <a:gd name="T57" fmla="*/ 40 h 308"/>
                    <a:gd name="T58" fmla="*/ 74 w 141"/>
                    <a:gd name="T59" fmla="*/ 8 h 308"/>
                    <a:gd name="T60" fmla="*/ 91 w 141"/>
                    <a:gd name="T61" fmla="*/ 0 h 308"/>
                    <a:gd name="T62" fmla="*/ 115 w 141"/>
                    <a:gd name="T63" fmla="*/ 16 h 308"/>
                    <a:gd name="T64" fmla="*/ 106 w 141"/>
                    <a:gd name="T65" fmla="*/ 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38" name="Freeform 103">
                  <a:extLst>
                    <a:ext uri="{FF2B5EF4-FFF2-40B4-BE49-F238E27FC236}">
                      <a16:creationId xmlns:a16="http://schemas.microsoft.com/office/drawing/2014/main" id="{A96EDF15-B359-1BCA-4DE8-ABDC30DF0B4D}"/>
                    </a:ext>
                  </a:extLst>
                </p:cNvPr>
                <p:cNvSpPr>
                  <a:spLocks/>
                </p:cNvSpPr>
                <p:nvPr/>
              </p:nvSpPr>
              <p:spPr bwMode="gray">
                <a:xfrm>
                  <a:off x="5270716" y="3701374"/>
                  <a:ext cx="189215" cy="162145"/>
                </a:xfrm>
                <a:custGeom>
                  <a:avLst/>
                  <a:gdLst>
                    <a:gd name="T0" fmla="*/ 112 w 123"/>
                    <a:gd name="T1" fmla="*/ 88 h 107"/>
                    <a:gd name="T2" fmla="*/ 106 w 123"/>
                    <a:gd name="T3" fmla="*/ 72 h 107"/>
                    <a:gd name="T4" fmla="*/ 106 w 123"/>
                    <a:gd name="T5" fmla="*/ 65 h 107"/>
                    <a:gd name="T6" fmla="*/ 112 w 123"/>
                    <a:gd name="T7" fmla="*/ 72 h 107"/>
                    <a:gd name="T8" fmla="*/ 122 w 123"/>
                    <a:gd name="T9" fmla="*/ 57 h 107"/>
                    <a:gd name="T10" fmla="*/ 112 w 123"/>
                    <a:gd name="T11" fmla="*/ 57 h 107"/>
                    <a:gd name="T12" fmla="*/ 97 w 123"/>
                    <a:gd name="T13" fmla="*/ 32 h 107"/>
                    <a:gd name="T14" fmla="*/ 97 w 123"/>
                    <a:gd name="T15" fmla="*/ 16 h 107"/>
                    <a:gd name="T16" fmla="*/ 90 w 123"/>
                    <a:gd name="T17" fmla="*/ 7 h 107"/>
                    <a:gd name="T18" fmla="*/ 65 w 123"/>
                    <a:gd name="T19" fmla="*/ 0 h 107"/>
                    <a:gd name="T20" fmla="*/ 49 w 123"/>
                    <a:gd name="T21" fmla="*/ 16 h 107"/>
                    <a:gd name="T22" fmla="*/ 49 w 123"/>
                    <a:gd name="T23" fmla="*/ 25 h 107"/>
                    <a:gd name="T24" fmla="*/ 32 w 123"/>
                    <a:gd name="T25" fmla="*/ 32 h 107"/>
                    <a:gd name="T26" fmla="*/ 32 w 123"/>
                    <a:gd name="T27" fmla="*/ 47 h 107"/>
                    <a:gd name="T28" fmla="*/ 25 w 123"/>
                    <a:gd name="T29" fmla="*/ 47 h 107"/>
                    <a:gd name="T30" fmla="*/ 7 w 123"/>
                    <a:gd name="T31" fmla="*/ 57 h 107"/>
                    <a:gd name="T32" fmla="*/ 0 w 123"/>
                    <a:gd name="T33" fmla="*/ 57 h 107"/>
                    <a:gd name="T34" fmla="*/ 7 w 123"/>
                    <a:gd name="T35" fmla="*/ 72 h 107"/>
                    <a:gd name="T36" fmla="*/ 0 w 123"/>
                    <a:gd name="T37" fmla="*/ 88 h 107"/>
                    <a:gd name="T38" fmla="*/ 0 w 123"/>
                    <a:gd name="T39" fmla="*/ 106 h 107"/>
                    <a:gd name="T40" fmla="*/ 15 w 123"/>
                    <a:gd name="T41" fmla="*/ 97 h 107"/>
                    <a:gd name="T42" fmla="*/ 32 w 123"/>
                    <a:gd name="T43" fmla="*/ 97 h 107"/>
                    <a:gd name="T44" fmla="*/ 57 w 123"/>
                    <a:gd name="T45" fmla="*/ 106 h 107"/>
                    <a:gd name="T46" fmla="*/ 65 w 123"/>
                    <a:gd name="T47" fmla="*/ 106 h 107"/>
                    <a:gd name="T48" fmla="*/ 72 w 123"/>
                    <a:gd name="T49" fmla="*/ 106 h 107"/>
                    <a:gd name="T50" fmla="*/ 81 w 123"/>
                    <a:gd name="T51" fmla="*/ 106 h 107"/>
                    <a:gd name="T52" fmla="*/ 97 w 123"/>
                    <a:gd name="T53" fmla="*/ 106 h 107"/>
                    <a:gd name="T54" fmla="*/ 106 w 123"/>
                    <a:gd name="T55" fmla="*/ 88 h 107"/>
                    <a:gd name="T56" fmla="*/ 112 w 123"/>
                    <a:gd name="T57" fmla="*/ 8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39" name="Freeform 104">
                  <a:extLst>
                    <a:ext uri="{FF2B5EF4-FFF2-40B4-BE49-F238E27FC236}">
                      <a16:creationId xmlns:a16="http://schemas.microsoft.com/office/drawing/2014/main" id="{CAF01E14-8209-33E6-CA3B-D527F34EAFE8}"/>
                    </a:ext>
                  </a:extLst>
                </p:cNvPr>
                <p:cNvSpPr>
                  <a:spLocks/>
                </p:cNvSpPr>
                <p:nvPr/>
              </p:nvSpPr>
              <p:spPr bwMode="gray">
                <a:xfrm>
                  <a:off x="5246260" y="3835651"/>
                  <a:ext cx="361695" cy="234351"/>
                </a:xfrm>
                <a:custGeom>
                  <a:avLst/>
                  <a:gdLst>
                    <a:gd name="T0" fmla="*/ 97 w 235"/>
                    <a:gd name="T1" fmla="*/ 139 h 155"/>
                    <a:gd name="T2" fmla="*/ 81 w 235"/>
                    <a:gd name="T3" fmla="*/ 139 h 155"/>
                    <a:gd name="T4" fmla="*/ 81 w 235"/>
                    <a:gd name="T5" fmla="*/ 130 h 155"/>
                    <a:gd name="T6" fmla="*/ 88 w 235"/>
                    <a:gd name="T7" fmla="*/ 114 h 155"/>
                    <a:gd name="T8" fmla="*/ 106 w 235"/>
                    <a:gd name="T9" fmla="*/ 114 h 155"/>
                    <a:gd name="T10" fmla="*/ 106 w 235"/>
                    <a:gd name="T11" fmla="*/ 106 h 155"/>
                    <a:gd name="T12" fmla="*/ 97 w 235"/>
                    <a:gd name="T13" fmla="*/ 90 h 155"/>
                    <a:gd name="T14" fmla="*/ 97 w 235"/>
                    <a:gd name="T15" fmla="*/ 81 h 155"/>
                    <a:gd name="T16" fmla="*/ 73 w 235"/>
                    <a:gd name="T17" fmla="*/ 74 h 155"/>
                    <a:gd name="T18" fmla="*/ 56 w 235"/>
                    <a:gd name="T19" fmla="*/ 81 h 155"/>
                    <a:gd name="T20" fmla="*/ 41 w 235"/>
                    <a:gd name="T21" fmla="*/ 90 h 155"/>
                    <a:gd name="T22" fmla="*/ 31 w 235"/>
                    <a:gd name="T23" fmla="*/ 90 h 155"/>
                    <a:gd name="T24" fmla="*/ 7 w 235"/>
                    <a:gd name="T25" fmla="*/ 90 h 155"/>
                    <a:gd name="T26" fmla="*/ 0 w 235"/>
                    <a:gd name="T27" fmla="*/ 81 h 155"/>
                    <a:gd name="T28" fmla="*/ 7 w 235"/>
                    <a:gd name="T29" fmla="*/ 66 h 155"/>
                    <a:gd name="T30" fmla="*/ 16 w 235"/>
                    <a:gd name="T31" fmla="*/ 49 h 155"/>
                    <a:gd name="T32" fmla="*/ 23 w 235"/>
                    <a:gd name="T33" fmla="*/ 41 h 155"/>
                    <a:gd name="T34" fmla="*/ 16 w 235"/>
                    <a:gd name="T35" fmla="*/ 18 h 155"/>
                    <a:gd name="T36" fmla="*/ 31 w 235"/>
                    <a:gd name="T37" fmla="*/ 9 h 155"/>
                    <a:gd name="T38" fmla="*/ 48 w 235"/>
                    <a:gd name="T39" fmla="*/ 9 h 155"/>
                    <a:gd name="T40" fmla="*/ 73 w 235"/>
                    <a:gd name="T41" fmla="*/ 18 h 155"/>
                    <a:gd name="T42" fmla="*/ 81 w 235"/>
                    <a:gd name="T43" fmla="*/ 18 h 155"/>
                    <a:gd name="T44" fmla="*/ 88 w 235"/>
                    <a:gd name="T45" fmla="*/ 18 h 155"/>
                    <a:gd name="T46" fmla="*/ 97 w 235"/>
                    <a:gd name="T47" fmla="*/ 18 h 155"/>
                    <a:gd name="T48" fmla="*/ 113 w 235"/>
                    <a:gd name="T49" fmla="*/ 18 h 155"/>
                    <a:gd name="T50" fmla="*/ 122 w 235"/>
                    <a:gd name="T51" fmla="*/ 0 h 155"/>
                    <a:gd name="T52" fmla="*/ 128 w 235"/>
                    <a:gd name="T53" fmla="*/ 0 h 155"/>
                    <a:gd name="T54" fmla="*/ 153 w 235"/>
                    <a:gd name="T55" fmla="*/ 0 h 155"/>
                    <a:gd name="T56" fmla="*/ 162 w 235"/>
                    <a:gd name="T57" fmla="*/ 9 h 155"/>
                    <a:gd name="T58" fmla="*/ 153 w 235"/>
                    <a:gd name="T59" fmla="*/ 9 h 155"/>
                    <a:gd name="T60" fmla="*/ 162 w 235"/>
                    <a:gd name="T61" fmla="*/ 18 h 155"/>
                    <a:gd name="T62" fmla="*/ 170 w 235"/>
                    <a:gd name="T63" fmla="*/ 18 h 155"/>
                    <a:gd name="T64" fmla="*/ 178 w 235"/>
                    <a:gd name="T65" fmla="*/ 33 h 155"/>
                    <a:gd name="T66" fmla="*/ 187 w 235"/>
                    <a:gd name="T67" fmla="*/ 41 h 155"/>
                    <a:gd name="T68" fmla="*/ 193 w 235"/>
                    <a:gd name="T69" fmla="*/ 33 h 155"/>
                    <a:gd name="T70" fmla="*/ 235 w 235"/>
                    <a:gd name="T71" fmla="*/ 58 h 155"/>
                    <a:gd name="T72" fmla="*/ 227 w 235"/>
                    <a:gd name="T73" fmla="*/ 90 h 155"/>
                    <a:gd name="T74" fmla="*/ 218 w 235"/>
                    <a:gd name="T75" fmla="*/ 81 h 155"/>
                    <a:gd name="T76" fmla="*/ 212 w 235"/>
                    <a:gd name="T77" fmla="*/ 90 h 155"/>
                    <a:gd name="T78" fmla="*/ 212 w 235"/>
                    <a:gd name="T79" fmla="*/ 106 h 155"/>
                    <a:gd name="T80" fmla="*/ 203 w 235"/>
                    <a:gd name="T81" fmla="*/ 106 h 155"/>
                    <a:gd name="T82" fmla="*/ 162 w 235"/>
                    <a:gd name="T83" fmla="*/ 130 h 155"/>
                    <a:gd name="T84" fmla="*/ 178 w 235"/>
                    <a:gd name="T85" fmla="*/ 139 h 155"/>
                    <a:gd name="T86" fmla="*/ 178 w 235"/>
                    <a:gd name="T87" fmla="*/ 139 h 155"/>
                    <a:gd name="T88" fmla="*/ 153 w 235"/>
                    <a:gd name="T89" fmla="*/ 155 h 155"/>
                    <a:gd name="T90" fmla="*/ 146 w 235"/>
                    <a:gd name="T91" fmla="*/ 155 h 155"/>
                    <a:gd name="T92" fmla="*/ 146 w 235"/>
                    <a:gd name="T93" fmla="*/ 146 h 155"/>
                    <a:gd name="T94" fmla="*/ 138 w 235"/>
                    <a:gd name="T95" fmla="*/ 139 h 155"/>
                    <a:gd name="T96" fmla="*/ 153 w 235"/>
                    <a:gd name="T97" fmla="*/ 130 h 155"/>
                    <a:gd name="T98" fmla="*/ 128 w 235"/>
                    <a:gd name="T99" fmla="*/ 121 h 155"/>
                    <a:gd name="T100" fmla="*/ 128 w 235"/>
                    <a:gd name="T101" fmla="*/ 114 h 155"/>
                    <a:gd name="T102" fmla="*/ 113 w 235"/>
                    <a:gd name="T103" fmla="*/ 114 h 155"/>
                    <a:gd name="T104" fmla="*/ 106 w 235"/>
                    <a:gd name="T105" fmla="*/ 130 h 155"/>
                    <a:gd name="T106" fmla="*/ 97 w 235"/>
                    <a:gd name="T107" fmla="*/ 130 h 155"/>
                    <a:gd name="T108" fmla="*/ 97 w 235"/>
                    <a:gd name="T109" fmla="*/ 13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40" name="Freeform 105">
                  <a:extLst>
                    <a:ext uri="{FF2B5EF4-FFF2-40B4-BE49-F238E27FC236}">
                      <a16:creationId xmlns:a16="http://schemas.microsoft.com/office/drawing/2014/main" id="{81DA28BA-AF3D-DB22-0022-C23E057CD798}"/>
                    </a:ext>
                  </a:extLst>
                </p:cNvPr>
                <p:cNvSpPr>
                  <a:spLocks/>
                </p:cNvSpPr>
                <p:nvPr/>
              </p:nvSpPr>
              <p:spPr bwMode="gray">
                <a:xfrm>
                  <a:off x="5232101" y="3641837"/>
                  <a:ext cx="140302" cy="86140"/>
                </a:xfrm>
                <a:custGeom>
                  <a:avLst/>
                  <a:gdLst>
                    <a:gd name="T0" fmla="*/ 40 w 91"/>
                    <a:gd name="T1" fmla="*/ 0 h 57"/>
                    <a:gd name="T2" fmla="*/ 40 w 91"/>
                    <a:gd name="T3" fmla="*/ 23 h 57"/>
                    <a:gd name="T4" fmla="*/ 25 w 91"/>
                    <a:gd name="T5" fmla="*/ 23 h 57"/>
                    <a:gd name="T6" fmla="*/ 16 w 91"/>
                    <a:gd name="T7" fmla="*/ 7 h 57"/>
                    <a:gd name="T8" fmla="*/ 9 w 91"/>
                    <a:gd name="T9" fmla="*/ 15 h 57"/>
                    <a:gd name="T10" fmla="*/ 0 w 91"/>
                    <a:gd name="T11" fmla="*/ 32 h 57"/>
                    <a:gd name="T12" fmla="*/ 0 w 91"/>
                    <a:gd name="T13" fmla="*/ 47 h 57"/>
                    <a:gd name="T14" fmla="*/ 9 w 91"/>
                    <a:gd name="T15" fmla="*/ 40 h 57"/>
                    <a:gd name="T16" fmla="*/ 50 w 91"/>
                    <a:gd name="T17" fmla="*/ 40 h 57"/>
                    <a:gd name="T18" fmla="*/ 74 w 91"/>
                    <a:gd name="T19" fmla="*/ 56 h 57"/>
                    <a:gd name="T20" fmla="*/ 90 w 91"/>
                    <a:gd name="T21" fmla="*/ 40 h 57"/>
                    <a:gd name="T22" fmla="*/ 82 w 91"/>
                    <a:gd name="T23" fmla="*/ 23 h 57"/>
                    <a:gd name="T24" fmla="*/ 82 w 91"/>
                    <a:gd name="T25" fmla="*/ 7 h 57"/>
                    <a:gd name="T26" fmla="*/ 65 w 91"/>
                    <a:gd name="T27" fmla="*/ 7 h 57"/>
                    <a:gd name="T28" fmla="*/ 50 w 91"/>
                    <a:gd name="T29" fmla="*/ 0 h 57"/>
                    <a:gd name="T30" fmla="*/ 40 w 91"/>
                    <a:gd name="T3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6350" cap="rnd" cmpd="sng">
                  <a:solidFill>
                    <a:srgbClr val="D0D0D0"/>
                  </a:solidFill>
                  <a:prstDash val="solid"/>
                  <a:round/>
                  <a:headEnd/>
                  <a:tailEnd/>
                </a:ln>
                <a:effectLst/>
              </p:spPr>
              <p:txBody>
                <a:bodyPr/>
                <a:lstStyle/>
                <a:p>
                  <a:endParaRPr lang="de-DE" dirty="0"/>
                </a:p>
              </p:txBody>
            </p:sp>
            <p:sp>
              <p:nvSpPr>
                <p:cNvPr id="341" name="Freeform 106">
                  <a:extLst>
                    <a:ext uri="{FF2B5EF4-FFF2-40B4-BE49-F238E27FC236}">
                      <a16:creationId xmlns:a16="http://schemas.microsoft.com/office/drawing/2014/main" id="{C2256B8B-FBE2-A34A-AD5A-AB231B13924C}"/>
                    </a:ext>
                  </a:extLst>
                </p:cNvPr>
                <p:cNvSpPr>
                  <a:spLocks/>
                </p:cNvSpPr>
                <p:nvPr/>
              </p:nvSpPr>
              <p:spPr bwMode="gray">
                <a:xfrm>
                  <a:off x="5232101" y="3701374"/>
                  <a:ext cx="115845" cy="88673"/>
                </a:xfrm>
                <a:custGeom>
                  <a:avLst/>
                  <a:gdLst>
                    <a:gd name="T0" fmla="*/ 0 w 75"/>
                    <a:gd name="T1" fmla="*/ 25 h 58"/>
                    <a:gd name="T2" fmla="*/ 0 w 75"/>
                    <a:gd name="T3" fmla="*/ 16 h 58"/>
                    <a:gd name="T4" fmla="*/ 0 w 75"/>
                    <a:gd name="T5" fmla="*/ 7 h 58"/>
                    <a:gd name="T6" fmla="*/ 9 w 75"/>
                    <a:gd name="T7" fmla="*/ 0 h 58"/>
                    <a:gd name="T8" fmla="*/ 50 w 75"/>
                    <a:gd name="T9" fmla="*/ 0 h 58"/>
                    <a:gd name="T10" fmla="*/ 74 w 75"/>
                    <a:gd name="T11" fmla="*/ 16 h 58"/>
                    <a:gd name="T12" fmla="*/ 74 w 75"/>
                    <a:gd name="T13" fmla="*/ 25 h 58"/>
                    <a:gd name="T14" fmla="*/ 57 w 75"/>
                    <a:gd name="T15" fmla="*/ 32 h 58"/>
                    <a:gd name="T16" fmla="*/ 57 w 75"/>
                    <a:gd name="T17" fmla="*/ 47 h 58"/>
                    <a:gd name="T18" fmla="*/ 50 w 75"/>
                    <a:gd name="T19" fmla="*/ 47 h 58"/>
                    <a:gd name="T20" fmla="*/ 32 w 75"/>
                    <a:gd name="T21" fmla="*/ 57 h 58"/>
                    <a:gd name="T22" fmla="*/ 25 w 75"/>
                    <a:gd name="T23" fmla="*/ 57 h 58"/>
                    <a:gd name="T24" fmla="*/ 16 w 75"/>
                    <a:gd name="T25" fmla="*/ 47 h 58"/>
                    <a:gd name="T26" fmla="*/ 16 w 75"/>
                    <a:gd name="T27" fmla="*/ 25 h 58"/>
                    <a:gd name="T28" fmla="*/ 0 w 75"/>
                    <a:gd name="T29"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42" name="Freeform 107">
                  <a:extLst>
                    <a:ext uri="{FF2B5EF4-FFF2-40B4-BE49-F238E27FC236}">
                      <a16:creationId xmlns:a16="http://schemas.microsoft.com/office/drawing/2014/main" id="{2ACC6F2B-EDDF-53E8-DEF7-41D8ED0A3074}"/>
                    </a:ext>
                  </a:extLst>
                </p:cNvPr>
                <p:cNvSpPr>
                  <a:spLocks/>
                </p:cNvSpPr>
                <p:nvPr/>
              </p:nvSpPr>
              <p:spPr bwMode="gray">
                <a:xfrm>
                  <a:off x="5282301" y="3589899"/>
                  <a:ext cx="90102" cy="63338"/>
                </a:xfrm>
                <a:custGeom>
                  <a:avLst/>
                  <a:gdLst>
                    <a:gd name="T0" fmla="*/ 8 w 59"/>
                    <a:gd name="T1" fmla="*/ 34 h 42"/>
                    <a:gd name="T2" fmla="*/ 0 w 59"/>
                    <a:gd name="T3" fmla="*/ 24 h 42"/>
                    <a:gd name="T4" fmla="*/ 0 w 59"/>
                    <a:gd name="T5" fmla="*/ 9 h 42"/>
                    <a:gd name="T6" fmla="*/ 8 w 59"/>
                    <a:gd name="T7" fmla="*/ 0 h 42"/>
                    <a:gd name="T8" fmla="*/ 58 w 59"/>
                    <a:gd name="T9" fmla="*/ 0 h 42"/>
                    <a:gd name="T10" fmla="*/ 50 w 59"/>
                    <a:gd name="T11" fmla="*/ 9 h 42"/>
                    <a:gd name="T12" fmla="*/ 42 w 59"/>
                    <a:gd name="T13" fmla="*/ 9 h 42"/>
                    <a:gd name="T14" fmla="*/ 50 w 59"/>
                    <a:gd name="T15" fmla="*/ 34 h 42"/>
                    <a:gd name="T16" fmla="*/ 50 w 59"/>
                    <a:gd name="T17" fmla="*/ 41 h 42"/>
                    <a:gd name="T18" fmla="*/ 33 w 59"/>
                    <a:gd name="T19" fmla="*/ 41 h 42"/>
                    <a:gd name="T20" fmla="*/ 18 w 59"/>
                    <a:gd name="T21" fmla="*/ 34 h 42"/>
                    <a:gd name="T22" fmla="*/ 8 w 59"/>
                    <a:gd name="T2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6350" cap="rnd" cmpd="sng">
                  <a:solidFill>
                    <a:srgbClr val="D0D0D0"/>
                  </a:solidFill>
                  <a:prstDash val="solid"/>
                  <a:round/>
                  <a:headEnd/>
                  <a:tailEnd/>
                </a:ln>
                <a:effectLst/>
              </p:spPr>
              <p:txBody>
                <a:bodyPr/>
                <a:lstStyle/>
                <a:p>
                  <a:endParaRPr lang="de-DE" dirty="0"/>
                </a:p>
              </p:txBody>
            </p:sp>
            <p:sp>
              <p:nvSpPr>
                <p:cNvPr id="343" name="Freeform 108">
                  <a:extLst>
                    <a:ext uri="{FF2B5EF4-FFF2-40B4-BE49-F238E27FC236}">
                      <a16:creationId xmlns:a16="http://schemas.microsoft.com/office/drawing/2014/main" id="{93DAD767-178F-3385-A3C6-1683D9A01DFD}"/>
                    </a:ext>
                  </a:extLst>
                </p:cNvPr>
                <p:cNvSpPr>
                  <a:spLocks/>
                </p:cNvSpPr>
                <p:nvPr/>
              </p:nvSpPr>
              <p:spPr bwMode="gray">
                <a:xfrm>
                  <a:off x="5196060" y="3739377"/>
                  <a:ext cx="63072" cy="35469"/>
                </a:xfrm>
                <a:custGeom>
                  <a:avLst/>
                  <a:gdLst>
                    <a:gd name="T0" fmla="*/ 40 w 41"/>
                    <a:gd name="T1" fmla="*/ 0 h 23"/>
                    <a:gd name="T2" fmla="*/ 40 w 41"/>
                    <a:gd name="T3" fmla="*/ 22 h 23"/>
                    <a:gd name="T4" fmla="*/ 24 w 41"/>
                    <a:gd name="T5" fmla="*/ 22 h 23"/>
                    <a:gd name="T6" fmla="*/ 0 w 41"/>
                    <a:gd name="T7" fmla="*/ 16 h 23"/>
                    <a:gd name="T8" fmla="*/ 15 w 41"/>
                    <a:gd name="T9" fmla="*/ 7 h 23"/>
                    <a:gd name="T10" fmla="*/ 24 w 41"/>
                    <a:gd name="T11" fmla="*/ 0 h 23"/>
                    <a:gd name="T12" fmla="*/ 40 w 41"/>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1" h="23">
                      <a:moveTo>
                        <a:pt x="40" y="0"/>
                      </a:moveTo>
                      <a:lnTo>
                        <a:pt x="40" y="22"/>
                      </a:lnTo>
                      <a:lnTo>
                        <a:pt x="24" y="22"/>
                      </a:lnTo>
                      <a:lnTo>
                        <a:pt x="0" y="16"/>
                      </a:lnTo>
                      <a:lnTo>
                        <a:pt x="15" y="7"/>
                      </a:lnTo>
                      <a:lnTo>
                        <a:pt x="24" y="0"/>
                      </a:lnTo>
                      <a:lnTo>
                        <a:pt x="40" y="0"/>
                      </a:lnTo>
                    </a:path>
                  </a:pathLst>
                </a:custGeom>
                <a:grpFill/>
                <a:ln w="6350" cap="rnd" cmpd="sng">
                  <a:solidFill>
                    <a:srgbClr val="D0D0D0"/>
                  </a:solidFill>
                  <a:prstDash val="solid"/>
                  <a:round/>
                  <a:headEnd/>
                  <a:tailEnd/>
                </a:ln>
                <a:effectLst/>
              </p:spPr>
              <p:txBody>
                <a:bodyPr/>
                <a:lstStyle/>
                <a:p>
                  <a:endParaRPr lang="de-DE" dirty="0"/>
                </a:p>
              </p:txBody>
            </p:sp>
            <p:sp>
              <p:nvSpPr>
                <p:cNvPr id="344" name="Freeform 109">
                  <a:extLst>
                    <a:ext uri="{FF2B5EF4-FFF2-40B4-BE49-F238E27FC236}">
                      <a16:creationId xmlns:a16="http://schemas.microsoft.com/office/drawing/2014/main" id="{E6C67FBE-50D6-6B74-1209-E1E906AB226E}"/>
                    </a:ext>
                  </a:extLst>
                </p:cNvPr>
                <p:cNvSpPr>
                  <a:spLocks/>
                </p:cNvSpPr>
                <p:nvPr/>
              </p:nvSpPr>
              <p:spPr bwMode="gray">
                <a:xfrm>
                  <a:off x="5596371" y="4094069"/>
                  <a:ext cx="136441" cy="49404"/>
                </a:xfrm>
                <a:custGeom>
                  <a:avLst/>
                  <a:gdLst>
                    <a:gd name="T0" fmla="*/ 25 w 89"/>
                    <a:gd name="T1" fmla="*/ 32 h 33"/>
                    <a:gd name="T2" fmla="*/ 25 w 89"/>
                    <a:gd name="T3" fmla="*/ 24 h 33"/>
                    <a:gd name="T4" fmla="*/ 25 w 89"/>
                    <a:gd name="T5" fmla="*/ 15 h 33"/>
                    <a:gd name="T6" fmla="*/ 0 w 89"/>
                    <a:gd name="T7" fmla="*/ 0 h 33"/>
                    <a:gd name="T8" fmla="*/ 40 w 89"/>
                    <a:gd name="T9" fmla="*/ 0 h 33"/>
                    <a:gd name="T10" fmla="*/ 57 w 89"/>
                    <a:gd name="T11" fmla="*/ 9 h 33"/>
                    <a:gd name="T12" fmla="*/ 72 w 89"/>
                    <a:gd name="T13" fmla="*/ 9 h 33"/>
                    <a:gd name="T14" fmla="*/ 88 w 89"/>
                    <a:gd name="T15" fmla="*/ 24 h 33"/>
                    <a:gd name="T16" fmla="*/ 81 w 89"/>
                    <a:gd name="T17" fmla="*/ 24 h 33"/>
                    <a:gd name="T18" fmla="*/ 88 w 89"/>
                    <a:gd name="T19" fmla="*/ 32 h 33"/>
                    <a:gd name="T20" fmla="*/ 72 w 89"/>
                    <a:gd name="T21" fmla="*/ 32 h 33"/>
                    <a:gd name="T22" fmla="*/ 65 w 89"/>
                    <a:gd name="T23" fmla="*/ 32 h 33"/>
                    <a:gd name="T24" fmla="*/ 48 w 89"/>
                    <a:gd name="T25" fmla="*/ 32 h 33"/>
                    <a:gd name="T26" fmla="*/ 25 w 89"/>
                    <a:gd name="T2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6350" cap="rnd" cmpd="sng">
                  <a:solidFill>
                    <a:srgbClr val="D0D0D0"/>
                  </a:solidFill>
                  <a:prstDash val="solid"/>
                  <a:round/>
                  <a:headEnd/>
                  <a:tailEnd/>
                </a:ln>
                <a:effectLst/>
              </p:spPr>
              <p:txBody>
                <a:bodyPr/>
                <a:lstStyle/>
                <a:p>
                  <a:endParaRPr lang="de-DE" dirty="0"/>
                </a:p>
              </p:txBody>
            </p:sp>
            <p:sp>
              <p:nvSpPr>
                <p:cNvPr id="345" name="Freeform 110">
                  <a:extLst>
                    <a:ext uri="{FF2B5EF4-FFF2-40B4-BE49-F238E27FC236}">
                      <a16:creationId xmlns:a16="http://schemas.microsoft.com/office/drawing/2014/main" id="{13605A34-7AB6-44BA-28E9-90A0477577DA}"/>
                    </a:ext>
                  </a:extLst>
                </p:cNvPr>
                <p:cNvSpPr>
                  <a:spLocks/>
                </p:cNvSpPr>
                <p:nvPr/>
              </p:nvSpPr>
              <p:spPr bwMode="gray">
                <a:xfrm>
                  <a:off x="5669740" y="4142207"/>
                  <a:ext cx="63072" cy="62071"/>
                </a:xfrm>
                <a:custGeom>
                  <a:avLst/>
                  <a:gdLst>
                    <a:gd name="T0" fmla="*/ 40 w 41"/>
                    <a:gd name="T1" fmla="*/ 40 h 41"/>
                    <a:gd name="T2" fmla="*/ 40 w 41"/>
                    <a:gd name="T3" fmla="*/ 33 h 41"/>
                    <a:gd name="T4" fmla="*/ 33 w 41"/>
                    <a:gd name="T5" fmla="*/ 24 h 41"/>
                    <a:gd name="T6" fmla="*/ 33 w 41"/>
                    <a:gd name="T7" fmla="*/ 17 h 41"/>
                    <a:gd name="T8" fmla="*/ 17 w 41"/>
                    <a:gd name="T9" fmla="*/ 0 h 41"/>
                    <a:gd name="T10" fmla="*/ 0 w 41"/>
                    <a:gd name="T11" fmla="*/ 0 h 41"/>
                    <a:gd name="T12" fmla="*/ 9 w 41"/>
                    <a:gd name="T13" fmla="*/ 24 h 41"/>
                    <a:gd name="T14" fmla="*/ 17 w 41"/>
                    <a:gd name="T15" fmla="*/ 24 h 41"/>
                    <a:gd name="T16" fmla="*/ 33 w 41"/>
                    <a:gd name="T17" fmla="*/ 33 h 41"/>
                    <a:gd name="T18" fmla="*/ 33 w 41"/>
                    <a:gd name="T19" fmla="*/ 40 h 41"/>
                    <a:gd name="T20" fmla="*/ 40 w 41"/>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6350" cap="rnd" cmpd="sng">
                  <a:solidFill>
                    <a:srgbClr val="D0D0D0"/>
                  </a:solidFill>
                  <a:prstDash val="solid"/>
                  <a:round/>
                  <a:headEnd/>
                  <a:tailEnd/>
                </a:ln>
                <a:effectLst/>
              </p:spPr>
              <p:txBody>
                <a:bodyPr/>
                <a:lstStyle/>
                <a:p>
                  <a:endParaRPr lang="de-DE" dirty="0"/>
                </a:p>
              </p:txBody>
            </p:sp>
            <p:sp>
              <p:nvSpPr>
                <p:cNvPr id="346" name="Freeform 112">
                  <a:extLst>
                    <a:ext uri="{FF2B5EF4-FFF2-40B4-BE49-F238E27FC236}">
                      <a16:creationId xmlns:a16="http://schemas.microsoft.com/office/drawing/2014/main" id="{2F3D13F7-8857-6FCC-29A5-D64172439EFC}"/>
                    </a:ext>
                  </a:extLst>
                </p:cNvPr>
                <p:cNvSpPr>
                  <a:spLocks/>
                </p:cNvSpPr>
                <p:nvPr/>
              </p:nvSpPr>
              <p:spPr bwMode="gray">
                <a:xfrm>
                  <a:off x="5695483" y="4130805"/>
                  <a:ext cx="111984" cy="87406"/>
                </a:xfrm>
                <a:custGeom>
                  <a:avLst/>
                  <a:gdLst>
                    <a:gd name="T0" fmla="*/ 23 w 73"/>
                    <a:gd name="T1" fmla="*/ 48 h 58"/>
                    <a:gd name="T2" fmla="*/ 40 w 73"/>
                    <a:gd name="T3" fmla="*/ 41 h 58"/>
                    <a:gd name="T4" fmla="*/ 48 w 73"/>
                    <a:gd name="T5" fmla="*/ 41 h 58"/>
                    <a:gd name="T6" fmla="*/ 40 w 73"/>
                    <a:gd name="T7" fmla="*/ 48 h 58"/>
                    <a:gd name="T8" fmla="*/ 57 w 73"/>
                    <a:gd name="T9" fmla="*/ 57 h 58"/>
                    <a:gd name="T10" fmla="*/ 48 w 73"/>
                    <a:gd name="T11" fmla="*/ 48 h 58"/>
                    <a:gd name="T12" fmla="*/ 57 w 73"/>
                    <a:gd name="T13" fmla="*/ 48 h 58"/>
                    <a:gd name="T14" fmla="*/ 57 w 73"/>
                    <a:gd name="T15" fmla="*/ 32 h 58"/>
                    <a:gd name="T16" fmla="*/ 72 w 73"/>
                    <a:gd name="T17" fmla="*/ 25 h 58"/>
                    <a:gd name="T18" fmla="*/ 57 w 73"/>
                    <a:gd name="T19" fmla="*/ 16 h 58"/>
                    <a:gd name="T20" fmla="*/ 48 w 73"/>
                    <a:gd name="T21" fmla="*/ 0 h 58"/>
                    <a:gd name="T22" fmla="*/ 40 w 73"/>
                    <a:gd name="T23" fmla="*/ 8 h 58"/>
                    <a:gd name="T24" fmla="*/ 32 w 73"/>
                    <a:gd name="T25" fmla="*/ 8 h 58"/>
                    <a:gd name="T26" fmla="*/ 23 w 73"/>
                    <a:gd name="T27" fmla="*/ 0 h 58"/>
                    <a:gd name="T28" fmla="*/ 16 w 73"/>
                    <a:gd name="T29" fmla="*/ 0 h 58"/>
                    <a:gd name="T30" fmla="*/ 23 w 73"/>
                    <a:gd name="T31" fmla="*/ 8 h 58"/>
                    <a:gd name="T32" fmla="*/ 7 w 73"/>
                    <a:gd name="T33" fmla="*/ 8 h 58"/>
                    <a:gd name="T34" fmla="*/ 0 w 73"/>
                    <a:gd name="T35" fmla="*/ 8 h 58"/>
                    <a:gd name="T36" fmla="*/ 16 w 73"/>
                    <a:gd name="T37" fmla="*/ 25 h 58"/>
                    <a:gd name="T38" fmla="*/ 16 w 73"/>
                    <a:gd name="T39" fmla="*/ 32 h 58"/>
                    <a:gd name="T40" fmla="*/ 23 w 73"/>
                    <a:gd name="T41" fmla="*/ 41 h 58"/>
                    <a:gd name="T42" fmla="*/ 23 w 73"/>
                    <a:gd name="T43"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47" name="Freeform 113">
                  <a:extLst>
                    <a:ext uri="{FF2B5EF4-FFF2-40B4-BE49-F238E27FC236}">
                      <a16:creationId xmlns:a16="http://schemas.microsoft.com/office/drawing/2014/main" id="{38409B16-AE26-75CD-A4C9-F074F2E8EFF8}"/>
                    </a:ext>
                  </a:extLst>
                </p:cNvPr>
                <p:cNvSpPr>
                  <a:spLocks/>
                </p:cNvSpPr>
                <p:nvPr/>
              </p:nvSpPr>
              <p:spPr bwMode="gray">
                <a:xfrm>
                  <a:off x="5032589" y="3161734"/>
                  <a:ext cx="250999" cy="578910"/>
                </a:xfrm>
                <a:custGeom>
                  <a:avLst/>
                  <a:gdLst>
                    <a:gd name="T0" fmla="*/ 0 w 163"/>
                    <a:gd name="T1" fmla="*/ 299 h 383"/>
                    <a:gd name="T2" fmla="*/ 9 w 163"/>
                    <a:gd name="T3" fmla="*/ 299 h 383"/>
                    <a:gd name="T4" fmla="*/ 9 w 163"/>
                    <a:gd name="T5" fmla="*/ 276 h 383"/>
                    <a:gd name="T6" fmla="*/ 18 w 163"/>
                    <a:gd name="T7" fmla="*/ 267 h 383"/>
                    <a:gd name="T8" fmla="*/ 18 w 163"/>
                    <a:gd name="T9" fmla="*/ 243 h 383"/>
                    <a:gd name="T10" fmla="*/ 18 w 163"/>
                    <a:gd name="T11" fmla="*/ 236 h 383"/>
                    <a:gd name="T12" fmla="*/ 9 w 163"/>
                    <a:gd name="T13" fmla="*/ 202 h 383"/>
                    <a:gd name="T14" fmla="*/ 18 w 163"/>
                    <a:gd name="T15" fmla="*/ 170 h 383"/>
                    <a:gd name="T16" fmla="*/ 25 w 163"/>
                    <a:gd name="T17" fmla="*/ 162 h 383"/>
                    <a:gd name="T18" fmla="*/ 41 w 163"/>
                    <a:gd name="T19" fmla="*/ 155 h 383"/>
                    <a:gd name="T20" fmla="*/ 33 w 163"/>
                    <a:gd name="T21" fmla="*/ 137 h 383"/>
                    <a:gd name="T22" fmla="*/ 41 w 163"/>
                    <a:gd name="T23" fmla="*/ 122 h 383"/>
                    <a:gd name="T24" fmla="*/ 50 w 163"/>
                    <a:gd name="T25" fmla="*/ 97 h 383"/>
                    <a:gd name="T26" fmla="*/ 65 w 163"/>
                    <a:gd name="T27" fmla="*/ 73 h 383"/>
                    <a:gd name="T28" fmla="*/ 65 w 163"/>
                    <a:gd name="T29" fmla="*/ 56 h 383"/>
                    <a:gd name="T30" fmla="*/ 75 w 163"/>
                    <a:gd name="T31" fmla="*/ 41 h 383"/>
                    <a:gd name="T32" fmla="*/ 81 w 163"/>
                    <a:gd name="T33" fmla="*/ 31 h 383"/>
                    <a:gd name="T34" fmla="*/ 90 w 163"/>
                    <a:gd name="T35" fmla="*/ 31 h 383"/>
                    <a:gd name="T36" fmla="*/ 90 w 163"/>
                    <a:gd name="T37" fmla="*/ 16 h 383"/>
                    <a:gd name="T38" fmla="*/ 98 w 163"/>
                    <a:gd name="T39" fmla="*/ 16 h 383"/>
                    <a:gd name="T40" fmla="*/ 115 w 163"/>
                    <a:gd name="T41" fmla="*/ 16 h 383"/>
                    <a:gd name="T42" fmla="*/ 115 w 163"/>
                    <a:gd name="T43" fmla="*/ 0 h 383"/>
                    <a:gd name="T44" fmla="*/ 121 w 163"/>
                    <a:gd name="T45" fmla="*/ 0 h 383"/>
                    <a:gd name="T46" fmla="*/ 155 w 163"/>
                    <a:gd name="T47" fmla="*/ 31 h 383"/>
                    <a:gd name="T48" fmla="*/ 162 w 163"/>
                    <a:gd name="T49" fmla="*/ 105 h 383"/>
                    <a:gd name="T50" fmla="*/ 146 w 163"/>
                    <a:gd name="T51" fmla="*/ 105 h 383"/>
                    <a:gd name="T52" fmla="*/ 130 w 163"/>
                    <a:gd name="T53" fmla="*/ 122 h 383"/>
                    <a:gd name="T54" fmla="*/ 130 w 163"/>
                    <a:gd name="T55" fmla="*/ 130 h 383"/>
                    <a:gd name="T56" fmla="*/ 130 w 163"/>
                    <a:gd name="T57" fmla="*/ 137 h 383"/>
                    <a:gd name="T58" fmla="*/ 139 w 163"/>
                    <a:gd name="T59" fmla="*/ 146 h 383"/>
                    <a:gd name="T60" fmla="*/ 121 w 163"/>
                    <a:gd name="T61" fmla="*/ 162 h 383"/>
                    <a:gd name="T62" fmla="*/ 98 w 163"/>
                    <a:gd name="T63" fmla="*/ 187 h 383"/>
                    <a:gd name="T64" fmla="*/ 81 w 163"/>
                    <a:gd name="T65" fmla="*/ 212 h 383"/>
                    <a:gd name="T66" fmla="*/ 81 w 163"/>
                    <a:gd name="T67" fmla="*/ 252 h 383"/>
                    <a:gd name="T68" fmla="*/ 98 w 163"/>
                    <a:gd name="T69" fmla="*/ 276 h 383"/>
                    <a:gd name="T70" fmla="*/ 90 w 163"/>
                    <a:gd name="T71" fmla="*/ 283 h 383"/>
                    <a:gd name="T72" fmla="*/ 90 w 163"/>
                    <a:gd name="T73" fmla="*/ 292 h 383"/>
                    <a:gd name="T74" fmla="*/ 75 w 163"/>
                    <a:gd name="T75" fmla="*/ 307 h 383"/>
                    <a:gd name="T76" fmla="*/ 65 w 163"/>
                    <a:gd name="T77" fmla="*/ 364 h 383"/>
                    <a:gd name="T78" fmla="*/ 50 w 163"/>
                    <a:gd name="T79" fmla="*/ 364 h 383"/>
                    <a:gd name="T80" fmla="*/ 41 w 163"/>
                    <a:gd name="T81" fmla="*/ 373 h 383"/>
                    <a:gd name="T82" fmla="*/ 41 w 163"/>
                    <a:gd name="T83" fmla="*/ 382 h 383"/>
                    <a:gd name="T84" fmla="*/ 25 w 163"/>
                    <a:gd name="T85" fmla="*/ 382 h 383"/>
                    <a:gd name="T86" fmla="*/ 18 w 163"/>
                    <a:gd name="T87" fmla="*/ 364 h 383"/>
                    <a:gd name="T88" fmla="*/ 25 w 163"/>
                    <a:gd name="T89" fmla="*/ 357 h 383"/>
                    <a:gd name="T90" fmla="*/ 18 w 163"/>
                    <a:gd name="T91" fmla="*/ 349 h 383"/>
                    <a:gd name="T92" fmla="*/ 0 w 163"/>
                    <a:gd name="T93" fmla="*/ 2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48" name="Freeform 114">
                  <a:extLst>
                    <a:ext uri="{FF2B5EF4-FFF2-40B4-BE49-F238E27FC236}">
                      <a16:creationId xmlns:a16="http://schemas.microsoft.com/office/drawing/2014/main" id="{42626896-6AF5-48FE-35AC-5CB7A53D9E94}"/>
                    </a:ext>
                  </a:extLst>
                </p:cNvPr>
                <p:cNvSpPr>
                  <a:spLocks/>
                </p:cNvSpPr>
                <p:nvPr/>
              </p:nvSpPr>
              <p:spPr bwMode="gray">
                <a:xfrm>
                  <a:off x="4659309" y="3739377"/>
                  <a:ext cx="52774" cy="50670"/>
                </a:xfrm>
                <a:custGeom>
                  <a:avLst/>
                  <a:gdLst>
                    <a:gd name="T0" fmla="*/ 25 w 35"/>
                    <a:gd name="T1" fmla="*/ 32 h 33"/>
                    <a:gd name="T2" fmla="*/ 25 w 35"/>
                    <a:gd name="T3" fmla="*/ 22 h 33"/>
                    <a:gd name="T4" fmla="*/ 9 w 35"/>
                    <a:gd name="T5" fmla="*/ 22 h 33"/>
                    <a:gd name="T6" fmla="*/ 0 w 35"/>
                    <a:gd name="T7" fmla="*/ 16 h 33"/>
                    <a:gd name="T8" fmla="*/ 9 w 35"/>
                    <a:gd name="T9" fmla="*/ 0 h 33"/>
                    <a:gd name="T10" fmla="*/ 25 w 35"/>
                    <a:gd name="T11" fmla="*/ 7 h 33"/>
                    <a:gd name="T12" fmla="*/ 34 w 35"/>
                    <a:gd name="T13" fmla="*/ 22 h 33"/>
                    <a:gd name="T14" fmla="*/ 25 w 35"/>
                    <a:gd name="T15" fmla="*/ 32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6350" cap="rnd" cmpd="sng">
                  <a:solidFill>
                    <a:srgbClr val="D0D0D0"/>
                  </a:solidFill>
                  <a:prstDash val="solid"/>
                  <a:round/>
                  <a:headEnd/>
                  <a:tailEnd/>
                </a:ln>
                <a:effectLst/>
              </p:spPr>
              <p:txBody>
                <a:bodyPr/>
                <a:lstStyle/>
                <a:p>
                  <a:endParaRPr lang="de-DE" dirty="0"/>
                </a:p>
              </p:txBody>
            </p:sp>
            <p:sp>
              <p:nvSpPr>
                <p:cNvPr id="349" name="Freeform 115">
                  <a:extLst>
                    <a:ext uri="{FF2B5EF4-FFF2-40B4-BE49-F238E27FC236}">
                      <a16:creationId xmlns:a16="http://schemas.microsoft.com/office/drawing/2014/main" id="{0D74FBF1-EE2F-2798-1256-564619E71BDD}"/>
                    </a:ext>
                  </a:extLst>
                </p:cNvPr>
                <p:cNvSpPr>
                  <a:spLocks/>
                </p:cNvSpPr>
                <p:nvPr/>
              </p:nvSpPr>
              <p:spPr bwMode="gray">
                <a:xfrm>
                  <a:off x="4607821" y="3739377"/>
                  <a:ext cx="91389" cy="124142"/>
                </a:xfrm>
                <a:custGeom>
                  <a:avLst/>
                  <a:gdLst>
                    <a:gd name="T0" fmla="*/ 42 w 59"/>
                    <a:gd name="T1" fmla="*/ 0 h 82"/>
                    <a:gd name="T2" fmla="*/ 33 w 59"/>
                    <a:gd name="T3" fmla="*/ 16 h 82"/>
                    <a:gd name="T4" fmla="*/ 42 w 59"/>
                    <a:gd name="T5" fmla="*/ 22 h 82"/>
                    <a:gd name="T6" fmla="*/ 58 w 59"/>
                    <a:gd name="T7" fmla="*/ 22 h 82"/>
                    <a:gd name="T8" fmla="*/ 58 w 59"/>
                    <a:gd name="T9" fmla="*/ 32 h 82"/>
                    <a:gd name="T10" fmla="*/ 58 w 59"/>
                    <a:gd name="T11" fmla="*/ 47 h 82"/>
                    <a:gd name="T12" fmla="*/ 49 w 59"/>
                    <a:gd name="T13" fmla="*/ 72 h 82"/>
                    <a:gd name="T14" fmla="*/ 8 w 59"/>
                    <a:gd name="T15" fmla="*/ 81 h 82"/>
                    <a:gd name="T16" fmla="*/ 0 w 59"/>
                    <a:gd name="T17" fmla="*/ 72 h 82"/>
                    <a:gd name="T18" fmla="*/ 8 w 59"/>
                    <a:gd name="T19" fmla="*/ 72 h 82"/>
                    <a:gd name="T20" fmla="*/ 18 w 59"/>
                    <a:gd name="T21" fmla="*/ 47 h 82"/>
                    <a:gd name="T22" fmla="*/ 8 w 59"/>
                    <a:gd name="T23" fmla="*/ 40 h 82"/>
                    <a:gd name="T24" fmla="*/ 18 w 59"/>
                    <a:gd name="T25" fmla="*/ 32 h 82"/>
                    <a:gd name="T26" fmla="*/ 8 w 59"/>
                    <a:gd name="T27" fmla="*/ 32 h 82"/>
                    <a:gd name="T28" fmla="*/ 8 w 59"/>
                    <a:gd name="T29" fmla="*/ 22 h 82"/>
                    <a:gd name="T30" fmla="*/ 25 w 59"/>
                    <a:gd name="T31" fmla="*/ 22 h 82"/>
                    <a:gd name="T32" fmla="*/ 33 w 59"/>
                    <a:gd name="T33" fmla="*/ 16 h 82"/>
                    <a:gd name="T34" fmla="*/ 25 w 59"/>
                    <a:gd name="T35" fmla="*/ 16 h 82"/>
                    <a:gd name="T36" fmla="*/ 25 w 59"/>
                    <a:gd name="T37" fmla="*/ 7 h 82"/>
                    <a:gd name="T38" fmla="*/ 42 w 59"/>
                    <a:gd name="T3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6350" cap="rnd" cmpd="sng">
                  <a:solidFill>
                    <a:srgbClr val="D0D0D0"/>
                  </a:solidFill>
                  <a:prstDash val="solid"/>
                  <a:round/>
                  <a:headEnd/>
                  <a:tailEnd/>
                </a:ln>
                <a:effectLst/>
              </p:spPr>
              <p:txBody>
                <a:bodyPr/>
                <a:lstStyle/>
                <a:p>
                  <a:endParaRPr lang="de-DE" dirty="0"/>
                </a:p>
              </p:txBody>
            </p:sp>
            <p:sp>
              <p:nvSpPr>
                <p:cNvPr id="350" name="Freeform 116">
                  <a:extLst>
                    <a:ext uri="{FF2B5EF4-FFF2-40B4-BE49-F238E27FC236}">
                      <a16:creationId xmlns:a16="http://schemas.microsoft.com/office/drawing/2014/main" id="{F8B2459F-69D4-BBA2-10A2-7E41E1C11520}"/>
                    </a:ext>
                  </a:extLst>
                </p:cNvPr>
                <p:cNvSpPr>
                  <a:spLocks/>
                </p:cNvSpPr>
                <p:nvPr/>
              </p:nvSpPr>
              <p:spPr bwMode="gray">
                <a:xfrm>
                  <a:off x="4969518" y="3663372"/>
                  <a:ext cx="64359" cy="88673"/>
                </a:xfrm>
                <a:custGeom>
                  <a:avLst/>
                  <a:gdLst>
                    <a:gd name="T0" fmla="*/ 9 w 42"/>
                    <a:gd name="T1" fmla="*/ 57 h 58"/>
                    <a:gd name="T2" fmla="*/ 19 w 42"/>
                    <a:gd name="T3" fmla="*/ 57 h 58"/>
                    <a:gd name="T4" fmla="*/ 25 w 42"/>
                    <a:gd name="T5" fmla="*/ 57 h 58"/>
                    <a:gd name="T6" fmla="*/ 34 w 42"/>
                    <a:gd name="T7" fmla="*/ 32 h 58"/>
                    <a:gd name="T8" fmla="*/ 41 w 42"/>
                    <a:gd name="T9" fmla="*/ 32 h 58"/>
                    <a:gd name="T10" fmla="*/ 41 w 42"/>
                    <a:gd name="T11" fmla="*/ 25 h 58"/>
                    <a:gd name="T12" fmla="*/ 34 w 42"/>
                    <a:gd name="T13" fmla="*/ 25 h 58"/>
                    <a:gd name="T14" fmla="*/ 34 w 42"/>
                    <a:gd name="T15" fmla="*/ 0 h 58"/>
                    <a:gd name="T16" fmla="*/ 9 w 42"/>
                    <a:gd name="T17" fmla="*/ 8 h 58"/>
                    <a:gd name="T18" fmla="*/ 0 w 42"/>
                    <a:gd name="T19" fmla="*/ 25 h 58"/>
                    <a:gd name="T20" fmla="*/ 0 w 42"/>
                    <a:gd name="T21" fmla="*/ 41 h 58"/>
                    <a:gd name="T22" fmla="*/ 9 w 42"/>
                    <a:gd name="T23" fmla="*/ 50 h 58"/>
                    <a:gd name="T24" fmla="*/ 9 w 42"/>
                    <a:gd name="T25"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6350" cap="rnd" cmpd="sng">
                  <a:solidFill>
                    <a:srgbClr val="D0D0D0"/>
                  </a:solidFill>
                  <a:prstDash val="solid"/>
                  <a:round/>
                  <a:headEnd/>
                  <a:tailEnd/>
                </a:ln>
                <a:effectLst/>
              </p:spPr>
              <p:txBody>
                <a:bodyPr/>
                <a:lstStyle/>
                <a:p>
                  <a:endParaRPr lang="de-DE" dirty="0"/>
                </a:p>
              </p:txBody>
            </p:sp>
            <p:sp>
              <p:nvSpPr>
                <p:cNvPr id="351" name="Freeform 117">
                  <a:extLst>
                    <a:ext uri="{FF2B5EF4-FFF2-40B4-BE49-F238E27FC236}">
                      <a16:creationId xmlns:a16="http://schemas.microsoft.com/office/drawing/2014/main" id="{1ED418F6-F474-F916-6807-F146E785A25C}"/>
                    </a:ext>
                  </a:extLst>
                </p:cNvPr>
                <p:cNvSpPr>
                  <a:spLocks/>
                </p:cNvSpPr>
                <p:nvPr/>
              </p:nvSpPr>
              <p:spPr bwMode="gray">
                <a:xfrm>
                  <a:off x="4883277" y="3800182"/>
                  <a:ext cx="78517" cy="86140"/>
                </a:xfrm>
                <a:custGeom>
                  <a:avLst/>
                  <a:gdLst>
                    <a:gd name="T0" fmla="*/ 33 w 51"/>
                    <a:gd name="T1" fmla="*/ 56 h 57"/>
                    <a:gd name="T2" fmla="*/ 33 w 51"/>
                    <a:gd name="T3" fmla="*/ 32 h 57"/>
                    <a:gd name="T4" fmla="*/ 41 w 51"/>
                    <a:gd name="T5" fmla="*/ 23 h 57"/>
                    <a:gd name="T6" fmla="*/ 50 w 51"/>
                    <a:gd name="T7" fmla="*/ 0 h 57"/>
                    <a:gd name="T8" fmla="*/ 25 w 51"/>
                    <a:gd name="T9" fmla="*/ 7 h 57"/>
                    <a:gd name="T10" fmla="*/ 33 w 51"/>
                    <a:gd name="T11" fmla="*/ 23 h 57"/>
                    <a:gd name="T12" fmla="*/ 25 w 51"/>
                    <a:gd name="T13" fmla="*/ 23 h 57"/>
                    <a:gd name="T14" fmla="*/ 25 w 51"/>
                    <a:gd name="T15" fmla="*/ 16 h 57"/>
                    <a:gd name="T16" fmla="*/ 16 w 51"/>
                    <a:gd name="T17" fmla="*/ 16 h 57"/>
                    <a:gd name="T18" fmla="*/ 0 w 51"/>
                    <a:gd name="T19" fmla="*/ 47 h 57"/>
                    <a:gd name="T20" fmla="*/ 25 w 51"/>
                    <a:gd name="T21" fmla="*/ 47 h 57"/>
                    <a:gd name="T22" fmla="*/ 33 w 51"/>
                    <a:gd name="T23"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6350" cap="rnd" cmpd="sng">
                  <a:solidFill>
                    <a:srgbClr val="D0D0D0"/>
                  </a:solidFill>
                  <a:prstDash val="solid"/>
                  <a:round/>
                  <a:headEnd/>
                  <a:tailEnd/>
                </a:ln>
                <a:effectLst/>
              </p:spPr>
              <p:txBody>
                <a:bodyPr/>
                <a:lstStyle/>
                <a:p>
                  <a:endParaRPr lang="de-DE" dirty="0"/>
                </a:p>
              </p:txBody>
            </p:sp>
            <p:sp>
              <p:nvSpPr>
                <p:cNvPr id="352" name="Freeform 118">
                  <a:extLst>
                    <a:ext uri="{FF2B5EF4-FFF2-40B4-BE49-F238E27FC236}">
                      <a16:creationId xmlns:a16="http://schemas.microsoft.com/office/drawing/2014/main" id="{EBFCC8CF-4D3C-D4D0-3F63-AE941EE1F349}"/>
                    </a:ext>
                  </a:extLst>
                </p:cNvPr>
                <p:cNvSpPr>
                  <a:spLocks/>
                </p:cNvSpPr>
                <p:nvPr/>
              </p:nvSpPr>
              <p:spPr bwMode="gray">
                <a:xfrm>
                  <a:off x="4869118" y="3871119"/>
                  <a:ext cx="66933" cy="53203"/>
                </a:xfrm>
                <a:custGeom>
                  <a:avLst/>
                  <a:gdLst>
                    <a:gd name="T0" fmla="*/ 34 w 43"/>
                    <a:gd name="T1" fmla="*/ 34 h 35"/>
                    <a:gd name="T2" fmla="*/ 25 w 43"/>
                    <a:gd name="T3" fmla="*/ 34 h 35"/>
                    <a:gd name="T4" fmla="*/ 25 w 43"/>
                    <a:gd name="T5" fmla="*/ 25 h 35"/>
                    <a:gd name="T6" fmla="*/ 18 w 43"/>
                    <a:gd name="T7" fmla="*/ 25 h 35"/>
                    <a:gd name="T8" fmla="*/ 18 w 43"/>
                    <a:gd name="T9" fmla="*/ 17 h 35"/>
                    <a:gd name="T10" fmla="*/ 0 w 43"/>
                    <a:gd name="T11" fmla="*/ 9 h 35"/>
                    <a:gd name="T12" fmla="*/ 0 w 43"/>
                    <a:gd name="T13" fmla="*/ 0 h 35"/>
                    <a:gd name="T14" fmla="*/ 9 w 43"/>
                    <a:gd name="T15" fmla="*/ 0 h 35"/>
                    <a:gd name="T16" fmla="*/ 34 w 43"/>
                    <a:gd name="T17" fmla="*/ 0 h 35"/>
                    <a:gd name="T18" fmla="*/ 42 w 43"/>
                    <a:gd name="T19" fmla="*/ 9 h 35"/>
                    <a:gd name="T20" fmla="*/ 42 w 43"/>
                    <a:gd name="T21" fmla="*/ 25 h 35"/>
                    <a:gd name="T22" fmla="*/ 34 w 43"/>
                    <a:gd name="T23" fmla="*/ 25 h 35"/>
                    <a:gd name="T24" fmla="*/ 34 w 43"/>
                    <a:gd name="T2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6350" cap="rnd" cmpd="sng">
                  <a:solidFill>
                    <a:srgbClr val="D0D0D0"/>
                  </a:solidFill>
                  <a:prstDash val="solid"/>
                  <a:round/>
                  <a:headEnd/>
                  <a:tailEnd/>
                </a:ln>
                <a:effectLst/>
              </p:spPr>
              <p:txBody>
                <a:bodyPr/>
                <a:lstStyle/>
                <a:p>
                  <a:endParaRPr lang="de-DE" dirty="0"/>
                </a:p>
              </p:txBody>
            </p:sp>
            <p:sp>
              <p:nvSpPr>
                <p:cNvPr id="353" name="Freeform 119">
                  <a:extLst>
                    <a:ext uri="{FF2B5EF4-FFF2-40B4-BE49-F238E27FC236}">
                      <a16:creationId xmlns:a16="http://schemas.microsoft.com/office/drawing/2014/main" id="{03DBFD3A-F689-E61A-6F71-45E8874F21BA}"/>
                    </a:ext>
                  </a:extLst>
                </p:cNvPr>
                <p:cNvSpPr>
                  <a:spLocks/>
                </p:cNvSpPr>
                <p:nvPr/>
              </p:nvSpPr>
              <p:spPr bwMode="gray">
                <a:xfrm>
                  <a:off x="4921892" y="3909123"/>
                  <a:ext cx="25743" cy="25335"/>
                </a:xfrm>
                <a:custGeom>
                  <a:avLst/>
                  <a:gdLst>
                    <a:gd name="T0" fmla="*/ 0 w 17"/>
                    <a:gd name="T1" fmla="*/ 16 h 17"/>
                    <a:gd name="T2" fmla="*/ 0 w 17"/>
                    <a:gd name="T3" fmla="*/ 0 h 17"/>
                    <a:gd name="T4" fmla="*/ 16 w 17"/>
                    <a:gd name="T5" fmla="*/ 0 h 17"/>
                    <a:gd name="T6" fmla="*/ 16 w 17"/>
                    <a:gd name="T7" fmla="*/ 16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0" y="0"/>
                      </a:lnTo>
                      <a:lnTo>
                        <a:pt x="16" y="0"/>
                      </a:lnTo>
                      <a:lnTo>
                        <a:pt x="16" y="16"/>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354" name="Freeform 120">
                  <a:extLst>
                    <a:ext uri="{FF2B5EF4-FFF2-40B4-BE49-F238E27FC236}">
                      <a16:creationId xmlns:a16="http://schemas.microsoft.com/office/drawing/2014/main" id="{F78DB4EC-9773-C923-E36F-4275149F4F57}"/>
                    </a:ext>
                  </a:extLst>
                </p:cNvPr>
                <p:cNvSpPr>
                  <a:spLocks/>
                </p:cNvSpPr>
                <p:nvPr/>
              </p:nvSpPr>
              <p:spPr bwMode="gray">
                <a:xfrm>
                  <a:off x="4921892" y="3909123"/>
                  <a:ext cx="25743" cy="25335"/>
                </a:xfrm>
                <a:custGeom>
                  <a:avLst/>
                  <a:gdLst>
                    <a:gd name="T0" fmla="*/ 0 w 17"/>
                    <a:gd name="T1" fmla="*/ 16 h 17"/>
                    <a:gd name="T2" fmla="*/ 0 w 17"/>
                    <a:gd name="T3" fmla="*/ 0 h 17"/>
                    <a:gd name="T4" fmla="*/ 16 w 17"/>
                    <a:gd name="T5" fmla="*/ 0 h 17"/>
                    <a:gd name="T6" fmla="*/ 16 w 17"/>
                    <a:gd name="T7" fmla="*/ 16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0" y="0"/>
                      </a:lnTo>
                      <a:lnTo>
                        <a:pt x="16" y="0"/>
                      </a:lnTo>
                      <a:lnTo>
                        <a:pt x="16" y="16"/>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55" name="Freeform 121">
                  <a:extLst>
                    <a:ext uri="{FF2B5EF4-FFF2-40B4-BE49-F238E27FC236}">
                      <a16:creationId xmlns:a16="http://schemas.microsoft.com/office/drawing/2014/main" id="{9EF3F492-9E90-30D9-5991-0821E05F985D}"/>
                    </a:ext>
                  </a:extLst>
                </p:cNvPr>
                <p:cNvSpPr>
                  <a:spLocks/>
                </p:cNvSpPr>
                <p:nvPr/>
              </p:nvSpPr>
              <p:spPr bwMode="gray">
                <a:xfrm>
                  <a:off x="5095661" y="3750778"/>
                  <a:ext cx="187928" cy="186214"/>
                </a:xfrm>
                <a:custGeom>
                  <a:avLst/>
                  <a:gdLst>
                    <a:gd name="T0" fmla="*/ 105 w 122"/>
                    <a:gd name="T1" fmla="*/ 122 h 123"/>
                    <a:gd name="T2" fmla="*/ 114 w 122"/>
                    <a:gd name="T3" fmla="*/ 105 h 123"/>
                    <a:gd name="T4" fmla="*/ 121 w 122"/>
                    <a:gd name="T5" fmla="*/ 97 h 123"/>
                    <a:gd name="T6" fmla="*/ 114 w 122"/>
                    <a:gd name="T7" fmla="*/ 56 h 123"/>
                    <a:gd name="T8" fmla="*/ 121 w 122"/>
                    <a:gd name="T9" fmla="*/ 40 h 123"/>
                    <a:gd name="T10" fmla="*/ 114 w 122"/>
                    <a:gd name="T11" fmla="*/ 25 h 123"/>
                    <a:gd name="T12" fmla="*/ 105 w 122"/>
                    <a:gd name="T13" fmla="*/ 15 h 123"/>
                    <a:gd name="T14" fmla="*/ 89 w 122"/>
                    <a:gd name="T15" fmla="*/ 15 h 123"/>
                    <a:gd name="T16" fmla="*/ 65 w 122"/>
                    <a:gd name="T17" fmla="*/ 9 h 123"/>
                    <a:gd name="T18" fmla="*/ 65 w 122"/>
                    <a:gd name="T19" fmla="*/ 15 h 123"/>
                    <a:gd name="T20" fmla="*/ 57 w 122"/>
                    <a:gd name="T21" fmla="*/ 15 h 123"/>
                    <a:gd name="T22" fmla="*/ 49 w 122"/>
                    <a:gd name="T23" fmla="*/ 0 h 123"/>
                    <a:gd name="T24" fmla="*/ 0 w 122"/>
                    <a:gd name="T25" fmla="*/ 25 h 123"/>
                    <a:gd name="T26" fmla="*/ 9 w 122"/>
                    <a:gd name="T27" fmla="*/ 80 h 123"/>
                    <a:gd name="T28" fmla="*/ 17 w 122"/>
                    <a:gd name="T29" fmla="*/ 89 h 123"/>
                    <a:gd name="T30" fmla="*/ 34 w 122"/>
                    <a:gd name="T31" fmla="*/ 97 h 123"/>
                    <a:gd name="T32" fmla="*/ 40 w 122"/>
                    <a:gd name="T33" fmla="*/ 97 h 123"/>
                    <a:gd name="T34" fmla="*/ 57 w 122"/>
                    <a:gd name="T35" fmla="*/ 114 h 123"/>
                    <a:gd name="T36" fmla="*/ 65 w 122"/>
                    <a:gd name="T37" fmla="*/ 114 h 123"/>
                    <a:gd name="T38" fmla="*/ 74 w 122"/>
                    <a:gd name="T39" fmla="*/ 122 h 123"/>
                    <a:gd name="T40" fmla="*/ 89 w 122"/>
                    <a:gd name="T41" fmla="*/ 114 h 123"/>
                    <a:gd name="T42" fmla="*/ 105 w 122"/>
                    <a:gd name="T43" fmla="*/ 12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56" name="Freeform 122">
                  <a:extLst>
                    <a:ext uri="{FF2B5EF4-FFF2-40B4-BE49-F238E27FC236}">
                      <a16:creationId xmlns:a16="http://schemas.microsoft.com/office/drawing/2014/main" id="{C9DF6E3E-291A-AE7A-1D6C-826097D71AED}"/>
                    </a:ext>
                  </a:extLst>
                </p:cNvPr>
                <p:cNvSpPr>
                  <a:spLocks/>
                </p:cNvSpPr>
                <p:nvPr/>
              </p:nvSpPr>
              <p:spPr bwMode="gray">
                <a:xfrm>
                  <a:off x="4934764" y="3750778"/>
                  <a:ext cx="176343" cy="234351"/>
                </a:xfrm>
                <a:custGeom>
                  <a:avLst/>
                  <a:gdLst>
                    <a:gd name="T0" fmla="*/ 64 w 115"/>
                    <a:gd name="T1" fmla="*/ 25 h 155"/>
                    <a:gd name="T2" fmla="*/ 97 w 115"/>
                    <a:gd name="T3" fmla="*/ 9 h 155"/>
                    <a:gd name="T4" fmla="*/ 97 w 115"/>
                    <a:gd name="T5" fmla="*/ 15 h 155"/>
                    <a:gd name="T6" fmla="*/ 89 w 115"/>
                    <a:gd name="T7" fmla="*/ 15 h 155"/>
                    <a:gd name="T8" fmla="*/ 105 w 115"/>
                    <a:gd name="T9" fmla="*/ 25 h 155"/>
                    <a:gd name="T10" fmla="*/ 114 w 115"/>
                    <a:gd name="T11" fmla="*/ 80 h 155"/>
                    <a:gd name="T12" fmla="*/ 105 w 115"/>
                    <a:gd name="T13" fmla="*/ 80 h 155"/>
                    <a:gd name="T14" fmla="*/ 89 w 115"/>
                    <a:gd name="T15" fmla="*/ 89 h 155"/>
                    <a:gd name="T16" fmla="*/ 73 w 115"/>
                    <a:gd name="T17" fmla="*/ 97 h 155"/>
                    <a:gd name="T18" fmla="*/ 82 w 115"/>
                    <a:gd name="T19" fmla="*/ 114 h 155"/>
                    <a:gd name="T20" fmla="*/ 97 w 115"/>
                    <a:gd name="T21" fmla="*/ 130 h 155"/>
                    <a:gd name="T22" fmla="*/ 89 w 115"/>
                    <a:gd name="T23" fmla="*/ 137 h 155"/>
                    <a:gd name="T24" fmla="*/ 89 w 115"/>
                    <a:gd name="T25" fmla="*/ 146 h 155"/>
                    <a:gd name="T26" fmla="*/ 57 w 115"/>
                    <a:gd name="T27" fmla="*/ 154 h 155"/>
                    <a:gd name="T28" fmla="*/ 42 w 115"/>
                    <a:gd name="T29" fmla="*/ 154 h 155"/>
                    <a:gd name="T30" fmla="*/ 17 w 115"/>
                    <a:gd name="T31" fmla="*/ 154 h 155"/>
                    <a:gd name="T32" fmla="*/ 23 w 115"/>
                    <a:gd name="T33" fmla="*/ 130 h 155"/>
                    <a:gd name="T34" fmla="*/ 0 w 115"/>
                    <a:gd name="T35" fmla="*/ 114 h 155"/>
                    <a:gd name="T36" fmla="*/ 0 w 115"/>
                    <a:gd name="T37" fmla="*/ 105 h 155"/>
                    <a:gd name="T38" fmla="*/ 0 w 115"/>
                    <a:gd name="T39" fmla="*/ 89 h 155"/>
                    <a:gd name="T40" fmla="*/ 0 w 115"/>
                    <a:gd name="T41" fmla="*/ 65 h 155"/>
                    <a:gd name="T42" fmla="*/ 8 w 115"/>
                    <a:gd name="T43" fmla="*/ 56 h 155"/>
                    <a:gd name="T44" fmla="*/ 17 w 115"/>
                    <a:gd name="T45" fmla="*/ 33 h 155"/>
                    <a:gd name="T46" fmla="*/ 32 w 115"/>
                    <a:gd name="T47" fmla="*/ 33 h 155"/>
                    <a:gd name="T48" fmla="*/ 42 w 115"/>
                    <a:gd name="T49" fmla="*/ 15 h 155"/>
                    <a:gd name="T50" fmla="*/ 32 w 115"/>
                    <a:gd name="T51" fmla="*/ 15 h 155"/>
                    <a:gd name="T52" fmla="*/ 42 w 115"/>
                    <a:gd name="T53" fmla="*/ 9 h 155"/>
                    <a:gd name="T54" fmla="*/ 32 w 115"/>
                    <a:gd name="T55" fmla="*/ 0 h 155"/>
                    <a:gd name="T56" fmla="*/ 42 w 115"/>
                    <a:gd name="T57" fmla="*/ 0 h 155"/>
                    <a:gd name="T58" fmla="*/ 48 w 115"/>
                    <a:gd name="T59" fmla="*/ 0 h 155"/>
                    <a:gd name="T60" fmla="*/ 48 w 115"/>
                    <a:gd name="T61" fmla="*/ 9 h 155"/>
                    <a:gd name="T62" fmla="*/ 64 w 115"/>
                    <a:gd name="T63" fmla="*/ 15 h 155"/>
                    <a:gd name="T64" fmla="*/ 57 w 115"/>
                    <a:gd name="T65" fmla="*/ 25 h 155"/>
                    <a:gd name="T66" fmla="*/ 64 w 115"/>
                    <a:gd name="T67"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6350" cap="rnd" cmpd="sng">
                  <a:solidFill>
                    <a:srgbClr val="D0D0D0"/>
                  </a:solidFill>
                  <a:prstDash val="solid"/>
                  <a:round/>
                  <a:headEnd/>
                  <a:tailEnd/>
                </a:ln>
                <a:effectLst/>
              </p:spPr>
              <p:txBody>
                <a:bodyPr/>
                <a:lstStyle/>
                <a:p>
                  <a:endParaRPr lang="de-DE" dirty="0"/>
                </a:p>
              </p:txBody>
            </p:sp>
            <p:sp>
              <p:nvSpPr>
                <p:cNvPr id="357" name="Freeform 123">
                  <a:extLst>
                    <a:ext uri="{FF2B5EF4-FFF2-40B4-BE49-F238E27FC236}">
                      <a16:creationId xmlns:a16="http://schemas.microsoft.com/office/drawing/2014/main" id="{E4404118-5C5C-75FA-1C9F-8F012DDA5A2F}"/>
                    </a:ext>
                  </a:extLst>
                </p:cNvPr>
                <p:cNvSpPr>
                  <a:spLocks/>
                </p:cNvSpPr>
                <p:nvPr/>
              </p:nvSpPr>
              <p:spPr bwMode="gray">
                <a:xfrm>
                  <a:off x="4999122" y="3934458"/>
                  <a:ext cx="150599" cy="74739"/>
                </a:xfrm>
                <a:custGeom>
                  <a:avLst/>
                  <a:gdLst>
                    <a:gd name="T0" fmla="*/ 0 w 98"/>
                    <a:gd name="T1" fmla="*/ 32 h 49"/>
                    <a:gd name="T2" fmla="*/ 15 w 98"/>
                    <a:gd name="T3" fmla="*/ 32 h 49"/>
                    <a:gd name="T4" fmla="*/ 47 w 98"/>
                    <a:gd name="T5" fmla="*/ 24 h 49"/>
                    <a:gd name="T6" fmla="*/ 47 w 98"/>
                    <a:gd name="T7" fmla="*/ 15 h 49"/>
                    <a:gd name="T8" fmla="*/ 55 w 98"/>
                    <a:gd name="T9" fmla="*/ 8 h 49"/>
                    <a:gd name="T10" fmla="*/ 72 w 98"/>
                    <a:gd name="T11" fmla="*/ 8 h 49"/>
                    <a:gd name="T12" fmla="*/ 72 w 98"/>
                    <a:gd name="T13" fmla="*/ 0 h 49"/>
                    <a:gd name="T14" fmla="*/ 97 w 98"/>
                    <a:gd name="T15" fmla="*/ 8 h 49"/>
                    <a:gd name="T16" fmla="*/ 97 w 98"/>
                    <a:gd name="T17" fmla="*/ 24 h 49"/>
                    <a:gd name="T18" fmla="*/ 87 w 98"/>
                    <a:gd name="T19" fmla="*/ 40 h 49"/>
                    <a:gd name="T20" fmla="*/ 55 w 98"/>
                    <a:gd name="T21" fmla="*/ 48 h 49"/>
                    <a:gd name="T22" fmla="*/ 40 w 98"/>
                    <a:gd name="T23" fmla="*/ 40 h 49"/>
                    <a:gd name="T24" fmla="*/ 15 w 98"/>
                    <a:gd name="T25" fmla="*/ 40 h 49"/>
                    <a:gd name="T26" fmla="*/ 6 w 98"/>
                    <a:gd name="T27" fmla="*/ 40 h 49"/>
                    <a:gd name="T28" fmla="*/ 0 w 98"/>
                    <a:gd name="T29"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58" name="Line 124">
                  <a:extLst>
                    <a:ext uri="{FF2B5EF4-FFF2-40B4-BE49-F238E27FC236}">
                      <a16:creationId xmlns:a16="http://schemas.microsoft.com/office/drawing/2014/main" id="{5B2E2DF8-41B1-9284-6A0F-4BB9BD671210}"/>
                    </a:ext>
                  </a:extLst>
                </p:cNvPr>
                <p:cNvSpPr>
                  <a:spLocks noChangeShapeType="1"/>
                </p:cNvSpPr>
                <p:nvPr/>
              </p:nvSpPr>
              <p:spPr bwMode="gray">
                <a:xfrm flipH="1" flipV="1">
                  <a:off x="4999122" y="3983862"/>
                  <a:ext cx="9010" cy="11401"/>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359" name="Freeform 125">
                  <a:extLst>
                    <a:ext uri="{FF2B5EF4-FFF2-40B4-BE49-F238E27FC236}">
                      <a16:creationId xmlns:a16="http://schemas.microsoft.com/office/drawing/2014/main" id="{C61DF257-F051-4898-1EB4-0B132BCA2E6A}"/>
                    </a:ext>
                  </a:extLst>
                </p:cNvPr>
                <p:cNvSpPr>
                  <a:spLocks/>
                </p:cNvSpPr>
                <p:nvPr/>
              </p:nvSpPr>
              <p:spPr bwMode="gray">
                <a:xfrm>
                  <a:off x="4999122" y="3983862"/>
                  <a:ext cx="25743" cy="25335"/>
                </a:xfrm>
                <a:custGeom>
                  <a:avLst/>
                  <a:gdLst>
                    <a:gd name="T0" fmla="*/ 16 w 17"/>
                    <a:gd name="T1" fmla="*/ 16 h 17"/>
                    <a:gd name="T2" fmla="*/ 0 w 17"/>
                    <a:gd name="T3" fmla="*/ 0 h 17"/>
                    <a:gd name="T4" fmla="*/ 16 w 17"/>
                    <a:gd name="T5" fmla="*/ 16 h 17"/>
                  </a:gdLst>
                  <a:ahLst/>
                  <a:cxnLst>
                    <a:cxn ang="0">
                      <a:pos x="T0" y="T1"/>
                    </a:cxn>
                    <a:cxn ang="0">
                      <a:pos x="T2" y="T3"/>
                    </a:cxn>
                    <a:cxn ang="0">
                      <a:pos x="T4" y="T5"/>
                    </a:cxn>
                  </a:cxnLst>
                  <a:rect l="0" t="0" r="r" b="b"/>
                  <a:pathLst>
                    <a:path w="17" h="17">
                      <a:moveTo>
                        <a:pt x="16" y="16"/>
                      </a:moveTo>
                      <a:lnTo>
                        <a:pt x="0" y="0"/>
                      </a:lnTo>
                      <a:lnTo>
                        <a:pt x="16"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60" name="Line 126">
                  <a:extLst>
                    <a:ext uri="{FF2B5EF4-FFF2-40B4-BE49-F238E27FC236}">
                      <a16:creationId xmlns:a16="http://schemas.microsoft.com/office/drawing/2014/main" id="{1A98E29E-703B-4092-65A7-F110A73C0EC0}"/>
                    </a:ext>
                  </a:extLst>
                </p:cNvPr>
                <p:cNvSpPr>
                  <a:spLocks noChangeShapeType="1"/>
                </p:cNvSpPr>
                <p:nvPr/>
              </p:nvSpPr>
              <p:spPr bwMode="gray">
                <a:xfrm flipH="1" flipV="1">
                  <a:off x="4999122" y="3983862"/>
                  <a:ext cx="9010" cy="11401"/>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361" name="Freeform 127">
                  <a:extLst>
                    <a:ext uri="{FF2B5EF4-FFF2-40B4-BE49-F238E27FC236}">
                      <a16:creationId xmlns:a16="http://schemas.microsoft.com/office/drawing/2014/main" id="{E05E4021-E9BD-0DDA-40E7-A965D0624D0E}"/>
                    </a:ext>
                  </a:extLst>
                </p:cNvPr>
                <p:cNvSpPr>
                  <a:spLocks/>
                </p:cNvSpPr>
                <p:nvPr/>
              </p:nvSpPr>
              <p:spPr bwMode="gray">
                <a:xfrm>
                  <a:off x="4999122" y="3983862"/>
                  <a:ext cx="25743" cy="25335"/>
                </a:xfrm>
                <a:custGeom>
                  <a:avLst/>
                  <a:gdLst>
                    <a:gd name="T0" fmla="*/ 16 w 17"/>
                    <a:gd name="T1" fmla="*/ 16 h 17"/>
                    <a:gd name="T2" fmla="*/ 0 w 17"/>
                    <a:gd name="T3" fmla="*/ 0 h 17"/>
                    <a:gd name="T4" fmla="*/ 16 w 17"/>
                    <a:gd name="T5" fmla="*/ 16 h 17"/>
                  </a:gdLst>
                  <a:ahLst/>
                  <a:cxnLst>
                    <a:cxn ang="0">
                      <a:pos x="T0" y="T1"/>
                    </a:cxn>
                    <a:cxn ang="0">
                      <a:pos x="T2" y="T3"/>
                    </a:cxn>
                    <a:cxn ang="0">
                      <a:pos x="T4" y="T5"/>
                    </a:cxn>
                  </a:cxnLst>
                  <a:rect l="0" t="0" r="r" b="b"/>
                  <a:pathLst>
                    <a:path w="17" h="17">
                      <a:moveTo>
                        <a:pt x="16" y="16"/>
                      </a:moveTo>
                      <a:lnTo>
                        <a:pt x="0" y="0"/>
                      </a:lnTo>
                      <a:lnTo>
                        <a:pt x="16"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62" name="Freeform 128">
                  <a:extLst>
                    <a:ext uri="{FF2B5EF4-FFF2-40B4-BE49-F238E27FC236}">
                      <a16:creationId xmlns:a16="http://schemas.microsoft.com/office/drawing/2014/main" id="{7A59B637-B840-F273-1693-561F40DA28A2}"/>
                    </a:ext>
                  </a:extLst>
                </p:cNvPr>
                <p:cNvSpPr>
                  <a:spLocks/>
                </p:cNvSpPr>
                <p:nvPr/>
              </p:nvSpPr>
              <p:spPr bwMode="gray">
                <a:xfrm>
                  <a:off x="4934764" y="3983862"/>
                  <a:ext cx="88815" cy="49404"/>
                </a:xfrm>
                <a:custGeom>
                  <a:avLst/>
                  <a:gdLst>
                    <a:gd name="T0" fmla="*/ 17 w 58"/>
                    <a:gd name="T1" fmla="*/ 32 h 33"/>
                    <a:gd name="T2" fmla="*/ 32 w 58"/>
                    <a:gd name="T3" fmla="*/ 23 h 33"/>
                    <a:gd name="T4" fmla="*/ 42 w 58"/>
                    <a:gd name="T5" fmla="*/ 23 h 33"/>
                    <a:gd name="T6" fmla="*/ 42 w 58"/>
                    <a:gd name="T7" fmla="*/ 16 h 33"/>
                    <a:gd name="T8" fmla="*/ 48 w 58"/>
                    <a:gd name="T9" fmla="*/ 23 h 33"/>
                    <a:gd name="T10" fmla="*/ 57 w 58"/>
                    <a:gd name="T11" fmla="*/ 8 h 33"/>
                    <a:gd name="T12" fmla="*/ 48 w 58"/>
                    <a:gd name="T13" fmla="*/ 8 h 33"/>
                    <a:gd name="T14" fmla="*/ 42 w 58"/>
                    <a:gd name="T15" fmla="*/ 0 h 33"/>
                    <a:gd name="T16" fmla="*/ 17 w 58"/>
                    <a:gd name="T17" fmla="*/ 0 h 33"/>
                    <a:gd name="T18" fmla="*/ 8 w 58"/>
                    <a:gd name="T19" fmla="*/ 0 h 33"/>
                    <a:gd name="T20" fmla="*/ 0 w 58"/>
                    <a:gd name="T21" fmla="*/ 16 h 33"/>
                    <a:gd name="T22" fmla="*/ 0 w 58"/>
                    <a:gd name="T23" fmla="*/ 23 h 33"/>
                    <a:gd name="T24" fmla="*/ 8 w 58"/>
                    <a:gd name="T25" fmla="*/ 16 h 33"/>
                    <a:gd name="T26" fmla="*/ 8 w 58"/>
                    <a:gd name="T27" fmla="*/ 32 h 33"/>
                    <a:gd name="T28" fmla="*/ 17 w 58"/>
                    <a:gd name="T29"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6350" cap="rnd" cmpd="sng">
                  <a:solidFill>
                    <a:srgbClr val="D0D0D0"/>
                  </a:solidFill>
                  <a:prstDash val="solid"/>
                  <a:round/>
                  <a:headEnd/>
                  <a:tailEnd/>
                </a:ln>
                <a:effectLst/>
              </p:spPr>
              <p:txBody>
                <a:bodyPr/>
                <a:lstStyle/>
                <a:p>
                  <a:endParaRPr lang="de-DE" dirty="0"/>
                </a:p>
              </p:txBody>
            </p:sp>
            <p:sp>
              <p:nvSpPr>
                <p:cNvPr id="363" name="Freeform 129">
                  <a:extLst>
                    <a:ext uri="{FF2B5EF4-FFF2-40B4-BE49-F238E27FC236}">
                      <a16:creationId xmlns:a16="http://schemas.microsoft.com/office/drawing/2014/main" id="{3BD80E47-B03E-2A1D-C708-238457B9C696}"/>
                    </a:ext>
                  </a:extLst>
                </p:cNvPr>
                <p:cNvSpPr>
                  <a:spLocks/>
                </p:cNvSpPr>
                <p:nvPr/>
              </p:nvSpPr>
              <p:spPr bwMode="gray">
                <a:xfrm>
                  <a:off x="4719806" y="3871119"/>
                  <a:ext cx="250999" cy="247018"/>
                </a:xfrm>
                <a:custGeom>
                  <a:avLst/>
                  <a:gdLst>
                    <a:gd name="T0" fmla="*/ 97 w 163"/>
                    <a:gd name="T1" fmla="*/ 0 h 163"/>
                    <a:gd name="T2" fmla="*/ 82 w 163"/>
                    <a:gd name="T3" fmla="*/ 9 h 163"/>
                    <a:gd name="T4" fmla="*/ 82 w 163"/>
                    <a:gd name="T5" fmla="*/ 25 h 163"/>
                    <a:gd name="T6" fmla="*/ 66 w 163"/>
                    <a:gd name="T7" fmla="*/ 34 h 163"/>
                    <a:gd name="T8" fmla="*/ 57 w 163"/>
                    <a:gd name="T9" fmla="*/ 42 h 163"/>
                    <a:gd name="T10" fmla="*/ 50 w 163"/>
                    <a:gd name="T11" fmla="*/ 42 h 163"/>
                    <a:gd name="T12" fmla="*/ 42 w 163"/>
                    <a:gd name="T13" fmla="*/ 34 h 163"/>
                    <a:gd name="T14" fmla="*/ 34 w 163"/>
                    <a:gd name="T15" fmla="*/ 34 h 163"/>
                    <a:gd name="T16" fmla="*/ 42 w 163"/>
                    <a:gd name="T17" fmla="*/ 50 h 163"/>
                    <a:gd name="T18" fmla="*/ 25 w 163"/>
                    <a:gd name="T19" fmla="*/ 57 h 163"/>
                    <a:gd name="T20" fmla="*/ 25 w 163"/>
                    <a:gd name="T21" fmla="*/ 50 h 163"/>
                    <a:gd name="T22" fmla="*/ 0 w 163"/>
                    <a:gd name="T23" fmla="*/ 57 h 163"/>
                    <a:gd name="T24" fmla="*/ 0 w 163"/>
                    <a:gd name="T25" fmla="*/ 66 h 163"/>
                    <a:gd name="T26" fmla="*/ 34 w 163"/>
                    <a:gd name="T27" fmla="*/ 74 h 163"/>
                    <a:gd name="T28" fmla="*/ 50 w 163"/>
                    <a:gd name="T29" fmla="*/ 97 h 163"/>
                    <a:gd name="T30" fmla="*/ 50 w 163"/>
                    <a:gd name="T31" fmla="*/ 106 h 163"/>
                    <a:gd name="T32" fmla="*/ 42 w 163"/>
                    <a:gd name="T33" fmla="*/ 147 h 163"/>
                    <a:gd name="T34" fmla="*/ 57 w 163"/>
                    <a:gd name="T35" fmla="*/ 156 h 163"/>
                    <a:gd name="T36" fmla="*/ 97 w 163"/>
                    <a:gd name="T37" fmla="*/ 162 h 163"/>
                    <a:gd name="T38" fmla="*/ 97 w 163"/>
                    <a:gd name="T39" fmla="*/ 156 h 163"/>
                    <a:gd name="T40" fmla="*/ 115 w 163"/>
                    <a:gd name="T41" fmla="*/ 147 h 163"/>
                    <a:gd name="T42" fmla="*/ 139 w 163"/>
                    <a:gd name="T43" fmla="*/ 156 h 163"/>
                    <a:gd name="T44" fmla="*/ 147 w 163"/>
                    <a:gd name="T45" fmla="*/ 156 h 163"/>
                    <a:gd name="T46" fmla="*/ 156 w 163"/>
                    <a:gd name="T47" fmla="*/ 137 h 163"/>
                    <a:gd name="T48" fmla="*/ 147 w 163"/>
                    <a:gd name="T49" fmla="*/ 122 h 163"/>
                    <a:gd name="T50" fmla="*/ 147 w 163"/>
                    <a:gd name="T51" fmla="*/ 106 h 163"/>
                    <a:gd name="T52" fmla="*/ 147 w 163"/>
                    <a:gd name="T53" fmla="*/ 90 h 163"/>
                    <a:gd name="T54" fmla="*/ 139 w 163"/>
                    <a:gd name="T55" fmla="*/ 97 h 163"/>
                    <a:gd name="T56" fmla="*/ 139 w 163"/>
                    <a:gd name="T57" fmla="*/ 90 h 163"/>
                    <a:gd name="T58" fmla="*/ 147 w 163"/>
                    <a:gd name="T59" fmla="*/ 74 h 163"/>
                    <a:gd name="T60" fmla="*/ 156 w 163"/>
                    <a:gd name="T61" fmla="*/ 74 h 163"/>
                    <a:gd name="T62" fmla="*/ 162 w 163"/>
                    <a:gd name="T63" fmla="*/ 50 h 163"/>
                    <a:gd name="T64" fmla="*/ 139 w 163"/>
                    <a:gd name="T65" fmla="*/ 34 h 163"/>
                    <a:gd name="T66" fmla="*/ 131 w 163"/>
                    <a:gd name="T67" fmla="*/ 34 h 163"/>
                    <a:gd name="T68" fmla="*/ 122 w 163"/>
                    <a:gd name="T69" fmla="*/ 34 h 163"/>
                    <a:gd name="T70" fmla="*/ 122 w 163"/>
                    <a:gd name="T71" fmla="*/ 25 h 163"/>
                    <a:gd name="T72" fmla="*/ 115 w 163"/>
                    <a:gd name="T73" fmla="*/ 25 h 163"/>
                    <a:gd name="T74" fmla="*/ 115 w 163"/>
                    <a:gd name="T75" fmla="*/ 17 h 163"/>
                    <a:gd name="T76" fmla="*/ 97 w 163"/>
                    <a:gd name="T77" fmla="*/ 9 h 163"/>
                    <a:gd name="T78" fmla="*/ 97 w 163"/>
                    <a:gd name="T7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6350" cap="rnd" cmpd="sng">
                  <a:solidFill>
                    <a:srgbClr val="D0D0D0"/>
                  </a:solidFill>
                  <a:prstDash val="solid"/>
                  <a:round/>
                  <a:headEnd/>
                  <a:tailEnd/>
                </a:ln>
                <a:effectLst/>
              </p:spPr>
              <p:txBody>
                <a:bodyPr/>
                <a:lstStyle/>
                <a:p>
                  <a:endParaRPr lang="de-DE" dirty="0"/>
                </a:p>
              </p:txBody>
            </p:sp>
            <p:sp>
              <p:nvSpPr>
                <p:cNvPr id="364" name="Freeform 130">
                  <a:extLst>
                    <a:ext uri="{FF2B5EF4-FFF2-40B4-BE49-F238E27FC236}">
                      <a16:creationId xmlns:a16="http://schemas.microsoft.com/office/drawing/2014/main" id="{60C14B7F-33D9-CBDE-146B-6614C6DAE36E}"/>
                    </a:ext>
                  </a:extLst>
                </p:cNvPr>
                <p:cNvSpPr>
                  <a:spLocks/>
                </p:cNvSpPr>
                <p:nvPr/>
              </p:nvSpPr>
              <p:spPr bwMode="gray">
                <a:xfrm>
                  <a:off x="4636140" y="4078868"/>
                  <a:ext cx="235553" cy="200148"/>
                </a:xfrm>
                <a:custGeom>
                  <a:avLst/>
                  <a:gdLst>
                    <a:gd name="T0" fmla="*/ 7 w 153"/>
                    <a:gd name="T1" fmla="*/ 34 h 132"/>
                    <a:gd name="T2" fmla="*/ 40 w 153"/>
                    <a:gd name="T3" fmla="*/ 34 h 132"/>
                    <a:gd name="T4" fmla="*/ 40 w 153"/>
                    <a:gd name="T5" fmla="*/ 42 h 132"/>
                    <a:gd name="T6" fmla="*/ 31 w 153"/>
                    <a:gd name="T7" fmla="*/ 50 h 132"/>
                    <a:gd name="T8" fmla="*/ 31 w 153"/>
                    <a:gd name="T9" fmla="*/ 66 h 132"/>
                    <a:gd name="T10" fmla="*/ 24 w 153"/>
                    <a:gd name="T11" fmla="*/ 75 h 132"/>
                    <a:gd name="T12" fmla="*/ 31 w 153"/>
                    <a:gd name="T13" fmla="*/ 99 h 132"/>
                    <a:gd name="T14" fmla="*/ 24 w 153"/>
                    <a:gd name="T15" fmla="*/ 115 h 132"/>
                    <a:gd name="T16" fmla="*/ 49 w 153"/>
                    <a:gd name="T17" fmla="*/ 131 h 132"/>
                    <a:gd name="T18" fmla="*/ 55 w 153"/>
                    <a:gd name="T19" fmla="*/ 124 h 132"/>
                    <a:gd name="T20" fmla="*/ 89 w 153"/>
                    <a:gd name="T21" fmla="*/ 124 h 132"/>
                    <a:gd name="T22" fmla="*/ 121 w 153"/>
                    <a:gd name="T23" fmla="*/ 91 h 132"/>
                    <a:gd name="T24" fmla="*/ 112 w 153"/>
                    <a:gd name="T25" fmla="*/ 75 h 132"/>
                    <a:gd name="T26" fmla="*/ 129 w 153"/>
                    <a:gd name="T27" fmla="*/ 50 h 132"/>
                    <a:gd name="T28" fmla="*/ 152 w 153"/>
                    <a:gd name="T29" fmla="*/ 34 h 132"/>
                    <a:gd name="T30" fmla="*/ 152 w 153"/>
                    <a:gd name="T31" fmla="*/ 25 h 132"/>
                    <a:gd name="T32" fmla="*/ 112 w 153"/>
                    <a:gd name="T33" fmla="*/ 19 h 132"/>
                    <a:gd name="T34" fmla="*/ 97 w 153"/>
                    <a:gd name="T35" fmla="*/ 10 h 132"/>
                    <a:gd name="T36" fmla="*/ 89 w 153"/>
                    <a:gd name="T37" fmla="*/ 10 h 132"/>
                    <a:gd name="T38" fmla="*/ 72 w 153"/>
                    <a:gd name="T39" fmla="*/ 10 h 132"/>
                    <a:gd name="T40" fmla="*/ 64 w 153"/>
                    <a:gd name="T41" fmla="*/ 10 h 132"/>
                    <a:gd name="T42" fmla="*/ 15 w 153"/>
                    <a:gd name="T43" fmla="*/ 0 h 132"/>
                    <a:gd name="T44" fmla="*/ 7 w 153"/>
                    <a:gd name="T45" fmla="*/ 10 h 132"/>
                    <a:gd name="T46" fmla="*/ 0 w 153"/>
                    <a:gd name="T47" fmla="*/ 10 h 132"/>
                    <a:gd name="T48" fmla="*/ 0 w 153"/>
                    <a:gd name="T49" fmla="*/ 19 h 132"/>
                    <a:gd name="T50" fmla="*/ 7 w 153"/>
                    <a:gd name="T51" fmla="*/ 3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65" name="Freeform 131">
                  <a:extLst>
                    <a:ext uri="{FF2B5EF4-FFF2-40B4-BE49-F238E27FC236}">
                      <a16:creationId xmlns:a16="http://schemas.microsoft.com/office/drawing/2014/main" id="{4CD71BBA-2A51-0C3D-DC01-759DCE2E88E2}"/>
                    </a:ext>
                  </a:extLst>
                </p:cNvPr>
                <p:cNvSpPr>
                  <a:spLocks/>
                </p:cNvSpPr>
                <p:nvPr/>
              </p:nvSpPr>
              <p:spPr bwMode="gray">
                <a:xfrm>
                  <a:off x="4636140" y="4130805"/>
                  <a:ext cx="63072" cy="124142"/>
                </a:xfrm>
                <a:custGeom>
                  <a:avLst/>
                  <a:gdLst>
                    <a:gd name="T0" fmla="*/ 24 w 41"/>
                    <a:gd name="T1" fmla="*/ 81 h 82"/>
                    <a:gd name="T2" fmla="*/ 31 w 41"/>
                    <a:gd name="T3" fmla="*/ 65 h 82"/>
                    <a:gd name="T4" fmla="*/ 24 w 41"/>
                    <a:gd name="T5" fmla="*/ 41 h 82"/>
                    <a:gd name="T6" fmla="*/ 31 w 41"/>
                    <a:gd name="T7" fmla="*/ 32 h 82"/>
                    <a:gd name="T8" fmla="*/ 31 w 41"/>
                    <a:gd name="T9" fmla="*/ 16 h 82"/>
                    <a:gd name="T10" fmla="*/ 40 w 41"/>
                    <a:gd name="T11" fmla="*/ 8 h 82"/>
                    <a:gd name="T12" fmla="*/ 40 w 41"/>
                    <a:gd name="T13" fmla="*/ 0 h 82"/>
                    <a:gd name="T14" fmla="*/ 7 w 41"/>
                    <a:gd name="T15" fmla="*/ 0 h 82"/>
                    <a:gd name="T16" fmla="*/ 7 w 41"/>
                    <a:gd name="T17" fmla="*/ 16 h 82"/>
                    <a:gd name="T18" fmla="*/ 0 w 41"/>
                    <a:gd name="T19" fmla="*/ 57 h 82"/>
                    <a:gd name="T20" fmla="*/ 7 w 41"/>
                    <a:gd name="T21" fmla="*/ 57 h 82"/>
                    <a:gd name="T22" fmla="*/ 0 w 41"/>
                    <a:gd name="T23" fmla="*/ 81 h 82"/>
                    <a:gd name="T24" fmla="*/ 24 w 41"/>
                    <a:gd name="T25"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6350" cap="rnd" cmpd="sng">
                  <a:solidFill>
                    <a:srgbClr val="D0D0D0"/>
                  </a:solidFill>
                  <a:prstDash val="solid"/>
                  <a:round/>
                  <a:headEnd/>
                  <a:tailEnd/>
                </a:ln>
                <a:effectLst/>
              </p:spPr>
              <p:txBody>
                <a:bodyPr/>
                <a:lstStyle/>
                <a:p>
                  <a:endParaRPr lang="de-DE" dirty="0"/>
                </a:p>
              </p:txBody>
            </p:sp>
            <p:sp>
              <p:nvSpPr>
                <p:cNvPr id="366" name="Freeform 132">
                  <a:extLst>
                    <a:ext uri="{FF2B5EF4-FFF2-40B4-BE49-F238E27FC236}">
                      <a16:creationId xmlns:a16="http://schemas.microsoft.com/office/drawing/2014/main" id="{85BB0132-3F15-6EAA-CF26-FC0065BF6D36}"/>
                    </a:ext>
                  </a:extLst>
                </p:cNvPr>
                <p:cNvSpPr>
                  <a:spLocks/>
                </p:cNvSpPr>
                <p:nvPr/>
              </p:nvSpPr>
              <p:spPr bwMode="gray">
                <a:xfrm>
                  <a:off x="4946348" y="3995262"/>
                  <a:ext cx="238127" cy="235617"/>
                </a:xfrm>
                <a:custGeom>
                  <a:avLst/>
                  <a:gdLst>
                    <a:gd name="T0" fmla="*/ 9 w 155"/>
                    <a:gd name="T1" fmla="*/ 55 h 155"/>
                    <a:gd name="T2" fmla="*/ 24 w 155"/>
                    <a:gd name="T3" fmla="*/ 49 h 155"/>
                    <a:gd name="T4" fmla="*/ 40 w 155"/>
                    <a:gd name="T5" fmla="*/ 55 h 155"/>
                    <a:gd name="T6" fmla="*/ 56 w 155"/>
                    <a:gd name="T7" fmla="*/ 80 h 155"/>
                    <a:gd name="T8" fmla="*/ 65 w 155"/>
                    <a:gd name="T9" fmla="*/ 80 h 155"/>
                    <a:gd name="T10" fmla="*/ 74 w 155"/>
                    <a:gd name="T11" fmla="*/ 97 h 155"/>
                    <a:gd name="T12" fmla="*/ 89 w 155"/>
                    <a:gd name="T13" fmla="*/ 105 h 155"/>
                    <a:gd name="T14" fmla="*/ 106 w 155"/>
                    <a:gd name="T15" fmla="*/ 121 h 155"/>
                    <a:gd name="T16" fmla="*/ 114 w 155"/>
                    <a:gd name="T17" fmla="*/ 121 h 155"/>
                    <a:gd name="T18" fmla="*/ 121 w 155"/>
                    <a:gd name="T19" fmla="*/ 146 h 155"/>
                    <a:gd name="T20" fmla="*/ 114 w 155"/>
                    <a:gd name="T21" fmla="*/ 154 h 155"/>
                    <a:gd name="T22" fmla="*/ 121 w 155"/>
                    <a:gd name="T23" fmla="*/ 154 h 155"/>
                    <a:gd name="T24" fmla="*/ 131 w 155"/>
                    <a:gd name="T25" fmla="*/ 146 h 155"/>
                    <a:gd name="T26" fmla="*/ 131 w 155"/>
                    <a:gd name="T27" fmla="*/ 137 h 155"/>
                    <a:gd name="T28" fmla="*/ 131 w 155"/>
                    <a:gd name="T29" fmla="*/ 130 h 155"/>
                    <a:gd name="T30" fmla="*/ 131 w 155"/>
                    <a:gd name="T31" fmla="*/ 114 h 155"/>
                    <a:gd name="T32" fmla="*/ 146 w 155"/>
                    <a:gd name="T33" fmla="*/ 130 h 155"/>
                    <a:gd name="T34" fmla="*/ 154 w 155"/>
                    <a:gd name="T35" fmla="*/ 121 h 155"/>
                    <a:gd name="T36" fmla="*/ 114 w 155"/>
                    <a:gd name="T37" fmla="*/ 97 h 155"/>
                    <a:gd name="T38" fmla="*/ 121 w 155"/>
                    <a:gd name="T39" fmla="*/ 89 h 155"/>
                    <a:gd name="T40" fmla="*/ 114 w 155"/>
                    <a:gd name="T41" fmla="*/ 89 h 155"/>
                    <a:gd name="T42" fmla="*/ 97 w 155"/>
                    <a:gd name="T43" fmla="*/ 80 h 155"/>
                    <a:gd name="T44" fmla="*/ 89 w 155"/>
                    <a:gd name="T45" fmla="*/ 65 h 155"/>
                    <a:gd name="T46" fmla="*/ 74 w 155"/>
                    <a:gd name="T47" fmla="*/ 49 h 155"/>
                    <a:gd name="T48" fmla="*/ 74 w 155"/>
                    <a:gd name="T49" fmla="*/ 24 h 155"/>
                    <a:gd name="T50" fmla="*/ 89 w 155"/>
                    <a:gd name="T51" fmla="*/ 24 h 155"/>
                    <a:gd name="T52" fmla="*/ 89 w 155"/>
                    <a:gd name="T53" fmla="*/ 15 h 155"/>
                    <a:gd name="T54" fmla="*/ 89 w 155"/>
                    <a:gd name="T55" fmla="*/ 8 h 155"/>
                    <a:gd name="T56" fmla="*/ 74 w 155"/>
                    <a:gd name="T57" fmla="*/ 0 h 155"/>
                    <a:gd name="T58" fmla="*/ 49 w 155"/>
                    <a:gd name="T59" fmla="*/ 0 h 155"/>
                    <a:gd name="T60" fmla="*/ 40 w 155"/>
                    <a:gd name="T61" fmla="*/ 15 h 155"/>
                    <a:gd name="T62" fmla="*/ 34 w 155"/>
                    <a:gd name="T63" fmla="*/ 8 h 155"/>
                    <a:gd name="T64" fmla="*/ 34 w 155"/>
                    <a:gd name="T65" fmla="*/ 15 h 155"/>
                    <a:gd name="T66" fmla="*/ 24 w 155"/>
                    <a:gd name="T67" fmla="*/ 15 h 155"/>
                    <a:gd name="T68" fmla="*/ 9 w 155"/>
                    <a:gd name="T69" fmla="*/ 24 h 155"/>
                    <a:gd name="T70" fmla="*/ 0 w 155"/>
                    <a:gd name="T71" fmla="*/ 24 h 155"/>
                    <a:gd name="T72" fmla="*/ 0 w 155"/>
                    <a:gd name="T73" fmla="*/ 40 h 155"/>
                    <a:gd name="T74" fmla="*/ 9 w 155"/>
                    <a:gd name="T75" fmla="*/ 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6350" cap="rnd" cmpd="sng">
                  <a:solidFill>
                    <a:srgbClr val="D0D0D0"/>
                  </a:solidFill>
                  <a:prstDash val="solid"/>
                  <a:round/>
                  <a:headEnd/>
                  <a:tailEnd/>
                </a:ln>
                <a:effectLst/>
              </p:spPr>
              <p:txBody>
                <a:bodyPr/>
                <a:lstStyle/>
                <a:p>
                  <a:endParaRPr lang="de-DE" dirty="0"/>
                </a:p>
              </p:txBody>
            </p:sp>
            <p:sp>
              <p:nvSpPr>
                <p:cNvPr id="367" name="Freeform 134">
                  <a:extLst>
                    <a:ext uri="{FF2B5EF4-FFF2-40B4-BE49-F238E27FC236}">
                      <a16:creationId xmlns:a16="http://schemas.microsoft.com/office/drawing/2014/main" id="{FFD6FE72-F1EC-2F49-0F7C-36AD77991441}"/>
                    </a:ext>
                  </a:extLst>
                </p:cNvPr>
                <p:cNvSpPr>
                  <a:spLocks/>
                </p:cNvSpPr>
                <p:nvPr/>
              </p:nvSpPr>
              <p:spPr bwMode="gray">
                <a:xfrm>
                  <a:off x="5208932" y="4142207"/>
                  <a:ext cx="124856" cy="100074"/>
                </a:xfrm>
                <a:custGeom>
                  <a:avLst/>
                  <a:gdLst>
                    <a:gd name="T0" fmla="*/ 15 w 81"/>
                    <a:gd name="T1" fmla="*/ 8 h 66"/>
                    <a:gd name="T2" fmla="*/ 40 w 81"/>
                    <a:gd name="T3" fmla="*/ 0 h 66"/>
                    <a:gd name="T4" fmla="*/ 55 w 81"/>
                    <a:gd name="T5" fmla="*/ 0 h 66"/>
                    <a:gd name="T6" fmla="*/ 72 w 81"/>
                    <a:gd name="T7" fmla="*/ 8 h 66"/>
                    <a:gd name="T8" fmla="*/ 80 w 81"/>
                    <a:gd name="T9" fmla="*/ 0 h 66"/>
                    <a:gd name="T10" fmla="*/ 72 w 81"/>
                    <a:gd name="T11" fmla="*/ 17 h 66"/>
                    <a:gd name="T12" fmla="*/ 55 w 81"/>
                    <a:gd name="T13" fmla="*/ 8 h 66"/>
                    <a:gd name="T14" fmla="*/ 47 w 81"/>
                    <a:gd name="T15" fmla="*/ 17 h 66"/>
                    <a:gd name="T16" fmla="*/ 47 w 81"/>
                    <a:gd name="T17" fmla="*/ 24 h 66"/>
                    <a:gd name="T18" fmla="*/ 40 w 81"/>
                    <a:gd name="T19" fmla="*/ 24 h 66"/>
                    <a:gd name="T20" fmla="*/ 31 w 81"/>
                    <a:gd name="T21" fmla="*/ 17 h 66"/>
                    <a:gd name="T22" fmla="*/ 31 w 81"/>
                    <a:gd name="T23" fmla="*/ 24 h 66"/>
                    <a:gd name="T24" fmla="*/ 40 w 81"/>
                    <a:gd name="T25" fmla="*/ 40 h 66"/>
                    <a:gd name="T26" fmla="*/ 55 w 81"/>
                    <a:gd name="T27" fmla="*/ 57 h 66"/>
                    <a:gd name="T28" fmla="*/ 47 w 81"/>
                    <a:gd name="T29" fmla="*/ 57 h 66"/>
                    <a:gd name="T30" fmla="*/ 47 w 81"/>
                    <a:gd name="T31" fmla="*/ 65 h 66"/>
                    <a:gd name="T32" fmla="*/ 31 w 81"/>
                    <a:gd name="T33" fmla="*/ 57 h 66"/>
                    <a:gd name="T34" fmla="*/ 15 w 81"/>
                    <a:gd name="T35" fmla="*/ 57 h 66"/>
                    <a:gd name="T36" fmla="*/ 0 w 81"/>
                    <a:gd name="T37" fmla="*/ 33 h 66"/>
                    <a:gd name="T38" fmla="*/ 15 w 81"/>
                    <a:gd name="T39" fmla="*/ 17 h 66"/>
                    <a:gd name="T40" fmla="*/ 15 w 81"/>
                    <a:gd name="T41" fmla="*/ 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68" name="Freeform 167">
                  <a:extLst>
                    <a:ext uri="{FF2B5EF4-FFF2-40B4-BE49-F238E27FC236}">
                      <a16:creationId xmlns:a16="http://schemas.microsoft.com/office/drawing/2014/main" id="{4B66A5DC-97FA-E074-5D83-C54449F0CA52}"/>
                    </a:ext>
                  </a:extLst>
                </p:cNvPr>
                <p:cNvSpPr>
                  <a:spLocks/>
                </p:cNvSpPr>
                <p:nvPr/>
              </p:nvSpPr>
              <p:spPr bwMode="gray">
                <a:xfrm>
                  <a:off x="7017410" y="2818443"/>
                  <a:ext cx="28318" cy="38002"/>
                </a:xfrm>
                <a:custGeom>
                  <a:avLst/>
                  <a:gdLst>
                    <a:gd name="T0" fmla="*/ 17 w 18"/>
                    <a:gd name="T1" fmla="*/ 24 h 25"/>
                    <a:gd name="T2" fmla="*/ 17 w 18"/>
                    <a:gd name="T3" fmla="*/ 8 h 25"/>
                    <a:gd name="T4" fmla="*/ 0 w 18"/>
                    <a:gd name="T5" fmla="*/ 0 h 25"/>
                    <a:gd name="T6" fmla="*/ 0 w 18"/>
                    <a:gd name="T7" fmla="*/ 8 h 25"/>
                    <a:gd name="T8" fmla="*/ 17 w 18"/>
                    <a:gd name="T9" fmla="*/ 24 h 25"/>
                  </a:gdLst>
                  <a:ahLst/>
                  <a:cxnLst>
                    <a:cxn ang="0">
                      <a:pos x="T0" y="T1"/>
                    </a:cxn>
                    <a:cxn ang="0">
                      <a:pos x="T2" y="T3"/>
                    </a:cxn>
                    <a:cxn ang="0">
                      <a:pos x="T4" y="T5"/>
                    </a:cxn>
                    <a:cxn ang="0">
                      <a:pos x="T6" y="T7"/>
                    </a:cxn>
                    <a:cxn ang="0">
                      <a:pos x="T8" y="T9"/>
                    </a:cxn>
                  </a:cxnLst>
                  <a:rect l="0" t="0" r="r" b="b"/>
                  <a:pathLst>
                    <a:path w="18" h="25">
                      <a:moveTo>
                        <a:pt x="17" y="24"/>
                      </a:moveTo>
                      <a:lnTo>
                        <a:pt x="17" y="8"/>
                      </a:lnTo>
                      <a:lnTo>
                        <a:pt x="0" y="0"/>
                      </a:lnTo>
                      <a:lnTo>
                        <a:pt x="0" y="8"/>
                      </a:lnTo>
                      <a:lnTo>
                        <a:pt x="17" y="24"/>
                      </a:lnTo>
                    </a:path>
                  </a:pathLst>
                </a:custGeom>
                <a:grpFill/>
                <a:ln w="6350" cap="rnd" cmpd="sng">
                  <a:solidFill>
                    <a:srgbClr val="D0D0D0"/>
                  </a:solidFill>
                  <a:prstDash val="solid"/>
                  <a:round/>
                  <a:headEnd/>
                  <a:tailEnd/>
                </a:ln>
                <a:effectLst/>
              </p:spPr>
              <p:txBody>
                <a:bodyPr/>
                <a:lstStyle/>
                <a:p>
                  <a:endParaRPr lang="de-DE" dirty="0"/>
                </a:p>
              </p:txBody>
            </p:sp>
            <p:sp>
              <p:nvSpPr>
                <p:cNvPr id="369" name="Freeform 205">
                  <a:extLst>
                    <a:ext uri="{FF2B5EF4-FFF2-40B4-BE49-F238E27FC236}">
                      <a16:creationId xmlns:a16="http://schemas.microsoft.com/office/drawing/2014/main" id="{2BB9815F-4304-819F-5356-A3E08071B967}"/>
                    </a:ext>
                  </a:extLst>
                </p:cNvPr>
                <p:cNvSpPr>
                  <a:spLocks/>
                </p:cNvSpPr>
                <p:nvPr/>
              </p:nvSpPr>
              <p:spPr bwMode="gray">
                <a:xfrm>
                  <a:off x="6767698" y="2389011"/>
                  <a:ext cx="115845" cy="148211"/>
                </a:xfrm>
                <a:custGeom>
                  <a:avLst/>
                  <a:gdLst>
                    <a:gd name="T0" fmla="*/ 0 w 75"/>
                    <a:gd name="T1" fmla="*/ 97 h 98"/>
                    <a:gd name="T2" fmla="*/ 25 w 75"/>
                    <a:gd name="T3" fmla="*/ 90 h 98"/>
                    <a:gd name="T4" fmla="*/ 49 w 75"/>
                    <a:gd name="T5" fmla="*/ 90 h 98"/>
                    <a:gd name="T6" fmla="*/ 74 w 75"/>
                    <a:gd name="T7" fmla="*/ 72 h 98"/>
                    <a:gd name="T8" fmla="*/ 74 w 75"/>
                    <a:gd name="T9" fmla="*/ 40 h 98"/>
                    <a:gd name="T10" fmla="*/ 40 w 75"/>
                    <a:gd name="T11" fmla="*/ 0 h 98"/>
                    <a:gd name="T12" fmla="*/ 25 w 75"/>
                    <a:gd name="T13" fmla="*/ 16 h 98"/>
                    <a:gd name="T14" fmla="*/ 0 w 75"/>
                    <a:gd name="T15" fmla="*/ 97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6350" cap="rnd" cmpd="sng">
                  <a:solidFill>
                    <a:srgbClr val="D0D0D0"/>
                  </a:solidFill>
                  <a:prstDash val="solid"/>
                  <a:round/>
                  <a:headEnd/>
                  <a:tailEnd/>
                </a:ln>
                <a:effectLst/>
              </p:spPr>
              <p:txBody>
                <a:bodyPr/>
                <a:lstStyle/>
                <a:p>
                  <a:endParaRPr lang="de-DE" dirty="0"/>
                </a:p>
              </p:txBody>
            </p:sp>
            <p:sp>
              <p:nvSpPr>
                <p:cNvPr id="370" name="Freeform 206">
                  <a:extLst>
                    <a:ext uri="{FF2B5EF4-FFF2-40B4-BE49-F238E27FC236}">
                      <a16:creationId xmlns:a16="http://schemas.microsoft.com/office/drawing/2014/main" id="{ACE006D6-6CA3-4D67-8F09-07BBB4F36F57}"/>
                    </a:ext>
                  </a:extLst>
                </p:cNvPr>
                <p:cNvSpPr>
                  <a:spLocks/>
                </p:cNvSpPr>
                <p:nvPr/>
              </p:nvSpPr>
              <p:spPr bwMode="gray">
                <a:xfrm>
                  <a:off x="6606802" y="2181263"/>
                  <a:ext cx="187928" cy="285021"/>
                </a:xfrm>
                <a:custGeom>
                  <a:avLst/>
                  <a:gdLst>
                    <a:gd name="T0" fmla="*/ 0 w 122"/>
                    <a:gd name="T1" fmla="*/ 97 h 188"/>
                    <a:gd name="T2" fmla="*/ 8 w 122"/>
                    <a:gd name="T3" fmla="*/ 122 h 188"/>
                    <a:gd name="T4" fmla="*/ 40 w 122"/>
                    <a:gd name="T5" fmla="*/ 137 h 188"/>
                    <a:gd name="T6" fmla="*/ 49 w 122"/>
                    <a:gd name="T7" fmla="*/ 162 h 188"/>
                    <a:gd name="T8" fmla="*/ 98 w 122"/>
                    <a:gd name="T9" fmla="*/ 187 h 188"/>
                    <a:gd name="T10" fmla="*/ 114 w 122"/>
                    <a:gd name="T11" fmla="*/ 177 h 188"/>
                    <a:gd name="T12" fmla="*/ 114 w 122"/>
                    <a:gd name="T13" fmla="*/ 153 h 188"/>
                    <a:gd name="T14" fmla="*/ 121 w 122"/>
                    <a:gd name="T15" fmla="*/ 122 h 188"/>
                    <a:gd name="T16" fmla="*/ 105 w 122"/>
                    <a:gd name="T17" fmla="*/ 97 h 188"/>
                    <a:gd name="T18" fmla="*/ 80 w 122"/>
                    <a:gd name="T19" fmla="*/ 88 h 188"/>
                    <a:gd name="T20" fmla="*/ 80 w 122"/>
                    <a:gd name="T21" fmla="*/ 65 h 188"/>
                    <a:gd name="T22" fmla="*/ 80 w 122"/>
                    <a:gd name="T23" fmla="*/ 40 h 188"/>
                    <a:gd name="T24" fmla="*/ 56 w 122"/>
                    <a:gd name="T25" fmla="*/ 0 h 188"/>
                    <a:gd name="T26" fmla="*/ 33 w 122"/>
                    <a:gd name="T27" fmla="*/ 32 h 188"/>
                    <a:gd name="T28" fmla="*/ 25 w 122"/>
                    <a:gd name="T29" fmla="*/ 65 h 188"/>
                    <a:gd name="T30" fmla="*/ 0 w 122"/>
                    <a:gd name="T31" fmla="*/ 9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71" name="Freeform 207">
                  <a:extLst>
                    <a:ext uri="{FF2B5EF4-FFF2-40B4-BE49-F238E27FC236}">
                      <a16:creationId xmlns:a16="http://schemas.microsoft.com/office/drawing/2014/main" id="{13D25099-DE8B-6E1A-7DCE-9F6F6D5F6F0C}"/>
                    </a:ext>
                  </a:extLst>
                </p:cNvPr>
                <p:cNvSpPr>
                  <a:spLocks/>
                </p:cNvSpPr>
                <p:nvPr/>
              </p:nvSpPr>
              <p:spPr bwMode="gray">
                <a:xfrm>
                  <a:off x="5920739" y="2158461"/>
                  <a:ext cx="175056" cy="158345"/>
                </a:xfrm>
                <a:custGeom>
                  <a:avLst/>
                  <a:gdLst>
                    <a:gd name="T0" fmla="*/ 0 w 114"/>
                    <a:gd name="T1" fmla="*/ 103 h 104"/>
                    <a:gd name="T2" fmla="*/ 25 w 114"/>
                    <a:gd name="T3" fmla="*/ 103 h 104"/>
                    <a:gd name="T4" fmla="*/ 41 w 114"/>
                    <a:gd name="T5" fmla="*/ 80 h 104"/>
                    <a:gd name="T6" fmla="*/ 73 w 114"/>
                    <a:gd name="T7" fmla="*/ 87 h 104"/>
                    <a:gd name="T8" fmla="*/ 81 w 114"/>
                    <a:gd name="T9" fmla="*/ 80 h 104"/>
                    <a:gd name="T10" fmla="*/ 81 w 114"/>
                    <a:gd name="T11" fmla="*/ 47 h 104"/>
                    <a:gd name="T12" fmla="*/ 97 w 114"/>
                    <a:gd name="T13" fmla="*/ 47 h 104"/>
                    <a:gd name="T14" fmla="*/ 113 w 114"/>
                    <a:gd name="T15" fmla="*/ 40 h 104"/>
                    <a:gd name="T16" fmla="*/ 106 w 114"/>
                    <a:gd name="T17" fmla="*/ 0 h 104"/>
                    <a:gd name="T18" fmla="*/ 88 w 114"/>
                    <a:gd name="T19" fmla="*/ 22 h 104"/>
                    <a:gd name="T20" fmla="*/ 81 w 114"/>
                    <a:gd name="T21" fmla="*/ 47 h 104"/>
                    <a:gd name="T22" fmla="*/ 48 w 114"/>
                    <a:gd name="T23" fmla="*/ 55 h 104"/>
                    <a:gd name="T24" fmla="*/ 41 w 114"/>
                    <a:gd name="T25" fmla="*/ 80 h 104"/>
                    <a:gd name="T26" fmla="*/ 16 w 114"/>
                    <a:gd name="T27" fmla="*/ 80 h 104"/>
                    <a:gd name="T28" fmla="*/ 0 w 114"/>
                    <a:gd name="T29"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6350" cap="rnd" cmpd="sng">
                  <a:solidFill>
                    <a:srgbClr val="D0D0D0"/>
                  </a:solidFill>
                  <a:prstDash val="solid"/>
                  <a:round/>
                  <a:headEnd/>
                  <a:tailEnd/>
                </a:ln>
                <a:effectLst/>
              </p:spPr>
              <p:txBody>
                <a:bodyPr/>
                <a:lstStyle/>
                <a:p>
                  <a:endParaRPr lang="de-DE" dirty="0"/>
                </a:p>
              </p:txBody>
            </p:sp>
            <p:sp>
              <p:nvSpPr>
                <p:cNvPr id="372" name="Freeform 208">
                  <a:extLst>
                    <a:ext uri="{FF2B5EF4-FFF2-40B4-BE49-F238E27FC236}">
                      <a16:creationId xmlns:a16="http://schemas.microsoft.com/office/drawing/2014/main" id="{27DA5D6A-B5B9-AC75-3F31-6A07AD809444}"/>
                    </a:ext>
                  </a:extLst>
                </p:cNvPr>
                <p:cNvSpPr>
                  <a:spLocks/>
                </p:cNvSpPr>
                <p:nvPr/>
              </p:nvSpPr>
              <p:spPr bwMode="gray">
                <a:xfrm>
                  <a:off x="5883411" y="2120458"/>
                  <a:ext cx="87528" cy="135544"/>
                </a:xfrm>
                <a:custGeom>
                  <a:avLst/>
                  <a:gdLst>
                    <a:gd name="T0" fmla="*/ 0 w 57"/>
                    <a:gd name="T1" fmla="*/ 80 h 89"/>
                    <a:gd name="T2" fmla="*/ 24 w 57"/>
                    <a:gd name="T3" fmla="*/ 88 h 89"/>
                    <a:gd name="T4" fmla="*/ 56 w 57"/>
                    <a:gd name="T5" fmla="*/ 80 h 89"/>
                    <a:gd name="T6" fmla="*/ 49 w 57"/>
                    <a:gd name="T7" fmla="*/ 65 h 89"/>
                    <a:gd name="T8" fmla="*/ 56 w 57"/>
                    <a:gd name="T9" fmla="*/ 31 h 89"/>
                    <a:gd name="T10" fmla="*/ 56 w 57"/>
                    <a:gd name="T11" fmla="*/ 0 h 89"/>
                    <a:gd name="T12" fmla="*/ 32 w 57"/>
                    <a:gd name="T13" fmla="*/ 25 h 89"/>
                    <a:gd name="T14" fmla="*/ 32 w 57"/>
                    <a:gd name="T15" fmla="*/ 56 h 89"/>
                    <a:gd name="T16" fmla="*/ 7 w 57"/>
                    <a:gd name="T17" fmla="*/ 56 h 89"/>
                    <a:gd name="T18" fmla="*/ 0 w 57"/>
                    <a:gd name="T19" fmla="*/ 8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6350" cap="rnd" cmpd="sng">
                  <a:solidFill>
                    <a:srgbClr val="D0D0D0"/>
                  </a:solidFill>
                  <a:prstDash val="solid"/>
                  <a:round/>
                  <a:headEnd/>
                  <a:tailEnd/>
                </a:ln>
                <a:effectLst/>
              </p:spPr>
              <p:txBody>
                <a:bodyPr/>
                <a:lstStyle/>
                <a:p>
                  <a:endParaRPr lang="de-DE" dirty="0"/>
                </a:p>
              </p:txBody>
            </p:sp>
            <p:sp>
              <p:nvSpPr>
                <p:cNvPr id="373" name="Freeform 209">
                  <a:extLst>
                    <a:ext uri="{FF2B5EF4-FFF2-40B4-BE49-F238E27FC236}">
                      <a16:creationId xmlns:a16="http://schemas.microsoft.com/office/drawing/2014/main" id="{B64571C3-CA74-EC4C-5D06-03B94AF9EAA9}"/>
                    </a:ext>
                  </a:extLst>
                </p:cNvPr>
                <p:cNvSpPr>
                  <a:spLocks/>
                </p:cNvSpPr>
                <p:nvPr/>
              </p:nvSpPr>
              <p:spPr bwMode="gray">
                <a:xfrm>
                  <a:off x="5858954" y="2280069"/>
                  <a:ext cx="37328" cy="25335"/>
                </a:xfrm>
                <a:custGeom>
                  <a:avLst/>
                  <a:gdLst>
                    <a:gd name="T0" fmla="*/ 0 w 24"/>
                    <a:gd name="T1" fmla="*/ 16 h 17"/>
                    <a:gd name="T2" fmla="*/ 23 w 24"/>
                    <a:gd name="T3" fmla="*/ 16 h 17"/>
                    <a:gd name="T4" fmla="*/ 16 w 24"/>
                    <a:gd name="T5" fmla="*/ 0 h 17"/>
                    <a:gd name="T6" fmla="*/ 0 w 24"/>
                    <a:gd name="T7" fmla="*/ 16 h 17"/>
                  </a:gdLst>
                  <a:ahLst/>
                  <a:cxnLst>
                    <a:cxn ang="0">
                      <a:pos x="T0" y="T1"/>
                    </a:cxn>
                    <a:cxn ang="0">
                      <a:pos x="T2" y="T3"/>
                    </a:cxn>
                    <a:cxn ang="0">
                      <a:pos x="T4" y="T5"/>
                    </a:cxn>
                    <a:cxn ang="0">
                      <a:pos x="T6" y="T7"/>
                    </a:cxn>
                  </a:cxnLst>
                  <a:rect l="0" t="0" r="r" b="b"/>
                  <a:pathLst>
                    <a:path w="24" h="17">
                      <a:moveTo>
                        <a:pt x="0" y="16"/>
                      </a:moveTo>
                      <a:lnTo>
                        <a:pt x="23" y="16"/>
                      </a:lnTo>
                      <a:lnTo>
                        <a:pt x="16"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374" name="Freeform 210">
                  <a:extLst>
                    <a:ext uri="{FF2B5EF4-FFF2-40B4-BE49-F238E27FC236}">
                      <a16:creationId xmlns:a16="http://schemas.microsoft.com/office/drawing/2014/main" id="{1D56EA12-712F-6BE7-FFA0-7AA43D4F216F}"/>
                    </a:ext>
                  </a:extLst>
                </p:cNvPr>
                <p:cNvSpPr>
                  <a:spLocks/>
                </p:cNvSpPr>
                <p:nvPr/>
              </p:nvSpPr>
              <p:spPr bwMode="gray">
                <a:xfrm>
                  <a:off x="5695483" y="2229400"/>
                  <a:ext cx="127430" cy="100074"/>
                </a:xfrm>
                <a:custGeom>
                  <a:avLst/>
                  <a:gdLst>
                    <a:gd name="T0" fmla="*/ 0 w 83"/>
                    <a:gd name="T1" fmla="*/ 24 h 66"/>
                    <a:gd name="T2" fmla="*/ 16 w 83"/>
                    <a:gd name="T3" fmla="*/ 33 h 66"/>
                    <a:gd name="T4" fmla="*/ 32 w 83"/>
                    <a:gd name="T5" fmla="*/ 33 h 66"/>
                    <a:gd name="T6" fmla="*/ 32 w 83"/>
                    <a:gd name="T7" fmla="*/ 56 h 66"/>
                    <a:gd name="T8" fmla="*/ 48 w 83"/>
                    <a:gd name="T9" fmla="*/ 65 h 66"/>
                    <a:gd name="T10" fmla="*/ 65 w 83"/>
                    <a:gd name="T11" fmla="*/ 56 h 66"/>
                    <a:gd name="T12" fmla="*/ 65 w 83"/>
                    <a:gd name="T13" fmla="*/ 40 h 66"/>
                    <a:gd name="T14" fmla="*/ 82 w 83"/>
                    <a:gd name="T15" fmla="*/ 16 h 66"/>
                    <a:gd name="T16" fmla="*/ 72 w 83"/>
                    <a:gd name="T17" fmla="*/ 8 h 66"/>
                    <a:gd name="T18" fmla="*/ 40 w 83"/>
                    <a:gd name="T19" fmla="*/ 24 h 66"/>
                    <a:gd name="T20" fmla="*/ 40 w 83"/>
                    <a:gd name="T21" fmla="*/ 8 h 66"/>
                    <a:gd name="T22" fmla="*/ 32 w 83"/>
                    <a:gd name="T23" fmla="*/ 0 h 66"/>
                    <a:gd name="T24" fmla="*/ 0 w 83"/>
                    <a:gd name="T25"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6350" cap="rnd" cmpd="sng">
                  <a:solidFill>
                    <a:srgbClr val="D0D0D0"/>
                  </a:solidFill>
                  <a:prstDash val="solid"/>
                  <a:round/>
                  <a:headEnd/>
                  <a:tailEnd/>
                </a:ln>
                <a:effectLst/>
              </p:spPr>
              <p:txBody>
                <a:bodyPr/>
                <a:lstStyle/>
                <a:p>
                  <a:endParaRPr lang="de-DE" dirty="0"/>
                </a:p>
              </p:txBody>
            </p:sp>
            <p:sp>
              <p:nvSpPr>
                <p:cNvPr id="375" name="Freeform 211">
                  <a:extLst>
                    <a:ext uri="{FF2B5EF4-FFF2-40B4-BE49-F238E27FC236}">
                      <a16:creationId xmlns:a16="http://schemas.microsoft.com/office/drawing/2014/main" id="{94FF365E-4FFD-D8D5-ADD2-A4FC8CFE054E}"/>
                    </a:ext>
                  </a:extLst>
                </p:cNvPr>
                <p:cNvSpPr>
                  <a:spLocks/>
                </p:cNvSpPr>
                <p:nvPr/>
              </p:nvSpPr>
              <p:spPr bwMode="gray">
                <a:xfrm>
                  <a:off x="5032589" y="2280069"/>
                  <a:ext cx="315358" cy="393962"/>
                </a:xfrm>
                <a:custGeom>
                  <a:avLst/>
                  <a:gdLst>
                    <a:gd name="T0" fmla="*/ 0 w 205"/>
                    <a:gd name="T1" fmla="*/ 57 h 260"/>
                    <a:gd name="T2" fmla="*/ 9 w 205"/>
                    <a:gd name="T3" fmla="*/ 122 h 260"/>
                    <a:gd name="T4" fmla="*/ 25 w 205"/>
                    <a:gd name="T5" fmla="*/ 153 h 260"/>
                    <a:gd name="T6" fmla="*/ 50 w 205"/>
                    <a:gd name="T7" fmla="*/ 153 h 260"/>
                    <a:gd name="T8" fmla="*/ 33 w 205"/>
                    <a:gd name="T9" fmla="*/ 169 h 260"/>
                    <a:gd name="T10" fmla="*/ 41 w 205"/>
                    <a:gd name="T11" fmla="*/ 202 h 260"/>
                    <a:gd name="T12" fmla="*/ 75 w 205"/>
                    <a:gd name="T13" fmla="*/ 259 h 260"/>
                    <a:gd name="T14" fmla="*/ 106 w 205"/>
                    <a:gd name="T15" fmla="*/ 144 h 260"/>
                    <a:gd name="T16" fmla="*/ 115 w 205"/>
                    <a:gd name="T17" fmla="*/ 128 h 260"/>
                    <a:gd name="T18" fmla="*/ 121 w 205"/>
                    <a:gd name="T19" fmla="*/ 153 h 260"/>
                    <a:gd name="T20" fmla="*/ 139 w 205"/>
                    <a:gd name="T21" fmla="*/ 169 h 260"/>
                    <a:gd name="T22" fmla="*/ 121 w 205"/>
                    <a:gd name="T23" fmla="*/ 202 h 260"/>
                    <a:gd name="T24" fmla="*/ 146 w 205"/>
                    <a:gd name="T25" fmla="*/ 209 h 260"/>
                    <a:gd name="T26" fmla="*/ 180 w 205"/>
                    <a:gd name="T27" fmla="*/ 186 h 260"/>
                    <a:gd name="T28" fmla="*/ 155 w 205"/>
                    <a:gd name="T29" fmla="*/ 162 h 260"/>
                    <a:gd name="T30" fmla="*/ 130 w 205"/>
                    <a:gd name="T31" fmla="*/ 112 h 260"/>
                    <a:gd name="T32" fmla="*/ 106 w 205"/>
                    <a:gd name="T33" fmla="*/ 97 h 260"/>
                    <a:gd name="T34" fmla="*/ 98 w 205"/>
                    <a:gd name="T35" fmla="*/ 57 h 260"/>
                    <a:gd name="T36" fmla="*/ 130 w 205"/>
                    <a:gd name="T37" fmla="*/ 81 h 260"/>
                    <a:gd name="T38" fmla="*/ 162 w 205"/>
                    <a:gd name="T39" fmla="*/ 97 h 260"/>
                    <a:gd name="T40" fmla="*/ 187 w 205"/>
                    <a:gd name="T41" fmla="*/ 72 h 260"/>
                    <a:gd name="T42" fmla="*/ 204 w 205"/>
                    <a:gd name="T43" fmla="*/ 40 h 260"/>
                    <a:gd name="T44" fmla="*/ 204 w 205"/>
                    <a:gd name="T45" fmla="*/ 23 h 260"/>
                    <a:gd name="T46" fmla="*/ 155 w 205"/>
                    <a:gd name="T47" fmla="*/ 0 h 260"/>
                    <a:gd name="T48" fmla="*/ 130 w 205"/>
                    <a:gd name="T49" fmla="*/ 23 h 260"/>
                    <a:gd name="T50" fmla="*/ 115 w 205"/>
                    <a:gd name="T51" fmla="*/ 0 h 260"/>
                    <a:gd name="T52" fmla="*/ 90 w 205"/>
                    <a:gd name="T53" fmla="*/ 15 h 260"/>
                    <a:gd name="T54" fmla="*/ 90 w 205"/>
                    <a:gd name="T55" fmla="*/ 40 h 260"/>
                    <a:gd name="T56" fmla="*/ 65 w 205"/>
                    <a:gd name="T57" fmla="*/ 32 h 260"/>
                    <a:gd name="T58" fmla="*/ 58 w 205"/>
                    <a:gd name="T59" fmla="*/ 57 h 260"/>
                    <a:gd name="T60" fmla="*/ 33 w 205"/>
                    <a:gd name="T61" fmla="*/ 48 h 260"/>
                    <a:gd name="T62" fmla="*/ 0 w 205"/>
                    <a:gd name="T63" fmla="*/ 5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76" name="Freeform 227">
                  <a:extLst>
                    <a:ext uri="{FF2B5EF4-FFF2-40B4-BE49-F238E27FC236}">
                      <a16:creationId xmlns:a16="http://schemas.microsoft.com/office/drawing/2014/main" id="{1D2233FA-A163-F26F-E430-7094BE5C2147}"/>
                    </a:ext>
                  </a:extLst>
                </p:cNvPr>
                <p:cNvSpPr>
                  <a:spLocks/>
                </p:cNvSpPr>
                <p:nvPr/>
              </p:nvSpPr>
              <p:spPr bwMode="gray">
                <a:xfrm>
                  <a:off x="8528552" y="3418887"/>
                  <a:ext cx="39902" cy="26602"/>
                </a:xfrm>
                <a:custGeom>
                  <a:avLst/>
                  <a:gdLst>
                    <a:gd name="T0" fmla="*/ 0 w 26"/>
                    <a:gd name="T1" fmla="*/ 0 h 18"/>
                    <a:gd name="T2" fmla="*/ 9 w 26"/>
                    <a:gd name="T3" fmla="*/ 0 h 18"/>
                    <a:gd name="T4" fmla="*/ 25 w 26"/>
                    <a:gd name="T5" fmla="*/ 8 h 18"/>
                    <a:gd name="T6" fmla="*/ 25 w 26"/>
                    <a:gd name="T7" fmla="*/ 17 h 18"/>
                    <a:gd name="T8" fmla="*/ 9 w 26"/>
                    <a:gd name="T9" fmla="*/ 8 h 18"/>
                    <a:gd name="T10" fmla="*/ 0 w 26"/>
                    <a:gd name="T11" fmla="*/ 8 h 18"/>
                    <a:gd name="T12" fmla="*/ 0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0" y="0"/>
                      </a:moveTo>
                      <a:lnTo>
                        <a:pt x="9" y="0"/>
                      </a:lnTo>
                      <a:lnTo>
                        <a:pt x="25" y="8"/>
                      </a:lnTo>
                      <a:lnTo>
                        <a:pt x="25" y="17"/>
                      </a:lnTo>
                      <a:lnTo>
                        <a:pt x="9" y="8"/>
                      </a:lnTo>
                      <a:lnTo>
                        <a:pt x="0" y="8"/>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377" name="Freeform 236">
                  <a:extLst>
                    <a:ext uri="{FF2B5EF4-FFF2-40B4-BE49-F238E27FC236}">
                      <a16:creationId xmlns:a16="http://schemas.microsoft.com/office/drawing/2014/main" id="{10DF41A6-3B58-59A9-D492-B856739607ED}"/>
                    </a:ext>
                  </a:extLst>
                </p:cNvPr>
                <p:cNvSpPr>
                  <a:spLocks/>
                </p:cNvSpPr>
                <p:nvPr/>
              </p:nvSpPr>
              <p:spPr bwMode="gray">
                <a:xfrm>
                  <a:off x="4333654" y="3283343"/>
                  <a:ext cx="212384" cy="149477"/>
                </a:xfrm>
                <a:custGeom>
                  <a:avLst/>
                  <a:gdLst>
                    <a:gd name="T0" fmla="*/ 0 w 138"/>
                    <a:gd name="T1" fmla="*/ 32 h 98"/>
                    <a:gd name="T2" fmla="*/ 9 w 138"/>
                    <a:gd name="T3" fmla="*/ 41 h 98"/>
                    <a:gd name="T4" fmla="*/ 25 w 138"/>
                    <a:gd name="T5" fmla="*/ 32 h 98"/>
                    <a:gd name="T6" fmla="*/ 34 w 138"/>
                    <a:gd name="T7" fmla="*/ 41 h 98"/>
                    <a:gd name="T8" fmla="*/ 9 w 138"/>
                    <a:gd name="T9" fmla="*/ 56 h 98"/>
                    <a:gd name="T10" fmla="*/ 25 w 138"/>
                    <a:gd name="T11" fmla="*/ 56 h 98"/>
                    <a:gd name="T12" fmla="*/ 34 w 138"/>
                    <a:gd name="T13" fmla="*/ 74 h 98"/>
                    <a:gd name="T14" fmla="*/ 25 w 138"/>
                    <a:gd name="T15" fmla="*/ 81 h 98"/>
                    <a:gd name="T16" fmla="*/ 41 w 138"/>
                    <a:gd name="T17" fmla="*/ 81 h 98"/>
                    <a:gd name="T18" fmla="*/ 74 w 138"/>
                    <a:gd name="T19" fmla="*/ 97 h 98"/>
                    <a:gd name="T20" fmla="*/ 131 w 138"/>
                    <a:gd name="T21" fmla="*/ 65 h 98"/>
                    <a:gd name="T22" fmla="*/ 137 w 138"/>
                    <a:gd name="T23" fmla="*/ 56 h 98"/>
                    <a:gd name="T24" fmla="*/ 137 w 138"/>
                    <a:gd name="T25" fmla="*/ 32 h 98"/>
                    <a:gd name="T26" fmla="*/ 121 w 138"/>
                    <a:gd name="T27" fmla="*/ 24 h 98"/>
                    <a:gd name="T28" fmla="*/ 121 w 138"/>
                    <a:gd name="T29" fmla="*/ 9 h 98"/>
                    <a:gd name="T30" fmla="*/ 114 w 138"/>
                    <a:gd name="T31" fmla="*/ 9 h 98"/>
                    <a:gd name="T32" fmla="*/ 106 w 138"/>
                    <a:gd name="T33" fmla="*/ 0 h 98"/>
                    <a:gd name="T34" fmla="*/ 89 w 138"/>
                    <a:gd name="T35" fmla="*/ 16 h 98"/>
                    <a:gd name="T36" fmla="*/ 81 w 138"/>
                    <a:gd name="T37" fmla="*/ 16 h 98"/>
                    <a:gd name="T38" fmla="*/ 65 w 138"/>
                    <a:gd name="T39" fmla="*/ 16 h 98"/>
                    <a:gd name="T40" fmla="*/ 57 w 138"/>
                    <a:gd name="T41" fmla="*/ 24 h 98"/>
                    <a:gd name="T42" fmla="*/ 57 w 138"/>
                    <a:gd name="T43" fmla="*/ 16 h 98"/>
                    <a:gd name="T44" fmla="*/ 49 w 138"/>
                    <a:gd name="T45" fmla="*/ 32 h 98"/>
                    <a:gd name="T46" fmla="*/ 41 w 138"/>
                    <a:gd name="T47" fmla="*/ 41 h 98"/>
                    <a:gd name="T48" fmla="*/ 41 w 138"/>
                    <a:gd name="T49" fmla="*/ 16 h 98"/>
                    <a:gd name="T50" fmla="*/ 25 w 138"/>
                    <a:gd name="T51" fmla="*/ 9 h 98"/>
                    <a:gd name="T52" fmla="*/ 16 w 138"/>
                    <a:gd name="T53" fmla="*/ 9 h 98"/>
                    <a:gd name="T54" fmla="*/ 16 w 138"/>
                    <a:gd name="T55" fmla="*/ 16 h 98"/>
                    <a:gd name="T56" fmla="*/ 9 w 138"/>
                    <a:gd name="T57" fmla="*/ 16 h 98"/>
                    <a:gd name="T58" fmla="*/ 9 w 138"/>
                    <a:gd name="T59" fmla="*/ 24 h 98"/>
                    <a:gd name="T60" fmla="*/ 0 w 138"/>
                    <a:gd name="T6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78" name="Freeform 256">
                  <a:extLst>
                    <a:ext uri="{FF2B5EF4-FFF2-40B4-BE49-F238E27FC236}">
                      <a16:creationId xmlns:a16="http://schemas.microsoft.com/office/drawing/2014/main" id="{27168D1C-DDD6-5246-D314-293FDA1F86A7}"/>
                    </a:ext>
                  </a:extLst>
                </p:cNvPr>
                <p:cNvSpPr>
                  <a:spLocks/>
                </p:cNvSpPr>
                <p:nvPr/>
              </p:nvSpPr>
              <p:spPr bwMode="gray">
                <a:xfrm>
                  <a:off x="8329040" y="3014791"/>
                  <a:ext cx="90102" cy="49404"/>
                </a:xfrm>
                <a:custGeom>
                  <a:avLst/>
                  <a:gdLst>
                    <a:gd name="T0" fmla="*/ 18 w 59"/>
                    <a:gd name="T1" fmla="*/ 25 h 33"/>
                    <a:gd name="T2" fmla="*/ 33 w 59"/>
                    <a:gd name="T3" fmla="*/ 25 h 33"/>
                    <a:gd name="T4" fmla="*/ 58 w 59"/>
                    <a:gd name="T5" fmla="*/ 16 h 33"/>
                    <a:gd name="T6" fmla="*/ 42 w 59"/>
                    <a:gd name="T7" fmla="*/ 0 h 33"/>
                    <a:gd name="T8" fmla="*/ 18 w 59"/>
                    <a:gd name="T9" fmla="*/ 0 h 33"/>
                    <a:gd name="T10" fmla="*/ 0 w 59"/>
                    <a:gd name="T11" fmla="*/ 16 h 33"/>
                    <a:gd name="T12" fmla="*/ 8 w 59"/>
                    <a:gd name="T13" fmla="*/ 32 h 33"/>
                    <a:gd name="T14" fmla="*/ 18 w 59"/>
                    <a:gd name="T15" fmla="*/ 25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6350" cap="rnd" cmpd="sng">
                  <a:solidFill>
                    <a:srgbClr val="D0D0D0"/>
                  </a:solidFill>
                  <a:prstDash val="solid"/>
                  <a:round/>
                  <a:headEnd/>
                  <a:tailEnd/>
                </a:ln>
                <a:effectLst/>
              </p:spPr>
              <p:txBody>
                <a:bodyPr/>
                <a:lstStyle/>
                <a:p>
                  <a:endParaRPr lang="de-DE" dirty="0"/>
                </a:p>
              </p:txBody>
            </p:sp>
            <p:sp>
              <p:nvSpPr>
                <p:cNvPr id="379" name="Freeform 257">
                  <a:extLst>
                    <a:ext uri="{FF2B5EF4-FFF2-40B4-BE49-F238E27FC236}">
                      <a16:creationId xmlns:a16="http://schemas.microsoft.com/office/drawing/2014/main" id="{4F747766-FE25-4A24-89BC-89C95D1DC1D1}"/>
                    </a:ext>
                  </a:extLst>
                </p:cNvPr>
                <p:cNvSpPr>
                  <a:spLocks/>
                </p:cNvSpPr>
                <p:nvPr/>
              </p:nvSpPr>
              <p:spPr bwMode="gray">
                <a:xfrm>
                  <a:off x="7581192" y="2865313"/>
                  <a:ext cx="64359" cy="53203"/>
                </a:xfrm>
                <a:custGeom>
                  <a:avLst/>
                  <a:gdLst>
                    <a:gd name="T0" fmla="*/ 0 w 42"/>
                    <a:gd name="T1" fmla="*/ 17 h 35"/>
                    <a:gd name="T2" fmla="*/ 16 w 42"/>
                    <a:gd name="T3" fmla="*/ 24 h 35"/>
                    <a:gd name="T4" fmla="*/ 41 w 42"/>
                    <a:gd name="T5" fmla="*/ 34 h 35"/>
                    <a:gd name="T6" fmla="*/ 41 w 42"/>
                    <a:gd name="T7" fmla="*/ 17 h 35"/>
                    <a:gd name="T8" fmla="*/ 24 w 42"/>
                    <a:gd name="T9" fmla="*/ 0 h 35"/>
                    <a:gd name="T10" fmla="*/ 9 w 42"/>
                    <a:gd name="T11" fmla="*/ 0 h 35"/>
                    <a:gd name="T12" fmla="*/ 0 w 42"/>
                    <a:gd name="T13" fmla="*/ 17 h 35"/>
                  </a:gdLst>
                  <a:ahLst/>
                  <a:cxnLst>
                    <a:cxn ang="0">
                      <a:pos x="T0" y="T1"/>
                    </a:cxn>
                    <a:cxn ang="0">
                      <a:pos x="T2" y="T3"/>
                    </a:cxn>
                    <a:cxn ang="0">
                      <a:pos x="T4" y="T5"/>
                    </a:cxn>
                    <a:cxn ang="0">
                      <a:pos x="T6" y="T7"/>
                    </a:cxn>
                    <a:cxn ang="0">
                      <a:pos x="T8" y="T9"/>
                    </a:cxn>
                    <a:cxn ang="0">
                      <a:pos x="T10" y="T11"/>
                    </a:cxn>
                    <a:cxn ang="0">
                      <a:pos x="T12" y="T13"/>
                    </a:cxn>
                  </a:cxnLst>
                  <a:rect l="0" t="0" r="r" b="b"/>
                  <a:pathLst>
                    <a:path w="42" h="35">
                      <a:moveTo>
                        <a:pt x="0" y="17"/>
                      </a:moveTo>
                      <a:lnTo>
                        <a:pt x="16" y="24"/>
                      </a:lnTo>
                      <a:lnTo>
                        <a:pt x="41" y="34"/>
                      </a:lnTo>
                      <a:lnTo>
                        <a:pt x="41" y="17"/>
                      </a:lnTo>
                      <a:lnTo>
                        <a:pt x="24" y="0"/>
                      </a:lnTo>
                      <a:lnTo>
                        <a:pt x="9" y="0"/>
                      </a:lnTo>
                      <a:lnTo>
                        <a:pt x="0" y="17"/>
                      </a:lnTo>
                    </a:path>
                  </a:pathLst>
                </a:custGeom>
                <a:grpFill/>
                <a:ln w="6350" cap="rnd" cmpd="sng">
                  <a:solidFill>
                    <a:srgbClr val="D0D0D0"/>
                  </a:solidFill>
                  <a:prstDash val="solid"/>
                  <a:round/>
                  <a:headEnd/>
                  <a:tailEnd/>
                </a:ln>
                <a:effectLst/>
              </p:spPr>
              <p:txBody>
                <a:bodyPr/>
                <a:lstStyle/>
                <a:p>
                  <a:endParaRPr lang="de-DE" dirty="0"/>
                </a:p>
              </p:txBody>
            </p:sp>
            <p:sp>
              <p:nvSpPr>
                <p:cNvPr id="380" name="Freeform 258">
                  <a:extLst>
                    <a:ext uri="{FF2B5EF4-FFF2-40B4-BE49-F238E27FC236}">
                      <a16:creationId xmlns:a16="http://schemas.microsoft.com/office/drawing/2014/main" id="{C2502D67-4F2D-FE1F-B69D-622FF3E4D73F}"/>
                    </a:ext>
                  </a:extLst>
                </p:cNvPr>
                <p:cNvSpPr>
                  <a:spLocks/>
                </p:cNvSpPr>
                <p:nvPr/>
              </p:nvSpPr>
              <p:spPr bwMode="gray">
                <a:xfrm>
                  <a:off x="7581192" y="2841245"/>
                  <a:ext cx="25743" cy="26602"/>
                </a:xfrm>
                <a:custGeom>
                  <a:avLst/>
                  <a:gdLst>
                    <a:gd name="T0" fmla="*/ 0 w 17"/>
                    <a:gd name="T1" fmla="*/ 0 h 17"/>
                    <a:gd name="T2" fmla="*/ 0 w 17"/>
                    <a:gd name="T3" fmla="*/ 16 h 17"/>
                    <a:gd name="T4" fmla="*/ 16 w 17"/>
                    <a:gd name="T5" fmla="*/ 9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0" y="16"/>
                      </a:lnTo>
                      <a:lnTo>
                        <a:pt x="16" y="9"/>
                      </a:lnTo>
                      <a:lnTo>
                        <a:pt x="16"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381" name="Freeform 259">
                  <a:extLst>
                    <a:ext uri="{FF2B5EF4-FFF2-40B4-BE49-F238E27FC236}">
                      <a16:creationId xmlns:a16="http://schemas.microsoft.com/office/drawing/2014/main" id="{B4565503-F157-998A-A451-302ECB7EDE62}"/>
                    </a:ext>
                  </a:extLst>
                </p:cNvPr>
                <p:cNvSpPr>
                  <a:spLocks/>
                </p:cNvSpPr>
                <p:nvPr/>
              </p:nvSpPr>
              <p:spPr bwMode="gray">
                <a:xfrm>
                  <a:off x="7704761" y="2746237"/>
                  <a:ext cx="90102" cy="62071"/>
                </a:xfrm>
                <a:custGeom>
                  <a:avLst/>
                  <a:gdLst>
                    <a:gd name="T0" fmla="*/ 0 w 58"/>
                    <a:gd name="T1" fmla="*/ 0 h 41"/>
                    <a:gd name="T2" fmla="*/ 9 w 58"/>
                    <a:gd name="T3" fmla="*/ 23 h 41"/>
                    <a:gd name="T4" fmla="*/ 32 w 58"/>
                    <a:gd name="T5" fmla="*/ 40 h 41"/>
                    <a:gd name="T6" fmla="*/ 50 w 58"/>
                    <a:gd name="T7" fmla="*/ 40 h 41"/>
                    <a:gd name="T8" fmla="*/ 57 w 58"/>
                    <a:gd name="T9" fmla="*/ 16 h 41"/>
                    <a:gd name="T10" fmla="*/ 9 w 58"/>
                    <a:gd name="T11" fmla="*/ 6 h 41"/>
                    <a:gd name="T12" fmla="*/ 0 w 5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58" h="41">
                      <a:moveTo>
                        <a:pt x="0" y="0"/>
                      </a:moveTo>
                      <a:lnTo>
                        <a:pt x="9" y="23"/>
                      </a:lnTo>
                      <a:lnTo>
                        <a:pt x="32" y="40"/>
                      </a:lnTo>
                      <a:lnTo>
                        <a:pt x="50" y="40"/>
                      </a:lnTo>
                      <a:lnTo>
                        <a:pt x="57" y="16"/>
                      </a:lnTo>
                      <a:lnTo>
                        <a:pt x="9" y="6"/>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382" name="Freeform 260">
                  <a:extLst>
                    <a:ext uri="{FF2B5EF4-FFF2-40B4-BE49-F238E27FC236}">
                      <a16:creationId xmlns:a16="http://schemas.microsoft.com/office/drawing/2014/main" id="{FE8EDCFA-4752-9B23-7AA5-5734BA8DF39B}"/>
                    </a:ext>
                  </a:extLst>
                </p:cNvPr>
                <p:cNvSpPr>
                  <a:spLocks/>
                </p:cNvSpPr>
                <p:nvPr/>
              </p:nvSpPr>
              <p:spPr bwMode="gray">
                <a:xfrm>
                  <a:off x="7518120" y="2694301"/>
                  <a:ext cx="150599" cy="114008"/>
                </a:xfrm>
                <a:custGeom>
                  <a:avLst/>
                  <a:gdLst>
                    <a:gd name="T0" fmla="*/ 0 w 98"/>
                    <a:gd name="T1" fmla="*/ 50 h 75"/>
                    <a:gd name="T2" fmla="*/ 8 w 98"/>
                    <a:gd name="T3" fmla="*/ 74 h 75"/>
                    <a:gd name="T4" fmla="*/ 25 w 98"/>
                    <a:gd name="T5" fmla="*/ 74 h 75"/>
                    <a:gd name="T6" fmla="*/ 65 w 98"/>
                    <a:gd name="T7" fmla="*/ 57 h 75"/>
                    <a:gd name="T8" fmla="*/ 73 w 98"/>
                    <a:gd name="T9" fmla="*/ 65 h 75"/>
                    <a:gd name="T10" fmla="*/ 97 w 98"/>
                    <a:gd name="T11" fmla="*/ 40 h 75"/>
                    <a:gd name="T12" fmla="*/ 97 w 98"/>
                    <a:gd name="T13" fmla="*/ 25 h 75"/>
                    <a:gd name="T14" fmla="*/ 90 w 98"/>
                    <a:gd name="T15" fmla="*/ 16 h 75"/>
                    <a:gd name="T16" fmla="*/ 82 w 98"/>
                    <a:gd name="T17" fmla="*/ 16 h 75"/>
                    <a:gd name="T18" fmla="*/ 65 w 98"/>
                    <a:gd name="T19" fmla="*/ 0 h 75"/>
                    <a:gd name="T20" fmla="*/ 50 w 98"/>
                    <a:gd name="T21" fmla="*/ 16 h 75"/>
                    <a:gd name="T22" fmla="*/ 25 w 98"/>
                    <a:gd name="T23" fmla="*/ 0 h 75"/>
                    <a:gd name="T24" fmla="*/ 0 w 98"/>
                    <a:gd name="T25" fmla="*/ 9 h 75"/>
                    <a:gd name="T26" fmla="*/ 0 w 98"/>
                    <a:gd name="T27" fmla="*/ 5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83" name="Freeform 261">
                  <a:extLst>
                    <a:ext uri="{FF2B5EF4-FFF2-40B4-BE49-F238E27FC236}">
                      <a16:creationId xmlns:a16="http://schemas.microsoft.com/office/drawing/2014/main" id="{D1DE39B8-0D4B-57B7-4C28-507CD0CCA0A5}"/>
                    </a:ext>
                  </a:extLst>
                </p:cNvPr>
                <p:cNvSpPr>
                  <a:spLocks/>
                </p:cNvSpPr>
                <p:nvPr/>
              </p:nvSpPr>
              <p:spPr bwMode="gray">
                <a:xfrm>
                  <a:off x="5830637" y="2623362"/>
                  <a:ext cx="341101" cy="454767"/>
                </a:xfrm>
                <a:custGeom>
                  <a:avLst/>
                  <a:gdLst>
                    <a:gd name="T0" fmla="*/ 0 w 221"/>
                    <a:gd name="T1" fmla="*/ 258 h 300"/>
                    <a:gd name="T2" fmla="*/ 25 w 221"/>
                    <a:gd name="T3" fmla="*/ 290 h 300"/>
                    <a:gd name="T4" fmla="*/ 66 w 221"/>
                    <a:gd name="T5" fmla="*/ 299 h 300"/>
                    <a:gd name="T6" fmla="*/ 74 w 221"/>
                    <a:gd name="T7" fmla="*/ 290 h 300"/>
                    <a:gd name="T8" fmla="*/ 58 w 221"/>
                    <a:gd name="T9" fmla="*/ 274 h 300"/>
                    <a:gd name="T10" fmla="*/ 49 w 221"/>
                    <a:gd name="T11" fmla="*/ 258 h 300"/>
                    <a:gd name="T12" fmla="*/ 49 w 221"/>
                    <a:gd name="T13" fmla="*/ 218 h 300"/>
                    <a:gd name="T14" fmla="*/ 58 w 221"/>
                    <a:gd name="T15" fmla="*/ 202 h 300"/>
                    <a:gd name="T16" fmla="*/ 114 w 221"/>
                    <a:gd name="T17" fmla="*/ 104 h 300"/>
                    <a:gd name="T18" fmla="*/ 155 w 221"/>
                    <a:gd name="T19" fmla="*/ 72 h 300"/>
                    <a:gd name="T20" fmla="*/ 220 w 221"/>
                    <a:gd name="T21" fmla="*/ 40 h 300"/>
                    <a:gd name="T22" fmla="*/ 220 w 221"/>
                    <a:gd name="T23" fmla="*/ 7 h 300"/>
                    <a:gd name="T24" fmla="*/ 205 w 221"/>
                    <a:gd name="T25" fmla="*/ 0 h 300"/>
                    <a:gd name="T26" fmla="*/ 188 w 221"/>
                    <a:gd name="T27" fmla="*/ 16 h 300"/>
                    <a:gd name="T28" fmla="*/ 171 w 221"/>
                    <a:gd name="T29" fmla="*/ 32 h 300"/>
                    <a:gd name="T30" fmla="*/ 146 w 221"/>
                    <a:gd name="T31" fmla="*/ 40 h 300"/>
                    <a:gd name="T32" fmla="*/ 123 w 221"/>
                    <a:gd name="T33" fmla="*/ 40 h 300"/>
                    <a:gd name="T34" fmla="*/ 99 w 221"/>
                    <a:gd name="T35" fmla="*/ 56 h 300"/>
                    <a:gd name="T36" fmla="*/ 74 w 221"/>
                    <a:gd name="T37" fmla="*/ 87 h 300"/>
                    <a:gd name="T38" fmla="*/ 49 w 221"/>
                    <a:gd name="T39" fmla="*/ 104 h 300"/>
                    <a:gd name="T40" fmla="*/ 49 w 221"/>
                    <a:gd name="T41" fmla="*/ 121 h 300"/>
                    <a:gd name="T42" fmla="*/ 41 w 221"/>
                    <a:gd name="T43" fmla="*/ 144 h 300"/>
                    <a:gd name="T44" fmla="*/ 25 w 221"/>
                    <a:gd name="T45" fmla="*/ 160 h 300"/>
                    <a:gd name="T46" fmla="*/ 34 w 221"/>
                    <a:gd name="T47" fmla="*/ 177 h 300"/>
                    <a:gd name="T48" fmla="*/ 25 w 221"/>
                    <a:gd name="T49" fmla="*/ 194 h 300"/>
                    <a:gd name="T50" fmla="*/ 9 w 221"/>
                    <a:gd name="T51" fmla="*/ 209 h 300"/>
                    <a:gd name="T52" fmla="*/ 18 w 221"/>
                    <a:gd name="T53" fmla="*/ 225 h 300"/>
                    <a:gd name="T54" fmla="*/ 0 w 221"/>
                    <a:gd name="T55" fmla="*/ 234 h 300"/>
                    <a:gd name="T56" fmla="*/ 0 w 221"/>
                    <a:gd name="T57"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6350" cap="rnd" cmpd="sng">
                  <a:solidFill>
                    <a:srgbClr val="D0D0D0"/>
                  </a:solidFill>
                  <a:prstDash val="solid"/>
                  <a:round/>
                  <a:headEnd/>
                  <a:tailEnd/>
                </a:ln>
                <a:effectLst/>
              </p:spPr>
              <p:txBody>
                <a:bodyPr/>
                <a:lstStyle/>
                <a:p>
                  <a:endParaRPr lang="de-DE" dirty="0"/>
                </a:p>
              </p:txBody>
            </p:sp>
            <p:sp>
              <p:nvSpPr>
                <p:cNvPr id="384" name="Freeform 262">
                  <a:extLst>
                    <a:ext uri="{FF2B5EF4-FFF2-40B4-BE49-F238E27FC236}">
                      <a16:creationId xmlns:a16="http://schemas.microsoft.com/office/drawing/2014/main" id="{D4955567-4EDF-3A91-1908-F924D13B819C}"/>
                    </a:ext>
                  </a:extLst>
                </p:cNvPr>
                <p:cNvSpPr>
                  <a:spLocks/>
                </p:cNvSpPr>
                <p:nvPr/>
              </p:nvSpPr>
              <p:spPr bwMode="gray">
                <a:xfrm>
                  <a:off x="5770139" y="3124998"/>
                  <a:ext cx="37328" cy="51937"/>
                </a:xfrm>
                <a:custGeom>
                  <a:avLst/>
                  <a:gdLst>
                    <a:gd name="T0" fmla="*/ 0 w 25"/>
                    <a:gd name="T1" fmla="*/ 33 h 34"/>
                    <a:gd name="T2" fmla="*/ 17 w 25"/>
                    <a:gd name="T3" fmla="*/ 24 h 34"/>
                    <a:gd name="T4" fmla="*/ 24 w 25"/>
                    <a:gd name="T5" fmla="*/ 15 h 34"/>
                    <a:gd name="T6" fmla="*/ 9 w 25"/>
                    <a:gd name="T7" fmla="*/ 0 h 34"/>
                    <a:gd name="T8" fmla="*/ 0 w 25"/>
                    <a:gd name="T9" fmla="*/ 15 h 34"/>
                    <a:gd name="T10" fmla="*/ 0 w 25"/>
                    <a:gd name="T11" fmla="*/ 33 h 34"/>
                  </a:gdLst>
                  <a:ahLst/>
                  <a:cxnLst>
                    <a:cxn ang="0">
                      <a:pos x="T0" y="T1"/>
                    </a:cxn>
                    <a:cxn ang="0">
                      <a:pos x="T2" y="T3"/>
                    </a:cxn>
                    <a:cxn ang="0">
                      <a:pos x="T4" y="T5"/>
                    </a:cxn>
                    <a:cxn ang="0">
                      <a:pos x="T6" y="T7"/>
                    </a:cxn>
                    <a:cxn ang="0">
                      <a:pos x="T8" y="T9"/>
                    </a:cxn>
                    <a:cxn ang="0">
                      <a:pos x="T10" y="T11"/>
                    </a:cxn>
                  </a:cxnLst>
                  <a:rect l="0" t="0" r="r" b="b"/>
                  <a:pathLst>
                    <a:path w="25" h="34">
                      <a:moveTo>
                        <a:pt x="0" y="33"/>
                      </a:moveTo>
                      <a:lnTo>
                        <a:pt x="17" y="24"/>
                      </a:lnTo>
                      <a:lnTo>
                        <a:pt x="24" y="15"/>
                      </a:lnTo>
                      <a:lnTo>
                        <a:pt x="9" y="0"/>
                      </a:lnTo>
                      <a:lnTo>
                        <a:pt x="0" y="15"/>
                      </a:lnTo>
                      <a:lnTo>
                        <a:pt x="0" y="33"/>
                      </a:lnTo>
                    </a:path>
                  </a:pathLst>
                </a:custGeom>
                <a:grpFill/>
                <a:ln w="6350" cap="rnd" cmpd="sng">
                  <a:solidFill>
                    <a:srgbClr val="D0D0D0"/>
                  </a:solidFill>
                  <a:prstDash val="solid"/>
                  <a:round/>
                  <a:headEnd/>
                  <a:tailEnd/>
                </a:ln>
                <a:effectLst/>
              </p:spPr>
              <p:txBody>
                <a:bodyPr/>
                <a:lstStyle/>
                <a:p>
                  <a:endParaRPr lang="de-DE" dirty="0"/>
                </a:p>
              </p:txBody>
            </p:sp>
            <p:sp>
              <p:nvSpPr>
                <p:cNvPr id="385" name="Freeform 263">
                  <a:extLst>
                    <a:ext uri="{FF2B5EF4-FFF2-40B4-BE49-F238E27FC236}">
                      <a16:creationId xmlns:a16="http://schemas.microsoft.com/office/drawing/2014/main" id="{336FFC33-C82C-D316-88DB-4C4403ADD922}"/>
                    </a:ext>
                  </a:extLst>
                </p:cNvPr>
                <p:cNvSpPr>
                  <a:spLocks/>
                </p:cNvSpPr>
                <p:nvPr/>
              </p:nvSpPr>
              <p:spPr bwMode="gray">
                <a:xfrm>
                  <a:off x="4672181" y="3626636"/>
                  <a:ext cx="27031" cy="39270"/>
                </a:xfrm>
                <a:custGeom>
                  <a:avLst/>
                  <a:gdLst>
                    <a:gd name="T0" fmla="*/ 0 w 17"/>
                    <a:gd name="T1" fmla="*/ 25 h 26"/>
                    <a:gd name="T2" fmla="*/ 7 w 17"/>
                    <a:gd name="T3" fmla="*/ 10 h 26"/>
                    <a:gd name="T4" fmla="*/ 16 w 17"/>
                    <a:gd name="T5" fmla="*/ 0 h 26"/>
                    <a:gd name="T6" fmla="*/ 0 w 17"/>
                    <a:gd name="T7" fmla="*/ 10 h 26"/>
                    <a:gd name="T8" fmla="*/ 0 w 17"/>
                    <a:gd name="T9" fmla="*/ 25 h 26"/>
                  </a:gdLst>
                  <a:ahLst/>
                  <a:cxnLst>
                    <a:cxn ang="0">
                      <a:pos x="T0" y="T1"/>
                    </a:cxn>
                    <a:cxn ang="0">
                      <a:pos x="T2" y="T3"/>
                    </a:cxn>
                    <a:cxn ang="0">
                      <a:pos x="T4" y="T5"/>
                    </a:cxn>
                    <a:cxn ang="0">
                      <a:pos x="T6" y="T7"/>
                    </a:cxn>
                    <a:cxn ang="0">
                      <a:pos x="T8" y="T9"/>
                    </a:cxn>
                  </a:cxnLst>
                  <a:rect l="0" t="0" r="r" b="b"/>
                  <a:pathLst>
                    <a:path w="17" h="26">
                      <a:moveTo>
                        <a:pt x="0" y="25"/>
                      </a:moveTo>
                      <a:lnTo>
                        <a:pt x="7" y="10"/>
                      </a:lnTo>
                      <a:lnTo>
                        <a:pt x="16" y="0"/>
                      </a:lnTo>
                      <a:lnTo>
                        <a:pt x="0" y="10"/>
                      </a:lnTo>
                      <a:lnTo>
                        <a:pt x="0" y="25"/>
                      </a:lnTo>
                    </a:path>
                  </a:pathLst>
                </a:custGeom>
                <a:grpFill/>
                <a:ln w="6350" cap="rnd" cmpd="sng">
                  <a:solidFill>
                    <a:srgbClr val="D0D0D0"/>
                  </a:solidFill>
                  <a:prstDash val="solid"/>
                  <a:round/>
                  <a:headEnd/>
                  <a:tailEnd/>
                </a:ln>
                <a:effectLst/>
              </p:spPr>
              <p:txBody>
                <a:bodyPr/>
                <a:lstStyle/>
                <a:p>
                  <a:endParaRPr lang="de-DE" dirty="0"/>
                </a:p>
              </p:txBody>
            </p:sp>
            <p:sp>
              <p:nvSpPr>
                <p:cNvPr id="386" name="Freeform 264">
                  <a:extLst>
                    <a:ext uri="{FF2B5EF4-FFF2-40B4-BE49-F238E27FC236}">
                      <a16:creationId xmlns:a16="http://schemas.microsoft.com/office/drawing/2014/main" id="{F165B2AD-D0DE-F14C-4CAB-F921C69681A4}"/>
                    </a:ext>
                  </a:extLst>
                </p:cNvPr>
                <p:cNvSpPr>
                  <a:spLocks/>
                </p:cNvSpPr>
                <p:nvPr/>
              </p:nvSpPr>
              <p:spPr bwMode="gray">
                <a:xfrm>
                  <a:off x="4672181" y="3626636"/>
                  <a:ext cx="27031" cy="39270"/>
                </a:xfrm>
                <a:custGeom>
                  <a:avLst/>
                  <a:gdLst>
                    <a:gd name="T0" fmla="*/ 0 w 17"/>
                    <a:gd name="T1" fmla="*/ 25 h 26"/>
                    <a:gd name="T2" fmla="*/ 7 w 17"/>
                    <a:gd name="T3" fmla="*/ 10 h 26"/>
                    <a:gd name="T4" fmla="*/ 16 w 17"/>
                    <a:gd name="T5" fmla="*/ 0 h 26"/>
                    <a:gd name="T6" fmla="*/ 0 w 17"/>
                    <a:gd name="T7" fmla="*/ 10 h 26"/>
                    <a:gd name="T8" fmla="*/ 0 w 17"/>
                    <a:gd name="T9" fmla="*/ 25 h 26"/>
                  </a:gdLst>
                  <a:ahLst/>
                  <a:cxnLst>
                    <a:cxn ang="0">
                      <a:pos x="T0" y="T1"/>
                    </a:cxn>
                    <a:cxn ang="0">
                      <a:pos x="T2" y="T3"/>
                    </a:cxn>
                    <a:cxn ang="0">
                      <a:pos x="T4" y="T5"/>
                    </a:cxn>
                    <a:cxn ang="0">
                      <a:pos x="T6" y="T7"/>
                    </a:cxn>
                    <a:cxn ang="0">
                      <a:pos x="T8" y="T9"/>
                    </a:cxn>
                  </a:cxnLst>
                  <a:rect l="0" t="0" r="r" b="b"/>
                  <a:pathLst>
                    <a:path w="17" h="26">
                      <a:moveTo>
                        <a:pt x="0" y="25"/>
                      </a:moveTo>
                      <a:lnTo>
                        <a:pt x="7" y="10"/>
                      </a:lnTo>
                      <a:lnTo>
                        <a:pt x="16" y="0"/>
                      </a:lnTo>
                      <a:lnTo>
                        <a:pt x="0" y="10"/>
                      </a:lnTo>
                      <a:lnTo>
                        <a:pt x="0" y="2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87" name="Freeform 265">
                  <a:extLst>
                    <a:ext uri="{FF2B5EF4-FFF2-40B4-BE49-F238E27FC236}">
                      <a16:creationId xmlns:a16="http://schemas.microsoft.com/office/drawing/2014/main" id="{CEEECEAF-E309-D188-D799-6F3E6B77E902}"/>
                    </a:ext>
                  </a:extLst>
                </p:cNvPr>
                <p:cNvSpPr>
                  <a:spLocks/>
                </p:cNvSpPr>
                <p:nvPr/>
              </p:nvSpPr>
              <p:spPr bwMode="gray">
                <a:xfrm>
                  <a:off x="5008133" y="3725443"/>
                  <a:ext cx="25743" cy="26602"/>
                </a:xfrm>
                <a:custGeom>
                  <a:avLst/>
                  <a:gdLst>
                    <a:gd name="T0" fmla="*/ 0 w 17"/>
                    <a:gd name="T1" fmla="*/ 9 h 17"/>
                    <a:gd name="T2" fmla="*/ 0 w 17"/>
                    <a:gd name="T3" fmla="*/ 16 h 17"/>
                    <a:gd name="T4" fmla="*/ 16 w 17"/>
                    <a:gd name="T5" fmla="*/ 16 h 17"/>
                    <a:gd name="T6" fmla="*/ 16 w 17"/>
                    <a:gd name="T7" fmla="*/ 9 h 17"/>
                    <a:gd name="T8" fmla="*/ 16 w 17"/>
                    <a:gd name="T9" fmla="*/ 0 h 17"/>
                    <a:gd name="T10" fmla="*/ 0 w 17"/>
                    <a:gd name="T11" fmla="*/ 9 h 17"/>
                  </a:gdLst>
                  <a:ahLst/>
                  <a:cxnLst>
                    <a:cxn ang="0">
                      <a:pos x="T0" y="T1"/>
                    </a:cxn>
                    <a:cxn ang="0">
                      <a:pos x="T2" y="T3"/>
                    </a:cxn>
                    <a:cxn ang="0">
                      <a:pos x="T4" y="T5"/>
                    </a:cxn>
                    <a:cxn ang="0">
                      <a:pos x="T6" y="T7"/>
                    </a:cxn>
                    <a:cxn ang="0">
                      <a:pos x="T8" y="T9"/>
                    </a:cxn>
                    <a:cxn ang="0">
                      <a:pos x="T10" y="T11"/>
                    </a:cxn>
                  </a:cxnLst>
                  <a:rect l="0" t="0" r="r" b="b"/>
                  <a:pathLst>
                    <a:path w="17" h="17">
                      <a:moveTo>
                        <a:pt x="0" y="9"/>
                      </a:moveTo>
                      <a:lnTo>
                        <a:pt x="0" y="16"/>
                      </a:lnTo>
                      <a:lnTo>
                        <a:pt x="16" y="16"/>
                      </a:lnTo>
                      <a:lnTo>
                        <a:pt x="16" y="9"/>
                      </a:lnTo>
                      <a:lnTo>
                        <a:pt x="16" y="0"/>
                      </a:lnTo>
                      <a:lnTo>
                        <a:pt x="0" y="9"/>
                      </a:lnTo>
                    </a:path>
                  </a:pathLst>
                </a:custGeom>
                <a:grpFill/>
                <a:ln w="6350" cap="rnd" cmpd="sng">
                  <a:solidFill>
                    <a:srgbClr val="D0D0D0"/>
                  </a:solidFill>
                  <a:prstDash val="solid"/>
                  <a:round/>
                  <a:headEnd/>
                  <a:tailEnd/>
                </a:ln>
                <a:effectLst/>
              </p:spPr>
              <p:txBody>
                <a:bodyPr/>
                <a:lstStyle/>
                <a:p>
                  <a:endParaRPr lang="de-DE" dirty="0"/>
                </a:p>
              </p:txBody>
            </p:sp>
            <p:sp>
              <p:nvSpPr>
                <p:cNvPr id="388" name="Freeform 266">
                  <a:extLst>
                    <a:ext uri="{FF2B5EF4-FFF2-40B4-BE49-F238E27FC236}">
                      <a16:creationId xmlns:a16="http://schemas.microsoft.com/office/drawing/2014/main" id="{8D045479-42C8-40C8-301C-82219BFAB9F4}"/>
                    </a:ext>
                  </a:extLst>
                </p:cNvPr>
                <p:cNvSpPr>
                  <a:spLocks/>
                </p:cNvSpPr>
                <p:nvPr/>
              </p:nvSpPr>
              <p:spPr bwMode="gray">
                <a:xfrm>
                  <a:off x="5032589" y="3712775"/>
                  <a:ext cx="29605" cy="27868"/>
                </a:xfrm>
                <a:custGeom>
                  <a:avLst/>
                  <a:gdLst>
                    <a:gd name="T0" fmla="*/ 0 w 19"/>
                    <a:gd name="T1" fmla="*/ 9 h 19"/>
                    <a:gd name="T2" fmla="*/ 0 w 19"/>
                    <a:gd name="T3" fmla="*/ 18 h 19"/>
                    <a:gd name="T4" fmla="*/ 18 w 19"/>
                    <a:gd name="T5" fmla="*/ 18 h 19"/>
                    <a:gd name="T6" fmla="*/ 18 w 19"/>
                    <a:gd name="T7" fmla="*/ 9 h 19"/>
                    <a:gd name="T8" fmla="*/ 18 w 19"/>
                    <a:gd name="T9" fmla="*/ 0 h 19"/>
                    <a:gd name="T10" fmla="*/ 0 w 19"/>
                    <a:gd name="T11" fmla="*/ 9 h 19"/>
                  </a:gdLst>
                  <a:ahLst/>
                  <a:cxnLst>
                    <a:cxn ang="0">
                      <a:pos x="T0" y="T1"/>
                    </a:cxn>
                    <a:cxn ang="0">
                      <a:pos x="T2" y="T3"/>
                    </a:cxn>
                    <a:cxn ang="0">
                      <a:pos x="T4" y="T5"/>
                    </a:cxn>
                    <a:cxn ang="0">
                      <a:pos x="T6" y="T7"/>
                    </a:cxn>
                    <a:cxn ang="0">
                      <a:pos x="T8" y="T9"/>
                    </a:cxn>
                    <a:cxn ang="0">
                      <a:pos x="T10" y="T11"/>
                    </a:cxn>
                  </a:cxnLst>
                  <a:rect l="0" t="0" r="r" b="b"/>
                  <a:pathLst>
                    <a:path w="19" h="19">
                      <a:moveTo>
                        <a:pt x="0" y="9"/>
                      </a:moveTo>
                      <a:lnTo>
                        <a:pt x="0" y="18"/>
                      </a:lnTo>
                      <a:lnTo>
                        <a:pt x="18" y="18"/>
                      </a:lnTo>
                      <a:lnTo>
                        <a:pt x="18" y="9"/>
                      </a:lnTo>
                      <a:lnTo>
                        <a:pt x="18" y="0"/>
                      </a:lnTo>
                      <a:lnTo>
                        <a:pt x="0" y="9"/>
                      </a:lnTo>
                    </a:path>
                  </a:pathLst>
                </a:custGeom>
                <a:grpFill/>
                <a:ln w="6350" cap="rnd" cmpd="sng">
                  <a:solidFill>
                    <a:srgbClr val="D0D0D0"/>
                  </a:solidFill>
                  <a:prstDash val="solid"/>
                  <a:round/>
                  <a:headEnd/>
                  <a:tailEnd/>
                </a:ln>
                <a:effectLst/>
              </p:spPr>
              <p:txBody>
                <a:bodyPr/>
                <a:lstStyle/>
                <a:p>
                  <a:endParaRPr lang="de-DE" dirty="0"/>
                </a:p>
              </p:txBody>
            </p:sp>
            <p:sp>
              <p:nvSpPr>
                <p:cNvPr id="389" name="Freeform 267">
                  <a:extLst>
                    <a:ext uri="{FF2B5EF4-FFF2-40B4-BE49-F238E27FC236}">
                      <a16:creationId xmlns:a16="http://schemas.microsoft.com/office/drawing/2014/main" id="{998B1DCC-4D0C-6E56-DD94-7D8984B9319D}"/>
                    </a:ext>
                  </a:extLst>
                </p:cNvPr>
                <p:cNvSpPr>
                  <a:spLocks/>
                </p:cNvSpPr>
                <p:nvPr/>
              </p:nvSpPr>
              <p:spPr bwMode="gray">
                <a:xfrm>
                  <a:off x="5032589" y="3750778"/>
                  <a:ext cx="29605" cy="25335"/>
                </a:xfrm>
                <a:custGeom>
                  <a:avLst/>
                  <a:gdLst>
                    <a:gd name="T0" fmla="*/ 0 w 19"/>
                    <a:gd name="T1" fmla="*/ 0 h 17"/>
                    <a:gd name="T2" fmla="*/ 0 w 19"/>
                    <a:gd name="T3" fmla="*/ 16 h 17"/>
                    <a:gd name="T4" fmla="*/ 18 w 19"/>
                    <a:gd name="T5" fmla="*/ 0 h 17"/>
                    <a:gd name="T6" fmla="*/ 0 w 19"/>
                    <a:gd name="T7" fmla="*/ 0 h 17"/>
                  </a:gdLst>
                  <a:ahLst/>
                  <a:cxnLst>
                    <a:cxn ang="0">
                      <a:pos x="T0" y="T1"/>
                    </a:cxn>
                    <a:cxn ang="0">
                      <a:pos x="T2" y="T3"/>
                    </a:cxn>
                    <a:cxn ang="0">
                      <a:pos x="T4" y="T5"/>
                    </a:cxn>
                    <a:cxn ang="0">
                      <a:pos x="T6" y="T7"/>
                    </a:cxn>
                  </a:cxnLst>
                  <a:rect l="0" t="0" r="r" b="b"/>
                  <a:pathLst>
                    <a:path w="19" h="17">
                      <a:moveTo>
                        <a:pt x="0" y="0"/>
                      </a:moveTo>
                      <a:lnTo>
                        <a:pt x="0" y="16"/>
                      </a:lnTo>
                      <a:lnTo>
                        <a:pt x="18"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390" name="Freeform 268">
                  <a:extLst>
                    <a:ext uri="{FF2B5EF4-FFF2-40B4-BE49-F238E27FC236}">
                      <a16:creationId xmlns:a16="http://schemas.microsoft.com/office/drawing/2014/main" id="{3FFE09E9-1DD9-1E95-EE99-9BFEDA065DB5}"/>
                    </a:ext>
                  </a:extLst>
                </p:cNvPr>
                <p:cNvSpPr>
                  <a:spLocks/>
                </p:cNvSpPr>
                <p:nvPr/>
              </p:nvSpPr>
              <p:spPr bwMode="gray">
                <a:xfrm>
                  <a:off x="4683765" y="3626636"/>
                  <a:ext cx="164758" cy="283754"/>
                </a:xfrm>
                <a:custGeom>
                  <a:avLst/>
                  <a:gdLst>
                    <a:gd name="T0" fmla="*/ 18 w 107"/>
                    <a:gd name="T1" fmla="*/ 187 h 188"/>
                    <a:gd name="T2" fmla="*/ 24 w 107"/>
                    <a:gd name="T3" fmla="*/ 179 h 188"/>
                    <a:gd name="T4" fmla="*/ 41 w 107"/>
                    <a:gd name="T5" fmla="*/ 187 h 188"/>
                    <a:gd name="T6" fmla="*/ 41 w 107"/>
                    <a:gd name="T7" fmla="*/ 179 h 188"/>
                    <a:gd name="T8" fmla="*/ 49 w 107"/>
                    <a:gd name="T9" fmla="*/ 171 h 188"/>
                    <a:gd name="T10" fmla="*/ 58 w 107"/>
                    <a:gd name="T11" fmla="*/ 179 h 188"/>
                    <a:gd name="T12" fmla="*/ 66 w 107"/>
                    <a:gd name="T13" fmla="*/ 171 h 188"/>
                    <a:gd name="T14" fmla="*/ 98 w 107"/>
                    <a:gd name="T15" fmla="*/ 171 h 188"/>
                    <a:gd name="T16" fmla="*/ 106 w 107"/>
                    <a:gd name="T17" fmla="*/ 162 h 188"/>
                    <a:gd name="T18" fmla="*/ 90 w 107"/>
                    <a:gd name="T19" fmla="*/ 162 h 188"/>
                    <a:gd name="T20" fmla="*/ 106 w 107"/>
                    <a:gd name="T21" fmla="*/ 138 h 188"/>
                    <a:gd name="T22" fmla="*/ 98 w 107"/>
                    <a:gd name="T23" fmla="*/ 131 h 188"/>
                    <a:gd name="T24" fmla="*/ 90 w 107"/>
                    <a:gd name="T25" fmla="*/ 131 h 188"/>
                    <a:gd name="T26" fmla="*/ 81 w 107"/>
                    <a:gd name="T27" fmla="*/ 131 h 188"/>
                    <a:gd name="T28" fmla="*/ 90 w 107"/>
                    <a:gd name="T29" fmla="*/ 122 h 188"/>
                    <a:gd name="T30" fmla="*/ 90 w 107"/>
                    <a:gd name="T31" fmla="*/ 115 h 188"/>
                    <a:gd name="T32" fmla="*/ 81 w 107"/>
                    <a:gd name="T33" fmla="*/ 97 h 188"/>
                    <a:gd name="T34" fmla="*/ 74 w 107"/>
                    <a:gd name="T35" fmla="*/ 91 h 188"/>
                    <a:gd name="T36" fmla="*/ 58 w 107"/>
                    <a:gd name="T37" fmla="*/ 66 h 188"/>
                    <a:gd name="T38" fmla="*/ 41 w 107"/>
                    <a:gd name="T39" fmla="*/ 57 h 188"/>
                    <a:gd name="T40" fmla="*/ 66 w 107"/>
                    <a:gd name="T41" fmla="*/ 25 h 188"/>
                    <a:gd name="T42" fmla="*/ 58 w 107"/>
                    <a:gd name="T43" fmla="*/ 17 h 188"/>
                    <a:gd name="T44" fmla="*/ 33 w 107"/>
                    <a:gd name="T45" fmla="*/ 25 h 188"/>
                    <a:gd name="T46" fmla="*/ 33 w 107"/>
                    <a:gd name="T47" fmla="*/ 10 h 188"/>
                    <a:gd name="T48" fmla="*/ 49 w 107"/>
                    <a:gd name="T49" fmla="*/ 0 h 188"/>
                    <a:gd name="T50" fmla="*/ 41 w 107"/>
                    <a:gd name="T51" fmla="*/ 0 h 188"/>
                    <a:gd name="T52" fmla="*/ 24 w 107"/>
                    <a:gd name="T53" fmla="*/ 0 h 188"/>
                    <a:gd name="T54" fmla="*/ 9 w 107"/>
                    <a:gd name="T55" fmla="*/ 25 h 188"/>
                    <a:gd name="T56" fmla="*/ 0 w 107"/>
                    <a:gd name="T57" fmla="*/ 25 h 188"/>
                    <a:gd name="T58" fmla="*/ 9 w 107"/>
                    <a:gd name="T59" fmla="*/ 33 h 188"/>
                    <a:gd name="T60" fmla="*/ 18 w 107"/>
                    <a:gd name="T61" fmla="*/ 33 h 188"/>
                    <a:gd name="T62" fmla="*/ 9 w 107"/>
                    <a:gd name="T63" fmla="*/ 50 h 188"/>
                    <a:gd name="T64" fmla="*/ 18 w 107"/>
                    <a:gd name="T65" fmla="*/ 50 h 188"/>
                    <a:gd name="T66" fmla="*/ 18 w 107"/>
                    <a:gd name="T67" fmla="*/ 57 h 188"/>
                    <a:gd name="T68" fmla="*/ 9 w 107"/>
                    <a:gd name="T69" fmla="*/ 66 h 188"/>
                    <a:gd name="T70" fmla="*/ 18 w 107"/>
                    <a:gd name="T71" fmla="*/ 66 h 188"/>
                    <a:gd name="T72" fmla="*/ 24 w 107"/>
                    <a:gd name="T73" fmla="*/ 75 h 188"/>
                    <a:gd name="T74" fmla="*/ 18 w 107"/>
                    <a:gd name="T75" fmla="*/ 82 h 188"/>
                    <a:gd name="T76" fmla="*/ 24 w 107"/>
                    <a:gd name="T77" fmla="*/ 91 h 188"/>
                    <a:gd name="T78" fmla="*/ 41 w 107"/>
                    <a:gd name="T79" fmla="*/ 82 h 188"/>
                    <a:gd name="T80" fmla="*/ 41 w 107"/>
                    <a:gd name="T81" fmla="*/ 91 h 188"/>
                    <a:gd name="T82" fmla="*/ 41 w 107"/>
                    <a:gd name="T83" fmla="*/ 97 h 188"/>
                    <a:gd name="T84" fmla="*/ 49 w 107"/>
                    <a:gd name="T85" fmla="*/ 97 h 188"/>
                    <a:gd name="T86" fmla="*/ 49 w 107"/>
                    <a:gd name="T87" fmla="*/ 115 h 188"/>
                    <a:gd name="T88" fmla="*/ 24 w 107"/>
                    <a:gd name="T89" fmla="*/ 115 h 188"/>
                    <a:gd name="T90" fmla="*/ 33 w 107"/>
                    <a:gd name="T91" fmla="*/ 122 h 188"/>
                    <a:gd name="T92" fmla="*/ 24 w 107"/>
                    <a:gd name="T93" fmla="*/ 131 h 188"/>
                    <a:gd name="T94" fmla="*/ 33 w 107"/>
                    <a:gd name="T95" fmla="*/ 131 h 188"/>
                    <a:gd name="T96" fmla="*/ 33 w 107"/>
                    <a:gd name="T97" fmla="*/ 138 h 188"/>
                    <a:gd name="T98" fmla="*/ 18 w 107"/>
                    <a:gd name="T99" fmla="*/ 147 h 188"/>
                    <a:gd name="T100" fmla="*/ 24 w 107"/>
                    <a:gd name="T101" fmla="*/ 156 h 188"/>
                    <a:gd name="T102" fmla="*/ 33 w 107"/>
                    <a:gd name="T103" fmla="*/ 156 h 188"/>
                    <a:gd name="T104" fmla="*/ 41 w 107"/>
                    <a:gd name="T105" fmla="*/ 162 h 188"/>
                    <a:gd name="T106" fmla="*/ 49 w 107"/>
                    <a:gd name="T107" fmla="*/ 156 h 188"/>
                    <a:gd name="T108" fmla="*/ 49 w 107"/>
                    <a:gd name="T109" fmla="*/ 162 h 188"/>
                    <a:gd name="T110" fmla="*/ 33 w 107"/>
                    <a:gd name="T111" fmla="*/ 162 h 188"/>
                    <a:gd name="T112" fmla="*/ 18 w 107"/>
                    <a:gd name="T113" fmla="*/ 18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6350" cap="rnd" cmpd="sng">
                  <a:solidFill>
                    <a:srgbClr val="D0D0D0"/>
                  </a:solidFill>
                  <a:prstDash val="solid"/>
                  <a:round/>
                  <a:headEnd/>
                  <a:tailEnd/>
                </a:ln>
                <a:effectLst/>
              </p:spPr>
              <p:txBody>
                <a:bodyPr/>
                <a:lstStyle/>
                <a:p>
                  <a:endParaRPr lang="de-DE" dirty="0"/>
                </a:p>
              </p:txBody>
            </p:sp>
            <p:sp>
              <p:nvSpPr>
                <p:cNvPr id="391" name="Freeform 269">
                  <a:extLst>
                    <a:ext uri="{FF2B5EF4-FFF2-40B4-BE49-F238E27FC236}">
                      <a16:creationId xmlns:a16="http://schemas.microsoft.com/office/drawing/2014/main" id="{2DF995CB-220D-F353-845D-040CB324E435}"/>
                    </a:ext>
                  </a:extLst>
                </p:cNvPr>
                <p:cNvSpPr>
                  <a:spLocks/>
                </p:cNvSpPr>
                <p:nvPr/>
              </p:nvSpPr>
              <p:spPr bwMode="gray">
                <a:xfrm>
                  <a:off x="4983676" y="4108004"/>
                  <a:ext cx="25743" cy="48136"/>
                </a:xfrm>
                <a:custGeom>
                  <a:avLst/>
                  <a:gdLst>
                    <a:gd name="T0" fmla="*/ 0 w 17"/>
                    <a:gd name="T1" fmla="*/ 6 h 32"/>
                    <a:gd name="T2" fmla="*/ 0 w 17"/>
                    <a:gd name="T3" fmla="*/ 23 h 32"/>
                    <a:gd name="T4" fmla="*/ 16 w 17"/>
                    <a:gd name="T5" fmla="*/ 31 h 32"/>
                    <a:gd name="T6" fmla="*/ 16 w 17"/>
                    <a:gd name="T7" fmla="*/ 0 h 32"/>
                    <a:gd name="T8" fmla="*/ 0 w 17"/>
                    <a:gd name="T9" fmla="*/ 6 h 32"/>
                  </a:gdLst>
                  <a:ahLst/>
                  <a:cxnLst>
                    <a:cxn ang="0">
                      <a:pos x="T0" y="T1"/>
                    </a:cxn>
                    <a:cxn ang="0">
                      <a:pos x="T2" y="T3"/>
                    </a:cxn>
                    <a:cxn ang="0">
                      <a:pos x="T4" y="T5"/>
                    </a:cxn>
                    <a:cxn ang="0">
                      <a:pos x="T6" y="T7"/>
                    </a:cxn>
                    <a:cxn ang="0">
                      <a:pos x="T8" y="T9"/>
                    </a:cxn>
                  </a:cxnLst>
                  <a:rect l="0" t="0" r="r" b="b"/>
                  <a:pathLst>
                    <a:path w="17" h="32">
                      <a:moveTo>
                        <a:pt x="0" y="6"/>
                      </a:moveTo>
                      <a:lnTo>
                        <a:pt x="0" y="23"/>
                      </a:lnTo>
                      <a:lnTo>
                        <a:pt x="16" y="31"/>
                      </a:lnTo>
                      <a:lnTo>
                        <a:pt x="16" y="0"/>
                      </a:lnTo>
                      <a:lnTo>
                        <a:pt x="0" y="6"/>
                      </a:lnTo>
                    </a:path>
                  </a:pathLst>
                </a:custGeom>
                <a:grpFill/>
                <a:ln w="6350" cap="rnd" cmpd="sng">
                  <a:solidFill>
                    <a:srgbClr val="D0D0D0"/>
                  </a:solidFill>
                  <a:prstDash val="solid"/>
                  <a:round/>
                  <a:headEnd/>
                  <a:tailEnd/>
                </a:ln>
                <a:effectLst/>
              </p:spPr>
              <p:txBody>
                <a:bodyPr/>
                <a:lstStyle/>
                <a:p>
                  <a:endParaRPr lang="de-DE" dirty="0"/>
                </a:p>
              </p:txBody>
            </p:sp>
            <p:sp>
              <p:nvSpPr>
                <p:cNvPr id="392" name="Freeform 270">
                  <a:extLst>
                    <a:ext uri="{FF2B5EF4-FFF2-40B4-BE49-F238E27FC236}">
                      <a16:creationId xmlns:a16="http://schemas.microsoft.com/office/drawing/2014/main" id="{17A6C0FC-7F57-0D96-279D-C1BAED4D89DE}"/>
                    </a:ext>
                  </a:extLst>
                </p:cNvPr>
                <p:cNvSpPr>
                  <a:spLocks/>
                </p:cNvSpPr>
                <p:nvPr/>
              </p:nvSpPr>
              <p:spPr bwMode="gray">
                <a:xfrm>
                  <a:off x="4969518" y="4154874"/>
                  <a:ext cx="39902" cy="63338"/>
                </a:xfrm>
                <a:custGeom>
                  <a:avLst/>
                  <a:gdLst>
                    <a:gd name="T0" fmla="*/ 0 w 26"/>
                    <a:gd name="T1" fmla="*/ 0 h 42"/>
                    <a:gd name="T2" fmla="*/ 9 w 26"/>
                    <a:gd name="T3" fmla="*/ 32 h 42"/>
                    <a:gd name="T4" fmla="*/ 9 w 26"/>
                    <a:gd name="T5" fmla="*/ 41 h 42"/>
                    <a:gd name="T6" fmla="*/ 19 w 26"/>
                    <a:gd name="T7" fmla="*/ 32 h 42"/>
                    <a:gd name="T8" fmla="*/ 25 w 26"/>
                    <a:gd name="T9" fmla="*/ 9 h 42"/>
                    <a:gd name="T10" fmla="*/ 19 w 26"/>
                    <a:gd name="T11" fmla="*/ 0 h 42"/>
                    <a:gd name="T12" fmla="*/ 0 w 26"/>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6" h="42">
                      <a:moveTo>
                        <a:pt x="0" y="0"/>
                      </a:moveTo>
                      <a:lnTo>
                        <a:pt x="9" y="32"/>
                      </a:lnTo>
                      <a:lnTo>
                        <a:pt x="9" y="41"/>
                      </a:lnTo>
                      <a:lnTo>
                        <a:pt x="19" y="32"/>
                      </a:lnTo>
                      <a:lnTo>
                        <a:pt x="25" y="9"/>
                      </a:lnTo>
                      <a:lnTo>
                        <a:pt x="19"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393" name="Freeform 271">
                  <a:extLst>
                    <a:ext uri="{FF2B5EF4-FFF2-40B4-BE49-F238E27FC236}">
                      <a16:creationId xmlns:a16="http://schemas.microsoft.com/office/drawing/2014/main" id="{109D7187-AFCF-0166-2128-6FF179519D8D}"/>
                    </a:ext>
                  </a:extLst>
                </p:cNvPr>
                <p:cNvSpPr>
                  <a:spLocks/>
                </p:cNvSpPr>
                <p:nvPr/>
              </p:nvSpPr>
              <p:spPr bwMode="gray">
                <a:xfrm>
                  <a:off x="5060907" y="4228346"/>
                  <a:ext cx="63072" cy="39270"/>
                </a:xfrm>
                <a:custGeom>
                  <a:avLst/>
                  <a:gdLst>
                    <a:gd name="T0" fmla="*/ 0 w 41"/>
                    <a:gd name="T1" fmla="*/ 0 h 26"/>
                    <a:gd name="T2" fmla="*/ 0 w 41"/>
                    <a:gd name="T3" fmla="*/ 8 h 26"/>
                    <a:gd name="T4" fmla="*/ 32 w 41"/>
                    <a:gd name="T5" fmla="*/ 25 h 26"/>
                    <a:gd name="T6" fmla="*/ 40 w 41"/>
                    <a:gd name="T7" fmla="*/ 0 h 26"/>
                    <a:gd name="T8" fmla="*/ 23 w 41"/>
                    <a:gd name="T9" fmla="*/ 0 h 26"/>
                    <a:gd name="T10" fmla="*/ 7 w 41"/>
                    <a:gd name="T11" fmla="*/ 0 h 26"/>
                    <a:gd name="T12" fmla="*/ 0 w 4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1" h="26">
                      <a:moveTo>
                        <a:pt x="0" y="0"/>
                      </a:moveTo>
                      <a:lnTo>
                        <a:pt x="0" y="8"/>
                      </a:lnTo>
                      <a:lnTo>
                        <a:pt x="32" y="25"/>
                      </a:lnTo>
                      <a:lnTo>
                        <a:pt x="40" y="0"/>
                      </a:lnTo>
                      <a:lnTo>
                        <a:pt x="23" y="0"/>
                      </a:lnTo>
                      <a:lnTo>
                        <a:pt x="7"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394" name="Freeform 272">
                  <a:extLst>
                    <a:ext uri="{FF2B5EF4-FFF2-40B4-BE49-F238E27FC236}">
                      <a16:creationId xmlns:a16="http://schemas.microsoft.com/office/drawing/2014/main" id="{59B81393-68B6-B798-6A8B-7832AF9B3F42}"/>
                    </a:ext>
                  </a:extLst>
                </p:cNvPr>
                <p:cNvSpPr>
                  <a:spLocks/>
                </p:cNvSpPr>
                <p:nvPr/>
              </p:nvSpPr>
              <p:spPr bwMode="gray">
                <a:xfrm>
                  <a:off x="5232101" y="4228346"/>
                  <a:ext cx="41189" cy="39270"/>
                </a:xfrm>
                <a:custGeom>
                  <a:avLst/>
                  <a:gdLst>
                    <a:gd name="T0" fmla="*/ 0 w 26"/>
                    <a:gd name="T1" fmla="*/ 8 h 26"/>
                    <a:gd name="T2" fmla="*/ 9 w 26"/>
                    <a:gd name="T3" fmla="*/ 8 h 26"/>
                    <a:gd name="T4" fmla="*/ 9 w 26"/>
                    <a:gd name="T5" fmla="*/ 25 h 26"/>
                    <a:gd name="T6" fmla="*/ 16 w 26"/>
                    <a:gd name="T7" fmla="*/ 25 h 26"/>
                    <a:gd name="T8" fmla="*/ 25 w 26"/>
                    <a:gd name="T9" fmla="*/ 25 h 26"/>
                    <a:gd name="T10" fmla="*/ 16 w 26"/>
                    <a:gd name="T11" fmla="*/ 8 h 26"/>
                    <a:gd name="T12" fmla="*/ 25 w 26"/>
                    <a:gd name="T13" fmla="*/ 16 h 26"/>
                    <a:gd name="T14" fmla="*/ 25 w 26"/>
                    <a:gd name="T15" fmla="*/ 8 h 26"/>
                    <a:gd name="T16" fmla="*/ 9 w 26"/>
                    <a:gd name="T17" fmla="*/ 0 h 26"/>
                    <a:gd name="T18" fmla="*/ 0 w 26"/>
                    <a:gd name="T19"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395" name="Freeform 274">
                  <a:extLst>
                    <a:ext uri="{FF2B5EF4-FFF2-40B4-BE49-F238E27FC236}">
                      <a16:creationId xmlns:a16="http://schemas.microsoft.com/office/drawing/2014/main" id="{4583E41F-13FE-2C84-7601-0AD275FBCE7B}"/>
                    </a:ext>
                  </a:extLst>
                </p:cNvPr>
                <p:cNvSpPr>
                  <a:spLocks/>
                </p:cNvSpPr>
                <p:nvPr/>
              </p:nvSpPr>
              <p:spPr bwMode="gray">
                <a:xfrm>
                  <a:off x="4860107" y="4178943"/>
                  <a:ext cx="25743" cy="25335"/>
                </a:xfrm>
                <a:custGeom>
                  <a:avLst/>
                  <a:gdLst>
                    <a:gd name="T0" fmla="*/ 0 w 17"/>
                    <a:gd name="T1" fmla="*/ 9 h 17"/>
                    <a:gd name="T2" fmla="*/ 6 w 17"/>
                    <a:gd name="T3" fmla="*/ 16 h 17"/>
                    <a:gd name="T4" fmla="*/ 16 w 17"/>
                    <a:gd name="T5" fmla="*/ 9 h 17"/>
                    <a:gd name="T6" fmla="*/ 6 w 17"/>
                    <a:gd name="T7" fmla="*/ 0 h 17"/>
                    <a:gd name="T8" fmla="*/ 0 w 17"/>
                    <a:gd name="T9" fmla="*/ 9 h 17"/>
                  </a:gdLst>
                  <a:ahLst/>
                  <a:cxnLst>
                    <a:cxn ang="0">
                      <a:pos x="T0" y="T1"/>
                    </a:cxn>
                    <a:cxn ang="0">
                      <a:pos x="T2" y="T3"/>
                    </a:cxn>
                    <a:cxn ang="0">
                      <a:pos x="T4" y="T5"/>
                    </a:cxn>
                    <a:cxn ang="0">
                      <a:pos x="T6" y="T7"/>
                    </a:cxn>
                    <a:cxn ang="0">
                      <a:pos x="T8" y="T9"/>
                    </a:cxn>
                  </a:cxnLst>
                  <a:rect l="0" t="0" r="r" b="b"/>
                  <a:pathLst>
                    <a:path w="17" h="17">
                      <a:moveTo>
                        <a:pt x="0" y="9"/>
                      </a:moveTo>
                      <a:lnTo>
                        <a:pt x="6" y="16"/>
                      </a:lnTo>
                      <a:lnTo>
                        <a:pt x="16" y="9"/>
                      </a:lnTo>
                      <a:lnTo>
                        <a:pt x="6" y="0"/>
                      </a:lnTo>
                      <a:lnTo>
                        <a:pt x="0" y="9"/>
                      </a:lnTo>
                    </a:path>
                  </a:pathLst>
                </a:custGeom>
                <a:grpFill/>
                <a:ln w="6350" cap="rnd" cmpd="sng">
                  <a:solidFill>
                    <a:srgbClr val="D0D0D0"/>
                  </a:solidFill>
                  <a:prstDash val="solid"/>
                  <a:round/>
                  <a:headEnd/>
                  <a:tailEnd/>
                </a:ln>
                <a:effectLst/>
              </p:spPr>
              <p:txBody>
                <a:bodyPr/>
                <a:lstStyle/>
                <a:p>
                  <a:endParaRPr lang="de-DE" dirty="0"/>
                </a:p>
              </p:txBody>
            </p:sp>
            <p:sp>
              <p:nvSpPr>
                <p:cNvPr id="396" name="Freeform 315">
                  <a:extLst>
                    <a:ext uri="{FF2B5EF4-FFF2-40B4-BE49-F238E27FC236}">
                      <a16:creationId xmlns:a16="http://schemas.microsoft.com/office/drawing/2014/main" id="{325C9625-FA65-501F-FC5B-1D300D2D27D8}"/>
                    </a:ext>
                  </a:extLst>
                </p:cNvPr>
                <p:cNvSpPr>
                  <a:spLocks/>
                </p:cNvSpPr>
                <p:nvPr/>
              </p:nvSpPr>
              <p:spPr bwMode="gray">
                <a:xfrm>
                  <a:off x="5196060" y="4116872"/>
                  <a:ext cx="38615" cy="77272"/>
                </a:xfrm>
                <a:custGeom>
                  <a:avLst/>
                  <a:gdLst>
                    <a:gd name="T0" fmla="*/ 0 w 25"/>
                    <a:gd name="T1" fmla="*/ 0 h 51"/>
                    <a:gd name="T2" fmla="*/ 9 w 25"/>
                    <a:gd name="T3" fmla="*/ 0 h 51"/>
                    <a:gd name="T4" fmla="*/ 15 w 25"/>
                    <a:gd name="T5" fmla="*/ 9 h 51"/>
                    <a:gd name="T6" fmla="*/ 15 w 25"/>
                    <a:gd name="T7" fmla="*/ 17 h 51"/>
                    <a:gd name="T8" fmla="*/ 24 w 25"/>
                    <a:gd name="T9" fmla="*/ 25 h 51"/>
                    <a:gd name="T10" fmla="*/ 24 w 25"/>
                    <a:gd name="T11" fmla="*/ 34 h 51"/>
                    <a:gd name="T12" fmla="*/ 9 w 25"/>
                    <a:gd name="T13" fmla="*/ 50 h 51"/>
                    <a:gd name="T14" fmla="*/ 0 w 25"/>
                    <a:gd name="T15" fmla="*/ 41 h 51"/>
                    <a:gd name="T16" fmla="*/ 0 w 25"/>
                    <a:gd name="T17" fmla="*/ 9 h 51"/>
                    <a:gd name="T18" fmla="*/ 0 w 25"/>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397" name="Freeform 316">
                  <a:extLst>
                    <a:ext uri="{FF2B5EF4-FFF2-40B4-BE49-F238E27FC236}">
                      <a16:creationId xmlns:a16="http://schemas.microsoft.com/office/drawing/2014/main" id="{F74A8A83-9EB7-3BC5-50E6-583B355E79FB}"/>
                    </a:ext>
                  </a:extLst>
                </p:cNvPr>
                <p:cNvSpPr>
                  <a:spLocks/>
                </p:cNvSpPr>
                <p:nvPr/>
              </p:nvSpPr>
              <p:spPr bwMode="gray">
                <a:xfrm>
                  <a:off x="5257845" y="4070002"/>
                  <a:ext cx="126143" cy="86140"/>
                </a:xfrm>
                <a:custGeom>
                  <a:avLst/>
                  <a:gdLst>
                    <a:gd name="T0" fmla="*/ 81 w 82"/>
                    <a:gd name="T1" fmla="*/ 6 h 57"/>
                    <a:gd name="T2" fmla="*/ 81 w 82"/>
                    <a:gd name="T3" fmla="*/ 16 h 57"/>
                    <a:gd name="T4" fmla="*/ 74 w 82"/>
                    <a:gd name="T5" fmla="*/ 16 h 57"/>
                    <a:gd name="T6" fmla="*/ 66 w 82"/>
                    <a:gd name="T7" fmla="*/ 31 h 57"/>
                    <a:gd name="T8" fmla="*/ 74 w 82"/>
                    <a:gd name="T9" fmla="*/ 40 h 57"/>
                    <a:gd name="T10" fmla="*/ 58 w 82"/>
                    <a:gd name="T11" fmla="*/ 40 h 57"/>
                    <a:gd name="T12" fmla="*/ 49 w 82"/>
                    <a:gd name="T13" fmla="*/ 48 h 57"/>
                    <a:gd name="T14" fmla="*/ 41 w 82"/>
                    <a:gd name="T15" fmla="*/ 56 h 57"/>
                    <a:gd name="T16" fmla="*/ 24 w 82"/>
                    <a:gd name="T17" fmla="*/ 48 h 57"/>
                    <a:gd name="T18" fmla="*/ 9 w 82"/>
                    <a:gd name="T19" fmla="*/ 48 h 57"/>
                    <a:gd name="T20" fmla="*/ 9 w 82"/>
                    <a:gd name="T21" fmla="*/ 40 h 57"/>
                    <a:gd name="T22" fmla="*/ 0 w 82"/>
                    <a:gd name="T23" fmla="*/ 31 h 57"/>
                    <a:gd name="T24" fmla="*/ 9 w 82"/>
                    <a:gd name="T25" fmla="*/ 25 h 57"/>
                    <a:gd name="T26" fmla="*/ 0 w 82"/>
                    <a:gd name="T27" fmla="*/ 6 h 57"/>
                    <a:gd name="T28" fmla="*/ 0 w 82"/>
                    <a:gd name="T29" fmla="*/ 0 h 57"/>
                    <a:gd name="T30" fmla="*/ 9 w 82"/>
                    <a:gd name="T31" fmla="*/ 6 h 57"/>
                    <a:gd name="T32" fmla="*/ 16 w 82"/>
                    <a:gd name="T33" fmla="*/ 6 h 57"/>
                    <a:gd name="T34" fmla="*/ 41 w 82"/>
                    <a:gd name="T35" fmla="*/ 16 h 57"/>
                    <a:gd name="T36" fmla="*/ 58 w 82"/>
                    <a:gd name="T37" fmla="*/ 0 h 57"/>
                    <a:gd name="T38" fmla="*/ 81 w 82"/>
                    <a:gd name="T39"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98" name="Freeform 317">
                  <a:extLst>
                    <a:ext uri="{FF2B5EF4-FFF2-40B4-BE49-F238E27FC236}">
                      <a16:creationId xmlns:a16="http://schemas.microsoft.com/office/drawing/2014/main" id="{A5E93C45-C0EA-994E-DE8A-5F9885B4D455}"/>
                    </a:ext>
                  </a:extLst>
                </p:cNvPr>
                <p:cNvSpPr>
                  <a:spLocks/>
                </p:cNvSpPr>
                <p:nvPr/>
              </p:nvSpPr>
              <p:spPr bwMode="gray">
                <a:xfrm>
                  <a:off x="5132989" y="3947125"/>
                  <a:ext cx="126143" cy="86140"/>
                </a:xfrm>
                <a:custGeom>
                  <a:avLst/>
                  <a:gdLst>
                    <a:gd name="T0" fmla="*/ 33 w 82"/>
                    <a:gd name="T1" fmla="*/ 56 h 57"/>
                    <a:gd name="T2" fmla="*/ 50 w 82"/>
                    <a:gd name="T3" fmla="*/ 47 h 57"/>
                    <a:gd name="T4" fmla="*/ 65 w 82"/>
                    <a:gd name="T5" fmla="*/ 47 h 57"/>
                    <a:gd name="T6" fmla="*/ 74 w 82"/>
                    <a:gd name="T7" fmla="*/ 16 h 57"/>
                    <a:gd name="T8" fmla="*/ 81 w 82"/>
                    <a:gd name="T9" fmla="*/ 16 h 57"/>
                    <a:gd name="T10" fmla="*/ 74 w 82"/>
                    <a:gd name="T11" fmla="*/ 7 h 57"/>
                    <a:gd name="T12" fmla="*/ 56 w 82"/>
                    <a:gd name="T13" fmla="*/ 0 h 57"/>
                    <a:gd name="T14" fmla="*/ 25 w 82"/>
                    <a:gd name="T15" fmla="*/ 16 h 57"/>
                    <a:gd name="T16" fmla="*/ 10 w 82"/>
                    <a:gd name="T17" fmla="*/ 16 h 57"/>
                    <a:gd name="T18" fmla="*/ 0 w 82"/>
                    <a:gd name="T19" fmla="*/ 32 h 57"/>
                    <a:gd name="T20" fmla="*/ 0 w 82"/>
                    <a:gd name="T21" fmla="*/ 40 h 57"/>
                    <a:gd name="T22" fmla="*/ 25 w 82"/>
                    <a:gd name="T23" fmla="*/ 56 h 57"/>
                    <a:gd name="T24" fmla="*/ 33 w 82"/>
                    <a:gd name="T25"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399" name="Freeform 318">
                  <a:extLst>
                    <a:ext uri="{FF2B5EF4-FFF2-40B4-BE49-F238E27FC236}">
                      <a16:creationId xmlns:a16="http://schemas.microsoft.com/office/drawing/2014/main" id="{826F8112-6D39-F21C-E6C8-E97F5E8D0CB1}"/>
                    </a:ext>
                  </a:extLst>
                </p:cNvPr>
                <p:cNvSpPr>
                  <a:spLocks/>
                </p:cNvSpPr>
                <p:nvPr/>
              </p:nvSpPr>
              <p:spPr bwMode="gray">
                <a:xfrm>
                  <a:off x="5082789" y="3995262"/>
                  <a:ext cx="51487" cy="38002"/>
                </a:xfrm>
                <a:custGeom>
                  <a:avLst/>
                  <a:gdLst>
                    <a:gd name="T0" fmla="*/ 32 w 33"/>
                    <a:gd name="T1" fmla="*/ 8 h 25"/>
                    <a:gd name="T2" fmla="*/ 25 w 33"/>
                    <a:gd name="T3" fmla="*/ 8 h 25"/>
                    <a:gd name="T4" fmla="*/ 17 w 33"/>
                    <a:gd name="T5" fmla="*/ 24 h 25"/>
                    <a:gd name="T6" fmla="*/ 8 w 33"/>
                    <a:gd name="T7" fmla="*/ 24 h 25"/>
                    <a:gd name="T8" fmla="*/ 0 w 33"/>
                    <a:gd name="T9" fmla="*/ 24 h 25"/>
                    <a:gd name="T10" fmla="*/ 0 w 33"/>
                    <a:gd name="T11" fmla="*/ 15 h 25"/>
                    <a:gd name="T12" fmla="*/ 0 w 33"/>
                    <a:gd name="T13" fmla="*/ 8 h 25"/>
                    <a:gd name="T14" fmla="*/ 32 w 33"/>
                    <a:gd name="T15" fmla="*/ 0 h 25"/>
                    <a:gd name="T16" fmla="*/ 32 w 33"/>
                    <a:gd name="T1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6350" cap="rnd" cmpd="sng">
                  <a:solidFill>
                    <a:srgbClr val="D0D0D0"/>
                  </a:solidFill>
                  <a:prstDash val="solid"/>
                  <a:round/>
                  <a:headEnd/>
                  <a:tailEnd/>
                </a:ln>
                <a:effectLst/>
              </p:spPr>
              <p:txBody>
                <a:bodyPr/>
                <a:lstStyle/>
                <a:p>
                  <a:endParaRPr lang="de-DE" dirty="0"/>
                </a:p>
              </p:txBody>
            </p:sp>
            <p:sp>
              <p:nvSpPr>
                <p:cNvPr id="400" name="Freeform 319">
                  <a:extLst>
                    <a:ext uri="{FF2B5EF4-FFF2-40B4-BE49-F238E27FC236}">
                      <a16:creationId xmlns:a16="http://schemas.microsoft.com/office/drawing/2014/main" id="{629E1458-A690-CCD3-ECBD-34C9B908912C}"/>
                    </a:ext>
                  </a:extLst>
                </p:cNvPr>
                <p:cNvSpPr>
                  <a:spLocks/>
                </p:cNvSpPr>
                <p:nvPr/>
              </p:nvSpPr>
              <p:spPr bwMode="gray">
                <a:xfrm>
                  <a:off x="5082789" y="4007930"/>
                  <a:ext cx="114558" cy="110208"/>
                </a:xfrm>
                <a:custGeom>
                  <a:avLst/>
                  <a:gdLst>
                    <a:gd name="T0" fmla="*/ 32 w 74"/>
                    <a:gd name="T1" fmla="*/ 0 h 73"/>
                    <a:gd name="T2" fmla="*/ 57 w 74"/>
                    <a:gd name="T3" fmla="*/ 16 h 73"/>
                    <a:gd name="T4" fmla="*/ 65 w 74"/>
                    <a:gd name="T5" fmla="*/ 16 h 73"/>
                    <a:gd name="T6" fmla="*/ 73 w 74"/>
                    <a:gd name="T7" fmla="*/ 25 h 73"/>
                    <a:gd name="T8" fmla="*/ 73 w 74"/>
                    <a:gd name="T9" fmla="*/ 32 h 73"/>
                    <a:gd name="T10" fmla="*/ 65 w 74"/>
                    <a:gd name="T11" fmla="*/ 32 h 73"/>
                    <a:gd name="T12" fmla="*/ 65 w 74"/>
                    <a:gd name="T13" fmla="*/ 25 h 73"/>
                    <a:gd name="T14" fmla="*/ 42 w 74"/>
                    <a:gd name="T15" fmla="*/ 16 h 73"/>
                    <a:gd name="T16" fmla="*/ 32 w 74"/>
                    <a:gd name="T17" fmla="*/ 25 h 73"/>
                    <a:gd name="T18" fmla="*/ 32 w 74"/>
                    <a:gd name="T19" fmla="*/ 16 h 73"/>
                    <a:gd name="T20" fmla="*/ 25 w 74"/>
                    <a:gd name="T21" fmla="*/ 25 h 73"/>
                    <a:gd name="T22" fmla="*/ 32 w 74"/>
                    <a:gd name="T23" fmla="*/ 32 h 73"/>
                    <a:gd name="T24" fmla="*/ 48 w 74"/>
                    <a:gd name="T25" fmla="*/ 57 h 73"/>
                    <a:gd name="T26" fmla="*/ 57 w 74"/>
                    <a:gd name="T27" fmla="*/ 66 h 73"/>
                    <a:gd name="T28" fmla="*/ 57 w 74"/>
                    <a:gd name="T29" fmla="*/ 72 h 73"/>
                    <a:gd name="T30" fmla="*/ 42 w 74"/>
                    <a:gd name="T31" fmla="*/ 57 h 73"/>
                    <a:gd name="T32" fmla="*/ 32 w 74"/>
                    <a:gd name="T33" fmla="*/ 57 h 73"/>
                    <a:gd name="T34" fmla="*/ 17 w 74"/>
                    <a:gd name="T35" fmla="*/ 41 h 73"/>
                    <a:gd name="T36" fmla="*/ 17 w 74"/>
                    <a:gd name="T37" fmla="*/ 25 h 73"/>
                    <a:gd name="T38" fmla="*/ 8 w 74"/>
                    <a:gd name="T39" fmla="*/ 25 h 73"/>
                    <a:gd name="T40" fmla="*/ 0 w 74"/>
                    <a:gd name="T41" fmla="*/ 32 h 73"/>
                    <a:gd name="T42" fmla="*/ 0 w 74"/>
                    <a:gd name="T43" fmla="*/ 16 h 73"/>
                    <a:gd name="T44" fmla="*/ 17 w 74"/>
                    <a:gd name="T45" fmla="*/ 16 h 73"/>
                    <a:gd name="T46" fmla="*/ 25 w 74"/>
                    <a:gd name="T47" fmla="*/ 0 h 73"/>
                    <a:gd name="T48" fmla="*/ 32 w 74"/>
                    <a:gd name="T4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6350" cap="rnd" cmpd="sng">
                  <a:solidFill>
                    <a:srgbClr val="D0D0D0"/>
                  </a:solidFill>
                  <a:prstDash val="solid"/>
                  <a:round/>
                  <a:headEnd/>
                  <a:tailEnd/>
                </a:ln>
                <a:effectLst/>
              </p:spPr>
              <p:txBody>
                <a:bodyPr/>
                <a:lstStyle/>
                <a:p>
                  <a:endParaRPr lang="de-DE" dirty="0"/>
                </a:p>
              </p:txBody>
            </p:sp>
            <p:sp>
              <p:nvSpPr>
                <p:cNvPr id="401" name="Freeform 320">
                  <a:extLst>
                    <a:ext uri="{FF2B5EF4-FFF2-40B4-BE49-F238E27FC236}">
                      <a16:creationId xmlns:a16="http://schemas.microsoft.com/office/drawing/2014/main" id="{A6F78CF2-83D9-09CB-2E30-D2918E8AA95F}"/>
                    </a:ext>
                  </a:extLst>
                </p:cNvPr>
                <p:cNvSpPr>
                  <a:spLocks/>
                </p:cNvSpPr>
                <p:nvPr/>
              </p:nvSpPr>
              <p:spPr bwMode="gray">
                <a:xfrm>
                  <a:off x="5171604" y="4094069"/>
                  <a:ext cx="39902" cy="38002"/>
                </a:xfrm>
                <a:custGeom>
                  <a:avLst/>
                  <a:gdLst>
                    <a:gd name="T0" fmla="*/ 0 w 26"/>
                    <a:gd name="T1" fmla="*/ 15 h 25"/>
                    <a:gd name="T2" fmla="*/ 16 w 26"/>
                    <a:gd name="T3" fmla="*/ 24 h 25"/>
                    <a:gd name="T4" fmla="*/ 16 w 26"/>
                    <a:gd name="T5" fmla="*/ 15 h 25"/>
                    <a:gd name="T6" fmla="*/ 25 w 26"/>
                    <a:gd name="T7" fmla="*/ 15 h 25"/>
                    <a:gd name="T8" fmla="*/ 25 w 26"/>
                    <a:gd name="T9" fmla="*/ 9 h 25"/>
                    <a:gd name="T10" fmla="*/ 16 w 26"/>
                    <a:gd name="T11" fmla="*/ 0 h 25"/>
                    <a:gd name="T12" fmla="*/ 8 w 26"/>
                    <a:gd name="T13" fmla="*/ 0 h 25"/>
                    <a:gd name="T14" fmla="*/ 0 w 26"/>
                    <a:gd name="T15" fmla="*/ 9 h 25"/>
                    <a:gd name="T16" fmla="*/ 0 w 26"/>
                    <a:gd name="T1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6350" cap="rnd" cmpd="sng">
                  <a:solidFill>
                    <a:srgbClr val="D0D0D0"/>
                  </a:solidFill>
                  <a:prstDash val="solid"/>
                  <a:round/>
                  <a:headEnd/>
                  <a:tailEnd/>
                </a:ln>
                <a:effectLst/>
              </p:spPr>
              <p:txBody>
                <a:bodyPr/>
                <a:lstStyle/>
                <a:p>
                  <a:endParaRPr lang="de-DE" dirty="0"/>
                </a:p>
              </p:txBody>
            </p:sp>
            <p:sp>
              <p:nvSpPr>
                <p:cNvPr id="402" name="Freeform 321">
                  <a:extLst>
                    <a:ext uri="{FF2B5EF4-FFF2-40B4-BE49-F238E27FC236}">
                      <a16:creationId xmlns:a16="http://schemas.microsoft.com/office/drawing/2014/main" id="{8121EC82-BF4E-B594-D95C-491A0AEFDC43}"/>
                    </a:ext>
                  </a:extLst>
                </p:cNvPr>
                <p:cNvSpPr>
                  <a:spLocks/>
                </p:cNvSpPr>
                <p:nvPr/>
              </p:nvSpPr>
              <p:spPr bwMode="gray">
                <a:xfrm>
                  <a:off x="5183189" y="4018064"/>
                  <a:ext cx="90102" cy="114008"/>
                </a:xfrm>
                <a:custGeom>
                  <a:avLst/>
                  <a:gdLst>
                    <a:gd name="T0" fmla="*/ 8 w 58"/>
                    <a:gd name="T1" fmla="*/ 25 h 75"/>
                    <a:gd name="T2" fmla="*/ 8 w 58"/>
                    <a:gd name="T3" fmla="*/ 18 h 75"/>
                    <a:gd name="T4" fmla="*/ 0 w 58"/>
                    <a:gd name="T5" fmla="*/ 9 h 75"/>
                    <a:gd name="T6" fmla="*/ 17 w 58"/>
                    <a:gd name="T7" fmla="*/ 0 h 75"/>
                    <a:gd name="T8" fmla="*/ 32 w 58"/>
                    <a:gd name="T9" fmla="*/ 25 h 75"/>
                    <a:gd name="T10" fmla="*/ 48 w 58"/>
                    <a:gd name="T11" fmla="*/ 25 h 75"/>
                    <a:gd name="T12" fmla="*/ 48 w 58"/>
                    <a:gd name="T13" fmla="*/ 34 h 75"/>
                    <a:gd name="T14" fmla="*/ 48 w 58"/>
                    <a:gd name="T15" fmla="*/ 40 h 75"/>
                    <a:gd name="T16" fmla="*/ 57 w 58"/>
                    <a:gd name="T17" fmla="*/ 59 h 75"/>
                    <a:gd name="T18" fmla="*/ 48 w 58"/>
                    <a:gd name="T19" fmla="*/ 65 h 75"/>
                    <a:gd name="T20" fmla="*/ 32 w 58"/>
                    <a:gd name="T21" fmla="*/ 65 h 75"/>
                    <a:gd name="T22" fmla="*/ 23 w 58"/>
                    <a:gd name="T23" fmla="*/ 74 h 75"/>
                    <a:gd name="T24" fmla="*/ 17 w 58"/>
                    <a:gd name="T25" fmla="*/ 65 h 75"/>
                    <a:gd name="T26" fmla="*/ 17 w 58"/>
                    <a:gd name="T27" fmla="*/ 59 h 75"/>
                    <a:gd name="T28" fmla="*/ 8 w 58"/>
                    <a:gd name="T29" fmla="*/ 50 h 75"/>
                    <a:gd name="T30" fmla="*/ 8 w 58"/>
                    <a:gd name="T31"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6350" cap="rnd" cmpd="sng">
                  <a:solidFill>
                    <a:srgbClr val="D0D0D0"/>
                  </a:solidFill>
                  <a:prstDash val="solid"/>
                  <a:round/>
                  <a:headEnd/>
                  <a:tailEnd/>
                </a:ln>
                <a:effectLst/>
              </p:spPr>
              <p:txBody>
                <a:bodyPr/>
                <a:lstStyle/>
                <a:p>
                  <a:endParaRPr lang="de-DE" dirty="0"/>
                </a:p>
              </p:txBody>
            </p:sp>
            <p:sp>
              <p:nvSpPr>
                <p:cNvPr id="403" name="Freeform 322">
                  <a:extLst>
                    <a:ext uri="{FF2B5EF4-FFF2-40B4-BE49-F238E27FC236}">
                      <a16:creationId xmlns:a16="http://schemas.microsoft.com/office/drawing/2014/main" id="{8FDDD953-23B0-DD48-16C2-58088EBD72C0}"/>
                    </a:ext>
                  </a:extLst>
                </p:cNvPr>
                <p:cNvSpPr>
                  <a:spLocks/>
                </p:cNvSpPr>
                <p:nvPr/>
              </p:nvSpPr>
              <p:spPr bwMode="gray">
                <a:xfrm>
                  <a:off x="5219230" y="4116872"/>
                  <a:ext cx="54061" cy="39270"/>
                </a:xfrm>
                <a:custGeom>
                  <a:avLst/>
                  <a:gdLst>
                    <a:gd name="T0" fmla="*/ 9 w 35"/>
                    <a:gd name="T1" fmla="*/ 25 h 26"/>
                    <a:gd name="T2" fmla="*/ 0 w 35"/>
                    <a:gd name="T3" fmla="*/ 17 h 26"/>
                    <a:gd name="T4" fmla="*/ 0 w 35"/>
                    <a:gd name="T5" fmla="*/ 9 h 26"/>
                    <a:gd name="T6" fmla="*/ 9 w 35"/>
                    <a:gd name="T7" fmla="*/ 0 h 26"/>
                    <a:gd name="T8" fmla="*/ 25 w 35"/>
                    <a:gd name="T9" fmla="*/ 0 h 26"/>
                    <a:gd name="T10" fmla="*/ 34 w 35"/>
                    <a:gd name="T11" fmla="*/ 9 h 26"/>
                    <a:gd name="T12" fmla="*/ 34 w 35"/>
                    <a:gd name="T13" fmla="*/ 17 h 26"/>
                    <a:gd name="T14" fmla="*/ 9 w 35"/>
                    <a:gd name="T15" fmla="*/ 2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6350" cap="rnd" cmpd="sng">
                  <a:solidFill>
                    <a:srgbClr val="D0D0D0"/>
                  </a:solidFill>
                  <a:prstDash val="solid"/>
                  <a:round/>
                  <a:headEnd/>
                  <a:tailEnd/>
                </a:ln>
                <a:effectLst/>
              </p:spPr>
              <p:txBody>
                <a:bodyPr/>
                <a:lstStyle/>
                <a:p>
                  <a:endParaRPr lang="de-DE" dirty="0"/>
                </a:p>
              </p:txBody>
            </p:sp>
            <p:sp>
              <p:nvSpPr>
                <p:cNvPr id="404" name="Freeform 323">
                  <a:extLst>
                    <a:ext uri="{FF2B5EF4-FFF2-40B4-BE49-F238E27FC236}">
                      <a16:creationId xmlns:a16="http://schemas.microsoft.com/office/drawing/2014/main" id="{BD679AEF-AB26-D1B1-291E-8E1057D29224}"/>
                    </a:ext>
                  </a:extLst>
                </p:cNvPr>
                <p:cNvSpPr>
                  <a:spLocks/>
                </p:cNvSpPr>
                <p:nvPr/>
              </p:nvSpPr>
              <p:spPr bwMode="gray">
                <a:xfrm>
                  <a:off x="5121404" y="4031998"/>
                  <a:ext cx="75943" cy="77272"/>
                </a:xfrm>
                <a:custGeom>
                  <a:avLst/>
                  <a:gdLst>
                    <a:gd name="T0" fmla="*/ 7 w 49"/>
                    <a:gd name="T1" fmla="*/ 16 h 51"/>
                    <a:gd name="T2" fmla="*/ 23 w 49"/>
                    <a:gd name="T3" fmla="*/ 41 h 51"/>
                    <a:gd name="T4" fmla="*/ 32 w 49"/>
                    <a:gd name="T5" fmla="*/ 50 h 51"/>
                    <a:gd name="T6" fmla="*/ 40 w 49"/>
                    <a:gd name="T7" fmla="*/ 41 h 51"/>
                    <a:gd name="T8" fmla="*/ 48 w 49"/>
                    <a:gd name="T9" fmla="*/ 41 h 51"/>
                    <a:gd name="T10" fmla="*/ 48 w 49"/>
                    <a:gd name="T11" fmla="*/ 16 h 51"/>
                    <a:gd name="T12" fmla="*/ 40 w 49"/>
                    <a:gd name="T13" fmla="*/ 16 h 51"/>
                    <a:gd name="T14" fmla="*/ 40 w 49"/>
                    <a:gd name="T15" fmla="*/ 9 h 51"/>
                    <a:gd name="T16" fmla="*/ 17 w 49"/>
                    <a:gd name="T17" fmla="*/ 0 h 51"/>
                    <a:gd name="T18" fmla="*/ 7 w 49"/>
                    <a:gd name="T19" fmla="*/ 9 h 51"/>
                    <a:gd name="T20" fmla="*/ 7 w 49"/>
                    <a:gd name="T21" fmla="*/ 0 h 51"/>
                    <a:gd name="T22" fmla="*/ 0 w 49"/>
                    <a:gd name="T23" fmla="*/ 9 h 51"/>
                    <a:gd name="T24" fmla="*/ 7 w 49"/>
                    <a:gd name="T25"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6350" cap="rnd" cmpd="sng">
                  <a:solidFill>
                    <a:srgbClr val="D0D0D0"/>
                  </a:solidFill>
                  <a:prstDash val="solid"/>
                  <a:round/>
                  <a:headEnd/>
                  <a:tailEnd/>
                </a:ln>
                <a:effectLst/>
              </p:spPr>
              <p:txBody>
                <a:bodyPr/>
                <a:lstStyle/>
                <a:p>
                  <a:endParaRPr lang="de-DE" dirty="0"/>
                </a:p>
              </p:txBody>
            </p:sp>
            <p:sp>
              <p:nvSpPr>
                <p:cNvPr id="405" name="Freeform 324">
                  <a:extLst>
                    <a:ext uri="{FF2B5EF4-FFF2-40B4-BE49-F238E27FC236}">
                      <a16:creationId xmlns:a16="http://schemas.microsoft.com/office/drawing/2014/main" id="{46AF1EBF-3B08-4699-9A13-A2C09EAA6F87}"/>
                    </a:ext>
                  </a:extLst>
                </p:cNvPr>
                <p:cNvSpPr>
                  <a:spLocks/>
                </p:cNvSpPr>
                <p:nvPr/>
              </p:nvSpPr>
              <p:spPr bwMode="gray">
                <a:xfrm>
                  <a:off x="5046748" y="3871119"/>
                  <a:ext cx="137728" cy="77272"/>
                </a:xfrm>
                <a:custGeom>
                  <a:avLst/>
                  <a:gdLst>
                    <a:gd name="T0" fmla="*/ 89 w 90"/>
                    <a:gd name="T1" fmla="*/ 34 h 51"/>
                    <a:gd name="T2" fmla="*/ 72 w 90"/>
                    <a:gd name="T3" fmla="*/ 17 h 51"/>
                    <a:gd name="T4" fmla="*/ 66 w 90"/>
                    <a:gd name="T5" fmla="*/ 17 h 51"/>
                    <a:gd name="T6" fmla="*/ 49 w 90"/>
                    <a:gd name="T7" fmla="*/ 9 h 51"/>
                    <a:gd name="T8" fmla="*/ 41 w 90"/>
                    <a:gd name="T9" fmla="*/ 0 h 51"/>
                    <a:gd name="T10" fmla="*/ 32 w 90"/>
                    <a:gd name="T11" fmla="*/ 0 h 51"/>
                    <a:gd name="T12" fmla="*/ 16 w 90"/>
                    <a:gd name="T13" fmla="*/ 9 h 51"/>
                    <a:gd name="T14" fmla="*/ 0 w 90"/>
                    <a:gd name="T15" fmla="*/ 17 h 51"/>
                    <a:gd name="T16" fmla="*/ 9 w 90"/>
                    <a:gd name="T17" fmla="*/ 34 h 51"/>
                    <a:gd name="T18" fmla="*/ 24 w 90"/>
                    <a:gd name="T19" fmla="*/ 50 h 51"/>
                    <a:gd name="T20" fmla="*/ 41 w 90"/>
                    <a:gd name="T21" fmla="*/ 50 h 51"/>
                    <a:gd name="T22" fmla="*/ 41 w 90"/>
                    <a:gd name="T23" fmla="*/ 42 h 51"/>
                    <a:gd name="T24" fmla="*/ 66 w 90"/>
                    <a:gd name="T25" fmla="*/ 50 h 51"/>
                    <a:gd name="T26" fmla="*/ 89 w 90"/>
                    <a:gd name="T27"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06" name="Freeform 328">
                  <a:extLst>
                    <a:ext uri="{FF2B5EF4-FFF2-40B4-BE49-F238E27FC236}">
                      <a16:creationId xmlns:a16="http://schemas.microsoft.com/office/drawing/2014/main" id="{F3FD87DB-D7F4-3400-81FF-0255F3C6F19F}"/>
                    </a:ext>
                  </a:extLst>
                </p:cNvPr>
                <p:cNvSpPr>
                  <a:spLocks/>
                </p:cNvSpPr>
                <p:nvPr/>
              </p:nvSpPr>
              <p:spPr bwMode="gray">
                <a:xfrm>
                  <a:off x="5328639" y="3947125"/>
                  <a:ext cx="84954" cy="93740"/>
                </a:xfrm>
                <a:custGeom>
                  <a:avLst/>
                  <a:gdLst>
                    <a:gd name="T0" fmla="*/ 36 w 53"/>
                    <a:gd name="T1" fmla="*/ 41 h 60"/>
                    <a:gd name="T2" fmla="*/ 53 w 53"/>
                    <a:gd name="T3" fmla="*/ 39 h 60"/>
                    <a:gd name="T4" fmla="*/ 44 w 53"/>
                    <a:gd name="T5" fmla="*/ 18 h 60"/>
                    <a:gd name="T6" fmla="*/ 45 w 53"/>
                    <a:gd name="T7" fmla="*/ 5 h 60"/>
                    <a:gd name="T8" fmla="*/ 18 w 53"/>
                    <a:gd name="T9" fmla="*/ 0 h 60"/>
                    <a:gd name="T10" fmla="*/ 0 w 53"/>
                    <a:gd name="T11" fmla="*/ 9 h 60"/>
                    <a:gd name="T12" fmla="*/ 12 w 53"/>
                    <a:gd name="T13" fmla="*/ 11 h 60"/>
                    <a:gd name="T14" fmla="*/ 26 w 53"/>
                    <a:gd name="T15" fmla="*/ 36 h 60"/>
                    <a:gd name="T16" fmla="*/ 27 w 53"/>
                    <a:gd name="T17" fmla="*/ 60 h 60"/>
                    <a:gd name="T18" fmla="*/ 36 w 53"/>
                    <a:gd name="T19"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6350" cap="flat" cmpd="sng">
                  <a:solidFill>
                    <a:srgbClr val="D0D0D0"/>
                  </a:solidFill>
                  <a:prstDash val="solid"/>
                  <a:round/>
                  <a:headEnd type="none" w="med" len="med"/>
                  <a:tailEnd type="none" w="med" len="med"/>
                </a:ln>
                <a:effectLst/>
              </p:spPr>
              <p:txBody>
                <a:bodyPr wrap="none" anchor="ctr"/>
                <a:lstStyle/>
                <a:p>
                  <a:endParaRPr lang="de-DE" dirty="0"/>
                </a:p>
              </p:txBody>
            </p:sp>
          </p:grpSp>
          <p:sp>
            <p:nvSpPr>
              <p:cNvPr id="325" name="Freeform 133">
                <a:extLst>
                  <a:ext uri="{FF2B5EF4-FFF2-40B4-BE49-F238E27FC236}">
                    <a16:creationId xmlns:a16="http://schemas.microsoft.com/office/drawing/2014/main" id="{1C6EDEBC-CA10-B699-F924-D4CBDE58E165}"/>
                  </a:ext>
                </a:extLst>
              </p:cNvPr>
              <p:cNvSpPr>
                <a:spLocks/>
              </p:cNvSpPr>
              <p:nvPr/>
            </p:nvSpPr>
            <p:spPr bwMode="gray">
              <a:xfrm>
                <a:off x="5208932" y="3957709"/>
                <a:ext cx="187928" cy="138077"/>
              </a:xfrm>
              <a:custGeom>
                <a:avLst/>
                <a:gdLst>
                  <a:gd name="T0" fmla="*/ 15 w 122"/>
                  <a:gd name="T1" fmla="*/ 65 h 91"/>
                  <a:gd name="T2" fmla="*/ 31 w 122"/>
                  <a:gd name="T3" fmla="*/ 65 h 91"/>
                  <a:gd name="T4" fmla="*/ 31 w 122"/>
                  <a:gd name="T5" fmla="*/ 74 h 91"/>
                  <a:gd name="T6" fmla="*/ 40 w 122"/>
                  <a:gd name="T7" fmla="*/ 80 h 91"/>
                  <a:gd name="T8" fmla="*/ 47 w 122"/>
                  <a:gd name="T9" fmla="*/ 80 h 91"/>
                  <a:gd name="T10" fmla="*/ 72 w 122"/>
                  <a:gd name="T11" fmla="*/ 90 h 91"/>
                  <a:gd name="T12" fmla="*/ 89 w 122"/>
                  <a:gd name="T13" fmla="*/ 74 h 91"/>
                  <a:gd name="T14" fmla="*/ 112 w 122"/>
                  <a:gd name="T15" fmla="*/ 80 h 91"/>
                  <a:gd name="T16" fmla="*/ 112 w 122"/>
                  <a:gd name="T17" fmla="*/ 74 h 91"/>
                  <a:gd name="T18" fmla="*/ 121 w 122"/>
                  <a:gd name="T19" fmla="*/ 65 h 91"/>
                  <a:gd name="T20" fmla="*/ 121 w 122"/>
                  <a:gd name="T21" fmla="*/ 58 h 91"/>
                  <a:gd name="T22" fmla="*/ 105 w 122"/>
                  <a:gd name="T23" fmla="*/ 58 h 91"/>
                  <a:gd name="T24" fmla="*/ 105 w 122"/>
                  <a:gd name="T25" fmla="*/ 49 h 91"/>
                  <a:gd name="T26" fmla="*/ 105 w 122"/>
                  <a:gd name="T27" fmla="*/ 25 h 91"/>
                  <a:gd name="T28" fmla="*/ 89 w 122"/>
                  <a:gd name="T29" fmla="*/ 0 h 91"/>
                  <a:gd name="T30" fmla="*/ 80 w 122"/>
                  <a:gd name="T31" fmla="*/ 0 h 91"/>
                  <a:gd name="T32" fmla="*/ 65 w 122"/>
                  <a:gd name="T33" fmla="*/ 9 h 91"/>
                  <a:gd name="T34" fmla="*/ 55 w 122"/>
                  <a:gd name="T35" fmla="*/ 9 h 91"/>
                  <a:gd name="T36" fmla="*/ 31 w 122"/>
                  <a:gd name="T37" fmla="*/ 9 h 91"/>
                  <a:gd name="T38" fmla="*/ 24 w 122"/>
                  <a:gd name="T39" fmla="*/ 9 h 91"/>
                  <a:gd name="T40" fmla="*/ 15 w 122"/>
                  <a:gd name="T41" fmla="*/ 40 h 91"/>
                  <a:gd name="T42" fmla="*/ 0 w 122"/>
                  <a:gd name="T43" fmla="*/ 40 h 91"/>
                  <a:gd name="T44" fmla="*/ 15 w 122"/>
                  <a:gd name="T45" fmla="*/ 6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grpSp>
        <p:grpSp>
          <p:nvGrpSpPr>
            <p:cNvPr id="54" name="Gruppieren 16">
              <a:extLst>
                <a:ext uri="{FF2B5EF4-FFF2-40B4-BE49-F238E27FC236}">
                  <a16:creationId xmlns:a16="http://schemas.microsoft.com/office/drawing/2014/main" id="{4D8E6D76-318C-1F36-204D-A3E9989B83E3}"/>
                </a:ext>
              </a:extLst>
            </p:cNvPr>
            <p:cNvGrpSpPr/>
            <p:nvPr/>
          </p:nvGrpSpPr>
          <p:grpSpPr bwMode="gray">
            <a:xfrm>
              <a:off x="4149044" y="3234064"/>
              <a:ext cx="3530670" cy="2361849"/>
              <a:chOff x="4471381" y="3624512"/>
              <a:chExt cx="3858945" cy="2441045"/>
            </a:xfrm>
            <a:solidFill>
              <a:srgbClr val="D0D0D0"/>
            </a:solidFill>
          </p:grpSpPr>
          <p:sp>
            <p:nvSpPr>
              <p:cNvPr id="171" name="Freihandform 104">
                <a:extLst>
                  <a:ext uri="{FF2B5EF4-FFF2-40B4-BE49-F238E27FC236}">
                    <a16:creationId xmlns:a16="http://schemas.microsoft.com/office/drawing/2014/main" id="{D38298F5-2CDA-CA31-5D98-B80FB413BD07}"/>
                  </a:ext>
                </a:extLst>
              </p:cNvPr>
              <p:cNvSpPr/>
              <p:nvPr/>
            </p:nvSpPr>
            <p:spPr bwMode="gray">
              <a:xfrm>
                <a:off x="6141244" y="4171950"/>
                <a:ext cx="178594" cy="126206"/>
              </a:xfrm>
              <a:custGeom>
                <a:avLst/>
                <a:gdLst>
                  <a:gd name="connsiteX0" fmla="*/ 0 w 178594"/>
                  <a:gd name="connsiteY0" fmla="*/ 104775 h 126206"/>
                  <a:gd name="connsiteX1" fmla="*/ 2381 w 178594"/>
                  <a:gd name="connsiteY1" fmla="*/ 42863 h 126206"/>
                  <a:gd name="connsiteX2" fmla="*/ 26194 w 178594"/>
                  <a:gd name="connsiteY2" fmla="*/ 35719 h 126206"/>
                  <a:gd name="connsiteX3" fmla="*/ 52387 w 178594"/>
                  <a:gd name="connsiteY3" fmla="*/ 0 h 126206"/>
                  <a:gd name="connsiteX4" fmla="*/ 69056 w 178594"/>
                  <a:gd name="connsiteY4" fmla="*/ 7144 h 126206"/>
                  <a:gd name="connsiteX5" fmla="*/ 88106 w 178594"/>
                  <a:gd name="connsiteY5" fmla="*/ 30956 h 126206"/>
                  <a:gd name="connsiteX6" fmla="*/ 150019 w 178594"/>
                  <a:gd name="connsiteY6" fmla="*/ 40481 h 126206"/>
                  <a:gd name="connsiteX7" fmla="*/ 178594 w 178594"/>
                  <a:gd name="connsiteY7" fmla="*/ 66675 h 126206"/>
                  <a:gd name="connsiteX8" fmla="*/ 173831 w 178594"/>
                  <a:gd name="connsiteY8" fmla="*/ 111919 h 126206"/>
                  <a:gd name="connsiteX9" fmla="*/ 135731 w 178594"/>
                  <a:gd name="connsiteY9" fmla="*/ 119063 h 126206"/>
                  <a:gd name="connsiteX10" fmla="*/ 92869 w 178594"/>
                  <a:gd name="connsiteY10" fmla="*/ 126206 h 126206"/>
                  <a:gd name="connsiteX11" fmla="*/ 61912 w 178594"/>
                  <a:gd name="connsiteY11" fmla="*/ 107156 h 126206"/>
                  <a:gd name="connsiteX12" fmla="*/ 0 w 178594"/>
                  <a:gd name="connsiteY12" fmla="*/ 104775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594" h="126206">
                    <a:moveTo>
                      <a:pt x="0" y="104775"/>
                    </a:moveTo>
                    <a:cubicBezTo>
                      <a:pt x="794" y="84138"/>
                      <a:pt x="1587" y="63500"/>
                      <a:pt x="2381" y="42863"/>
                    </a:cubicBezTo>
                    <a:lnTo>
                      <a:pt x="26194" y="35719"/>
                    </a:lnTo>
                    <a:lnTo>
                      <a:pt x="52387" y="0"/>
                    </a:lnTo>
                    <a:lnTo>
                      <a:pt x="69056" y="7144"/>
                    </a:lnTo>
                    <a:lnTo>
                      <a:pt x="88106" y="30956"/>
                    </a:lnTo>
                    <a:lnTo>
                      <a:pt x="150019" y="40481"/>
                    </a:lnTo>
                    <a:lnTo>
                      <a:pt x="178594" y="66675"/>
                    </a:lnTo>
                    <a:lnTo>
                      <a:pt x="173831" y="111919"/>
                    </a:lnTo>
                    <a:lnTo>
                      <a:pt x="135731" y="119063"/>
                    </a:lnTo>
                    <a:lnTo>
                      <a:pt x="92869" y="126206"/>
                    </a:lnTo>
                    <a:lnTo>
                      <a:pt x="61912" y="107156"/>
                    </a:lnTo>
                    <a:lnTo>
                      <a:pt x="0" y="104775"/>
                    </a:lnTo>
                    <a:close/>
                  </a:path>
                </a:pathLst>
              </a:custGeom>
              <a:grpFill/>
              <a:ln>
                <a:solidFill>
                  <a:srgbClr val="D0D0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p>
            </p:txBody>
          </p:sp>
          <p:grpSp>
            <p:nvGrpSpPr>
              <p:cNvPr id="172" name="Gruppieren 15">
                <a:extLst>
                  <a:ext uri="{FF2B5EF4-FFF2-40B4-BE49-F238E27FC236}">
                    <a16:creationId xmlns:a16="http://schemas.microsoft.com/office/drawing/2014/main" id="{330993DD-9613-7D7D-CE47-D9DC6475E1E4}"/>
                  </a:ext>
                </a:extLst>
              </p:cNvPr>
              <p:cNvGrpSpPr/>
              <p:nvPr/>
            </p:nvGrpSpPr>
            <p:grpSpPr bwMode="gray">
              <a:xfrm>
                <a:off x="4471381" y="3624512"/>
                <a:ext cx="3858945" cy="2441045"/>
                <a:chOff x="4471381" y="3624512"/>
                <a:chExt cx="3858945" cy="2441045"/>
              </a:xfrm>
              <a:grpFill/>
            </p:grpSpPr>
            <p:sp>
              <p:nvSpPr>
                <p:cNvPr id="173" name="Freeform 18">
                  <a:extLst>
                    <a:ext uri="{FF2B5EF4-FFF2-40B4-BE49-F238E27FC236}">
                      <a16:creationId xmlns:a16="http://schemas.microsoft.com/office/drawing/2014/main" id="{98D1FBA0-1667-EC89-E154-B8876C2EC719}"/>
                    </a:ext>
                  </a:extLst>
                </p:cNvPr>
                <p:cNvSpPr>
                  <a:spLocks/>
                </p:cNvSpPr>
                <p:nvPr/>
              </p:nvSpPr>
              <p:spPr bwMode="gray">
                <a:xfrm>
                  <a:off x="4646437" y="4273092"/>
                  <a:ext cx="401598" cy="392695"/>
                </a:xfrm>
                <a:custGeom>
                  <a:avLst/>
                  <a:gdLst>
                    <a:gd name="T0" fmla="*/ 82 w 261"/>
                    <a:gd name="T1" fmla="*/ 32 h 259"/>
                    <a:gd name="T2" fmla="*/ 90 w 261"/>
                    <a:gd name="T3" fmla="*/ 32 h 259"/>
                    <a:gd name="T4" fmla="*/ 98 w 261"/>
                    <a:gd name="T5" fmla="*/ 72 h 259"/>
                    <a:gd name="T6" fmla="*/ 65 w 261"/>
                    <a:gd name="T7" fmla="*/ 81 h 259"/>
                    <a:gd name="T8" fmla="*/ 65 w 261"/>
                    <a:gd name="T9" fmla="*/ 90 h 259"/>
                    <a:gd name="T10" fmla="*/ 42 w 261"/>
                    <a:gd name="T11" fmla="*/ 106 h 259"/>
                    <a:gd name="T12" fmla="*/ 8 w 261"/>
                    <a:gd name="T13" fmla="*/ 121 h 259"/>
                    <a:gd name="T14" fmla="*/ 0 w 261"/>
                    <a:gd name="T15" fmla="*/ 129 h 259"/>
                    <a:gd name="T16" fmla="*/ 0 w 261"/>
                    <a:gd name="T17" fmla="*/ 146 h 259"/>
                    <a:gd name="T18" fmla="*/ 48 w 261"/>
                    <a:gd name="T19" fmla="*/ 178 h 259"/>
                    <a:gd name="T20" fmla="*/ 122 w 261"/>
                    <a:gd name="T21" fmla="*/ 234 h 259"/>
                    <a:gd name="T22" fmla="*/ 130 w 261"/>
                    <a:gd name="T23" fmla="*/ 243 h 259"/>
                    <a:gd name="T24" fmla="*/ 145 w 261"/>
                    <a:gd name="T25" fmla="*/ 252 h 259"/>
                    <a:gd name="T26" fmla="*/ 154 w 261"/>
                    <a:gd name="T27" fmla="*/ 258 h 259"/>
                    <a:gd name="T28" fmla="*/ 163 w 261"/>
                    <a:gd name="T29" fmla="*/ 258 h 259"/>
                    <a:gd name="T30" fmla="*/ 179 w 261"/>
                    <a:gd name="T31" fmla="*/ 258 h 259"/>
                    <a:gd name="T32" fmla="*/ 260 w 261"/>
                    <a:gd name="T33" fmla="*/ 203 h 259"/>
                    <a:gd name="T34" fmla="*/ 251 w 261"/>
                    <a:gd name="T35" fmla="*/ 186 h 259"/>
                    <a:gd name="T36" fmla="*/ 244 w 261"/>
                    <a:gd name="T37" fmla="*/ 186 h 259"/>
                    <a:gd name="T38" fmla="*/ 229 w 261"/>
                    <a:gd name="T39" fmla="*/ 162 h 259"/>
                    <a:gd name="T40" fmla="*/ 235 w 261"/>
                    <a:gd name="T41" fmla="*/ 153 h 259"/>
                    <a:gd name="T42" fmla="*/ 235 w 261"/>
                    <a:gd name="T43" fmla="*/ 137 h 259"/>
                    <a:gd name="T44" fmla="*/ 235 w 261"/>
                    <a:gd name="T45" fmla="*/ 121 h 259"/>
                    <a:gd name="T46" fmla="*/ 229 w 261"/>
                    <a:gd name="T47" fmla="*/ 113 h 259"/>
                    <a:gd name="T48" fmla="*/ 229 w 261"/>
                    <a:gd name="T49" fmla="*/ 106 h 259"/>
                    <a:gd name="T50" fmla="*/ 229 w 261"/>
                    <a:gd name="T51" fmla="*/ 81 h 259"/>
                    <a:gd name="T52" fmla="*/ 210 w 261"/>
                    <a:gd name="T53" fmla="*/ 72 h 259"/>
                    <a:gd name="T54" fmla="*/ 204 w 261"/>
                    <a:gd name="T55" fmla="*/ 56 h 259"/>
                    <a:gd name="T56" fmla="*/ 219 w 261"/>
                    <a:gd name="T57" fmla="*/ 41 h 259"/>
                    <a:gd name="T58" fmla="*/ 210 w 261"/>
                    <a:gd name="T59" fmla="*/ 9 h 259"/>
                    <a:gd name="T60" fmla="*/ 219 w 261"/>
                    <a:gd name="T61" fmla="*/ 0 h 259"/>
                    <a:gd name="T62" fmla="*/ 210 w 261"/>
                    <a:gd name="T63" fmla="*/ 9 h 259"/>
                    <a:gd name="T64" fmla="*/ 187 w 261"/>
                    <a:gd name="T65" fmla="*/ 0 h 259"/>
                    <a:gd name="T66" fmla="*/ 179 w 261"/>
                    <a:gd name="T67" fmla="*/ 9 h 259"/>
                    <a:gd name="T68" fmla="*/ 163 w 261"/>
                    <a:gd name="T69" fmla="*/ 0 h 259"/>
                    <a:gd name="T70" fmla="*/ 145 w 261"/>
                    <a:gd name="T71" fmla="*/ 9 h 259"/>
                    <a:gd name="T72" fmla="*/ 122 w 261"/>
                    <a:gd name="T73" fmla="*/ 9 h 259"/>
                    <a:gd name="T74" fmla="*/ 82 w 261"/>
                    <a:gd name="T75" fmla="*/ 3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74" name="Freeform 141">
                  <a:extLst>
                    <a:ext uri="{FF2B5EF4-FFF2-40B4-BE49-F238E27FC236}">
                      <a16:creationId xmlns:a16="http://schemas.microsoft.com/office/drawing/2014/main" id="{38489F45-BFC4-F724-4A03-B21A9F2E73A1}"/>
                    </a:ext>
                  </a:extLst>
                </p:cNvPr>
                <p:cNvSpPr>
                  <a:spLocks/>
                </p:cNvSpPr>
                <p:nvPr/>
              </p:nvSpPr>
              <p:spPr bwMode="gray">
                <a:xfrm>
                  <a:off x="5582211" y="4261692"/>
                  <a:ext cx="189215" cy="196348"/>
                </a:xfrm>
                <a:custGeom>
                  <a:avLst/>
                  <a:gdLst>
                    <a:gd name="T0" fmla="*/ 74 w 123"/>
                    <a:gd name="T1" fmla="*/ 8 h 130"/>
                    <a:gd name="T2" fmla="*/ 81 w 123"/>
                    <a:gd name="T3" fmla="*/ 24 h 130"/>
                    <a:gd name="T4" fmla="*/ 90 w 123"/>
                    <a:gd name="T5" fmla="*/ 24 h 130"/>
                    <a:gd name="T6" fmla="*/ 90 w 123"/>
                    <a:gd name="T7" fmla="*/ 40 h 130"/>
                    <a:gd name="T8" fmla="*/ 81 w 123"/>
                    <a:gd name="T9" fmla="*/ 57 h 130"/>
                    <a:gd name="T10" fmla="*/ 90 w 123"/>
                    <a:gd name="T11" fmla="*/ 74 h 130"/>
                    <a:gd name="T12" fmla="*/ 106 w 123"/>
                    <a:gd name="T13" fmla="*/ 80 h 130"/>
                    <a:gd name="T14" fmla="*/ 114 w 123"/>
                    <a:gd name="T15" fmla="*/ 105 h 130"/>
                    <a:gd name="T16" fmla="*/ 122 w 123"/>
                    <a:gd name="T17" fmla="*/ 114 h 130"/>
                    <a:gd name="T18" fmla="*/ 122 w 123"/>
                    <a:gd name="T19" fmla="*/ 121 h 130"/>
                    <a:gd name="T20" fmla="*/ 106 w 123"/>
                    <a:gd name="T21" fmla="*/ 121 h 130"/>
                    <a:gd name="T22" fmla="*/ 97 w 123"/>
                    <a:gd name="T23" fmla="*/ 129 h 130"/>
                    <a:gd name="T24" fmla="*/ 81 w 123"/>
                    <a:gd name="T25" fmla="*/ 121 h 130"/>
                    <a:gd name="T26" fmla="*/ 74 w 123"/>
                    <a:gd name="T27" fmla="*/ 129 h 130"/>
                    <a:gd name="T28" fmla="*/ 57 w 123"/>
                    <a:gd name="T29" fmla="*/ 121 h 130"/>
                    <a:gd name="T30" fmla="*/ 57 w 123"/>
                    <a:gd name="T31" fmla="*/ 114 h 130"/>
                    <a:gd name="T32" fmla="*/ 49 w 123"/>
                    <a:gd name="T33" fmla="*/ 105 h 130"/>
                    <a:gd name="T34" fmla="*/ 25 w 123"/>
                    <a:gd name="T35" fmla="*/ 89 h 130"/>
                    <a:gd name="T36" fmla="*/ 0 w 123"/>
                    <a:gd name="T37" fmla="*/ 80 h 130"/>
                    <a:gd name="T38" fmla="*/ 0 w 123"/>
                    <a:gd name="T39" fmla="*/ 64 h 130"/>
                    <a:gd name="T40" fmla="*/ 25 w 123"/>
                    <a:gd name="T41" fmla="*/ 49 h 130"/>
                    <a:gd name="T42" fmla="*/ 34 w 123"/>
                    <a:gd name="T43" fmla="*/ 17 h 130"/>
                    <a:gd name="T44" fmla="*/ 49 w 123"/>
                    <a:gd name="T45" fmla="*/ 8 h 130"/>
                    <a:gd name="T46" fmla="*/ 49 w 123"/>
                    <a:gd name="T47" fmla="*/ 0 h 130"/>
                    <a:gd name="T48" fmla="*/ 74 w 123"/>
                    <a:gd name="T49" fmla="*/ 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75" name="Freeform 8">
                  <a:extLst>
                    <a:ext uri="{FF2B5EF4-FFF2-40B4-BE49-F238E27FC236}">
                      <a16:creationId xmlns:a16="http://schemas.microsoft.com/office/drawing/2014/main" id="{FBD56881-F847-D942-EF78-B1216064D190}"/>
                    </a:ext>
                  </a:extLst>
                </p:cNvPr>
                <p:cNvSpPr>
                  <a:spLocks/>
                </p:cNvSpPr>
                <p:nvPr/>
              </p:nvSpPr>
              <p:spPr bwMode="gray">
                <a:xfrm>
                  <a:off x="6269562" y="3820860"/>
                  <a:ext cx="1200932" cy="822126"/>
                </a:xfrm>
                <a:custGeom>
                  <a:avLst/>
                  <a:gdLst>
                    <a:gd name="T0" fmla="*/ 194 w 780"/>
                    <a:gd name="T1" fmla="*/ 113 h 543"/>
                    <a:gd name="T2" fmla="*/ 219 w 780"/>
                    <a:gd name="T3" fmla="*/ 162 h 543"/>
                    <a:gd name="T4" fmla="*/ 340 w 780"/>
                    <a:gd name="T5" fmla="*/ 203 h 543"/>
                    <a:gd name="T6" fmla="*/ 430 w 780"/>
                    <a:gd name="T7" fmla="*/ 209 h 543"/>
                    <a:gd name="T8" fmla="*/ 480 w 780"/>
                    <a:gd name="T9" fmla="*/ 178 h 543"/>
                    <a:gd name="T10" fmla="*/ 535 w 780"/>
                    <a:gd name="T11" fmla="*/ 153 h 543"/>
                    <a:gd name="T12" fmla="*/ 575 w 780"/>
                    <a:gd name="T13" fmla="*/ 121 h 543"/>
                    <a:gd name="T14" fmla="*/ 535 w 780"/>
                    <a:gd name="T15" fmla="*/ 121 h 543"/>
                    <a:gd name="T16" fmla="*/ 560 w 780"/>
                    <a:gd name="T17" fmla="*/ 81 h 543"/>
                    <a:gd name="T18" fmla="*/ 600 w 780"/>
                    <a:gd name="T19" fmla="*/ 32 h 543"/>
                    <a:gd name="T20" fmla="*/ 600 w 780"/>
                    <a:gd name="T21" fmla="*/ 7 h 543"/>
                    <a:gd name="T22" fmla="*/ 672 w 780"/>
                    <a:gd name="T23" fmla="*/ 23 h 543"/>
                    <a:gd name="T24" fmla="*/ 731 w 780"/>
                    <a:gd name="T25" fmla="*/ 97 h 543"/>
                    <a:gd name="T26" fmla="*/ 779 w 780"/>
                    <a:gd name="T27" fmla="*/ 104 h 543"/>
                    <a:gd name="T28" fmla="*/ 747 w 780"/>
                    <a:gd name="T29" fmla="*/ 162 h 543"/>
                    <a:gd name="T30" fmla="*/ 731 w 780"/>
                    <a:gd name="T31" fmla="*/ 209 h 543"/>
                    <a:gd name="T32" fmla="*/ 697 w 780"/>
                    <a:gd name="T33" fmla="*/ 218 h 543"/>
                    <a:gd name="T34" fmla="*/ 650 w 780"/>
                    <a:gd name="T35" fmla="*/ 250 h 543"/>
                    <a:gd name="T36" fmla="*/ 609 w 780"/>
                    <a:gd name="T37" fmla="*/ 275 h 543"/>
                    <a:gd name="T38" fmla="*/ 617 w 780"/>
                    <a:gd name="T39" fmla="*/ 243 h 543"/>
                    <a:gd name="T40" fmla="*/ 575 w 780"/>
                    <a:gd name="T41" fmla="*/ 266 h 543"/>
                    <a:gd name="T42" fmla="*/ 585 w 780"/>
                    <a:gd name="T43" fmla="*/ 299 h 543"/>
                    <a:gd name="T44" fmla="*/ 625 w 780"/>
                    <a:gd name="T45" fmla="*/ 308 h 543"/>
                    <a:gd name="T46" fmla="*/ 585 w 780"/>
                    <a:gd name="T47" fmla="*/ 331 h 543"/>
                    <a:gd name="T48" fmla="*/ 617 w 780"/>
                    <a:gd name="T49" fmla="*/ 380 h 543"/>
                    <a:gd name="T50" fmla="*/ 592 w 780"/>
                    <a:gd name="T51" fmla="*/ 405 h 543"/>
                    <a:gd name="T52" fmla="*/ 592 w 780"/>
                    <a:gd name="T53" fmla="*/ 452 h 543"/>
                    <a:gd name="T54" fmla="*/ 575 w 780"/>
                    <a:gd name="T55" fmla="*/ 485 h 543"/>
                    <a:gd name="T56" fmla="*/ 544 w 780"/>
                    <a:gd name="T57" fmla="*/ 510 h 543"/>
                    <a:gd name="T58" fmla="*/ 511 w 780"/>
                    <a:gd name="T59" fmla="*/ 510 h 543"/>
                    <a:gd name="T60" fmla="*/ 470 w 780"/>
                    <a:gd name="T61" fmla="*/ 533 h 543"/>
                    <a:gd name="T62" fmla="*/ 446 w 780"/>
                    <a:gd name="T63" fmla="*/ 526 h 543"/>
                    <a:gd name="T64" fmla="*/ 423 w 780"/>
                    <a:gd name="T65" fmla="*/ 510 h 543"/>
                    <a:gd name="T66" fmla="*/ 364 w 780"/>
                    <a:gd name="T67" fmla="*/ 510 h 543"/>
                    <a:gd name="T68" fmla="*/ 358 w 780"/>
                    <a:gd name="T69" fmla="*/ 533 h 543"/>
                    <a:gd name="T70" fmla="*/ 340 w 780"/>
                    <a:gd name="T71" fmla="*/ 526 h 543"/>
                    <a:gd name="T72" fmla="*/ 324 w 780"/>
                    <a:gd name="T73" fmla="*/ 502 h 543"/>
                    <a:gd name="T74" fmla="*/ 317 w 780"/>
                    <a:gd name="T75" fmla="*/ 452 h 543"/>
                    <a:gd name="T76" fmla="*/ 284 w 780"/>
                    <a:gd name="T77" fmla="*/ 420 h 543"/>
                    <a:gd name="T78" fmla="*/ 202 w 780"/>
                    <a:gd name="T79" fmla="*/ 436 h 543"/>
                    <a:gd name="T80" fmla="*/ 178 w 780"/>
                    <a:gd name="T81" fmla="*/ 436 h 543"/>
                    <a:gd name="T82" fmla="*/ 129 w 780"/>
                    <a:gd name="T83" fmla="*/ 420 h 543"/>
                    <a:gd name="T84" fmla="*/ 88 w 780"/>
                    <a:gd name="T85" fmla="*/ 405 h 543"/>
                    <a:gd name="T86" fmla="*/ 73 w 780"/>
                    <a:gd name="T87" fmla="*/ 371 h 543"/>
                    <a:gd name="T88" fmla="*/ 82 w 780"/>
                    <a:gd name="T89" fmla="*/ 323 h 543"/>
                    <a:gd name="T90" fmla="*/ 32 w 780"/>
                    <a:gd name="T91" fmla="*/ 315 h 543"/>
                    <a:gd name="T92" fmla="*/ 16 w 780"/>
                    <a:gd name="T93" fmla="*/ 299 h 543"/>
                    <a:gd name="T94" fmla="*/ 0 w 780"/>
                    <a:gd name="T95" fmla="*/ 250 h 543"/>
                    <a:gd name="T96" fmla="*/ 40 w 780"/>
                    <a:gd name="T97" fmla="*/ 234 h 543"/>
                    <a:gd name="T98" fmla="*/ 88 w 780"/>
                    <a:gd name="T99" fmla="*/ 203 h 543"/>
                    <a:gd name="T100" fmla="*/ 106 w 780"/>
                    <a:gd name="T101" fmla="*/ 162 h 543"/>
                    <a:gd name="T102" fmla="*/ 147 w 780"/>
                    <a:gd name="T103" fmla="*/ 129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76" name="Freeform 9">
                  <a:extLst>
                    <a:ext uri="{FF2B5EF4-FFF2-40B4-BE49-F238E27FC236}">
                      <a16:creationId xmlns:a16="http://schemas.microsoft.com/office/drawing/2014/main" id="{ABC5CE79-AE7E-44AE-2229-C65AF86D06BF}"/>
                    </a:ext>
                  </a:extLst>
                </p:cNvPr>
                <p:cNvSpPr>
                  <a:spLocks/>
                </p:cNvSpPr>
                <p:nvPr/>
              </p:nvSpPr>
              <p:spPr bwMode="gray">
                <a:xfrm>
                  <a:off x="6019851" y="4273092"/>
                  <a:ext cx="325655" cy="309090"/>
                </a:xfrm>
                <a:custGeom>
                  <a:avLst/>
                  <a:gdLst>
                    <a:gd name="T0" fmla="*/ 8 w 211"/>
                    <a:gd name="T1" fmla="*/ 178 h 204"/>
                    <a:gd name="T2" fmla="*/ 8 w 211"/>
                    <a:gd name="T3" fmla="*/ 162 h 204"/>
                    <a:gd name="T4" fmla="*/ 23 w 211"/>
                    <a:gd name="T5" fmla="*/ 153 h 204"/>
                    <a:gd name="T6" fmla="*/ 16 w 211"/>
                    <a:gd name="T7" fmla="*/ 137 h 204"/>
                    <a:gd name="T8" fmla="*/ 8 w 211"/>
                    <a:gd name="T9" fmla="*/ 129 h 204"/>
                    <a:gd name="T10" fmla="*/ 0 w 211"/>
                    <a:gd name="T11" fmla="*/ 113 h 204"/>
                    <a:gd name="T12" fmla="*/ 16 w 211"/>
                    <a:gd name="T13" fmla="*/ 121 h 204"/>
                    <a:gd name="T14" fmla="*/ 65 w 211"/>
                    <a:gd name="T15" fmla="*/ 113 h 204"/>
                    <a:gd name="T16" fmla="*/ 65 w 211"/>
                    <a:gd name="T17" fmla="*/ 97 h 204"/>
                    <a:gd name="T18" fmla="*/ 73 w 211"/>
                    <a:gd name="T19" fmla="*/ 90 h 204"/>
                    <a:gd name="T20" fmla="*/ 107 w 211"/>
                    <a:gd name="T21" fmla="*/ 81 h 204"/>
                    <a:gd name="T22" fmla="*/ 107 w 211"/>
                    <a:gd name="T23" fmla="*/ 66 h 204"/>
                    <a:gd name="T24" fmla="*/ 113 w 211"/>
                    <a:gd name="T25" fmla="*/ 56 h 204"/>
                    <a:gd name="T26" fmla="*/ 113 w 211"/>
                    <a:gd name="T27" fmla="*/ 49 h 204"/>
                    <a:gd name="T28" fmla="*/ 122 w 211"/>
                    <a:gd name="T29" fmla="*/ 49 h 204"/>
                    <a:gd name="T30" fmla="*/ 129 w 211"/>
                    <a:gd name="T31" fmla="*/ 32 h 204"/>
                    <a:gd name="T32" fmla="*/ 129 w 211"/>
                    <a:gd name="T33" fmla="*/ 16 h 204"/>
                    <a:gd name="T34" fmla="*/ 147 w 211"/>
                    <a:gd name="T35" fmla="*/ 9 h 204"/>
                    <a:gd name="T36" fmla="*/ 162 w 211"/>
                    <a:gd name="T37" fmla="*/ 0 h 204"/>
                    <a:gd name="T38" fmla="*/ 170 w 211"/>
                    <a:gd name="T39" fmla="*/ 0 h 204"/>
                    <a:gd name="T40" fmla="*/ 187 w 211"/>
                    <a:gd name="T41" fmla="*/ 9 h 204"/>
                    <a:gd name="T42" fmla="*/ 194 w 211"/>
                    <a:gd name="T43" fmla="*/ 16 h 204"/>
                    <a:gd name="T44" fmla="*/ 210 w 211"/>
                    <a:gd name="T45" fmla="*/ 24 h 204"/>
                    <a:gd name="T46" fmla="*/ 202 w 211"/>
                    <a:gd name="T47" fmla="*/ 32 h 204"/>
                    <a:gd name="T48" fmla="*/ 187 w 211"/>
                    <a:gd name="T49" fmla="*/ 41 h 204"/>
                    <a:gd name="T50" fmla="*/ 170 w 211"/>
                    <a:gd name="T51" fmla="*/ 32 h 204"/>
                    <a:gd name="T52" fmla="*/ 162 w 211"/>
                    <a:gd name="T53" fmla="*/ 41 h 204"/>
                    <a:gd name="T54" fmla="*/ 170 w 211"/>
                    <a:gd name="T55" fmla="*/ 49 h 204"/>
                    <a:gd name="T56" fmla="*/ 162 w 211"/>
                    <a:gd name="T57" fmla="*/ 66 h 204"/>
                    <a:gd name="T58" fmla="*/ 178 w 211"/>
                    <a:gd name="T59" fmla="*/ 72 h 204"/>
                    <a:gd name="T60" fmla="*/ 178 w 211"/>
                    <a:gd name="T61" fmla="*/ 81 h 204"/>
                    <a:gd name="T62" fmla="*/ 170 w 211"/>
                    <a:gd name="T63" fmla="*/ 81 h 204"/>
                    <a:gd name="T64" fmla="*/ 178 w 211"/>
                    <a:gd name="T65" fmla="*/ 90 h 204"/>
                    <a:gd name="T66" fmla="*/ 138 w 211"/>
                    <a:gd name="T67" fmla="*/ 137 h 204"/>
                    <a:gd name="T68" fmla="*/ 122 w 211"/>
                    <a:gd name="T69" fmla="*/ 146 h 204"/>
                    <a:gd name="T70" fmla="*/ 113 w 211"/>
                    <a:gd name="T71" fmla="*/ 137 h 204"/>
                    <a:gd name="T72" fmla="*/ 107 w 211"/>
                    <a:gd name="T73" fmla="*/ 146 h 204"/>
                    <a:gd name="T74" fmla="*/ 107 w 211"/>
                    <a:gd name="T75" fmla="*/ 162 h 204"/>
                    <a:gd name="T76" fmla="*/ 113 w 211"/>
                    <a:gd name="T77" fmla="*/ 162 h 204"/>
                    <a:gd name="T78" fmla="*/ 113 w 211"/>
                    <a:gd name="T79" fmla="*/ 169 h 204"/>
                    <a:gd name="T80" fmla="*/ 122 w 211"/>
                    <a:gd name="T81" fmla="*/ 169 h 204"/>
                    <a:gd name="T82" fmla="*/ 122 w 211"/>
                    <a:gd name="T83" fmla="*/ 186 h 204"/>
                    <a:gd name="T84" fmla="*/ 122 w 211"/>
                    <a:gd name="T85" fmla="*/ 194 h 204"/>
                    <a:gd name="T86" fmla="*/ 97 w 211"/>
                    <a:gd name="T87" fmla="*/ 194 h 204"/>
                    <a:gd name="T88" fmla="*/ 88 w 211"/>
                    <a:gd name="T89" fmla="*/ 203 h 204"/>
                    <a:gd name="T90" fmla="*/ 82 w 211"/>
                    <a:gd name="T91" fmla="*/ 194 h 204"/>
                    <a:gd name="T92" fmla="*/ 73 w 211"/>
                    <a:gd name="T93" fmla="*/ 178 h 204"/>
                    <a:gd name="T94" fmla="*/ 48 w 211"/>
                    <a:gd name="T95" fmla="*/ 178 h 204"/>
                    <a:gd name="T96" fmla="*/ 32 w 211"/>
                    <a:gd name="T97" fmla="*/ 178 h 204"/>
                    <a:gd name="T98" fmla="*/ 8 w 211"/>
                    <a:gd name="T99"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77" name="Freeform 10">
                  <a:extLst>
                    <a:ext uri="{FF2B5EF4-FFF2-40B4-BE49-F238E27FC236}">
                      <a16:creationId xmlns:a16="http://schemas.microsoft.com/office/drawing/2014/main" id="{4929B06D-FD76-A2B4-9D83-8275BE90EEF6}"/>
                    </a:ext>
                  </a:extLst>
                </p:cNvPr>
                <p:cNvSpPr>
                  <a:spLocks/>
                </p:cNvSpPr>
                <p:nvPr/>
              </p:nvSpPr>
              <p:spPr bwMode="gray">
                <a:xfrm>
                  <a:off x="6006979" y="4237623"/>
                  <a:ext cx="288327" cy="220416"/>
                </a:xfrm>
                <a:custGeom>
                  <a:avLst/>
                  <a:gdLst>
                    <a:gd name="T0" fmla="*/ 179 w 188"/>
                    <a:gd name="T1" fmla="*/ 24 h 146"/>
                    <a:gd name="T2" fmla="*/ 171 w 188"/>
                    <a:gd name="T3" fmla="*/ 24 h 146"/>
                    <a:gd name="T4" fmla="*/ 156 w 188"/>
                    <a:gd name="T5" fmla="*/ 33 h 146"/>
                    <a:gd name="T6" fmla="*/ 138 w 188"/>
                    <a:gd name="T7" fmla="*/ 40 h 146"/>
                    <a:gd name="T8" fmla="*/ 138 w 188"/>
                    <a:gd name="T9" fmla="*/ 56 h 146"/>
                    <a:gd name="T10" fmla="*/ 131 w 188"/>
                    <a:gd name="T11" fmla="*/ 73 h 146"/>
                    <a:gd name="T12" fmla="*/ 122 w 188"/>
                    <a:gd name="T13" fmla="*/ 73 h 146"/>
                    <a:gd name="T14" fmla="*/ 122 w 188"/>
                    <a:gd name="T15" fmla="*/ 80 h 146"/>
                    <a:gd name="T16" fmla="*/ 116 w 188"/>
                    <a:gd name="T17" fmla="*/ 90 h 146"/>
                    <a:gd name="T18" fmla="*/ 116 w 188"/>
                    <a:gd name="T19" fmla="*/ 105 h 146"/>
                    <a:gd name="T20" fmla="*/ 82 w 188"/>
                    <a:gd name="T21" fmla="*/ 114 h 146"/>
                    <a:gd name="T22" fmla="*/ 74 w 188"/>
                    <a:gd name="T23" fmla="*/ 121 h 146"/>
                    <a:gd name="T24" fmla="*/ 74 w 188"/>
                    <a:gd name="T25" fmla="*/ 137 h 146"/>
                    <a:gd name="T26" fmla="*/ 25 w 188"/>
                    <a:gd name="T27" fmla="*/ 145 h 146"/>
                    <a:gd name="T28" fmla="*/ 9 w 188"/>
                    <a:gd name="T29" fmla="*/ 137 h 146"/>
                    <a:gd name="T30" fmla="*/ 17 w 188"/>
                    <a:gd name="T31" fmla="*/ 121 h 146"/>
                    <a:gd name="T32" fmla="*/ 17 w 188"/>
                    <a:gd name="T33" fmla="*/ 114 h 146"/>
                    <a:gd name="T34" fmla="*/ 0 w 188"/>
                    <a:gd name="T35" fmla="*/ 105 h 146"/>
                    <a:gd name="T36" fmla="*/ 0 w 188"/>
                    <a:gd name="T37" fmla="*/ 73 h 146"/>
                    <a:gd name="T38" fmla="*/ 9 w 188"/>
                    <a:gd name="T39" fmla="*/ 56 h 146"/>
                    <a:gd name="T40" fmla="*/ 9 w 188"/>
                    <a:gd name="T41" fmla="*/ 48 h 146"/>
                    <a:gd name="T42" fmla="*/ 32 w 188"/>
                    <a:gd name="T43" fmla="*/ 48 h 146"/>
                    <a:gd name="T44" fmla="*/ 32 w 188"/>
                    <a:gd name="T45" fmla="*/ 40 h 146"/>
                    <a:gd name="T46" fmla="*/ 50 w 188"/>
                    <a:gd name="T47" fmla="*/ 40 h 146"/>
                    <a:gd name="T48" fmla="*/ 57 w 188"/>
                    <a:gd name="T49" fmla="*/ 24 h 146"/>
                    <a:gd name="T50" fmla="*/ 66 w 188"/>
                    <a:gd name="T51" fmla="*/ 24 h 146"/>
                    <a:gd name="T52" fmla="*/ 66 w 188"/>
                    <a:gd name="T53" fmla="*/ 16 h 146"/>
                    <a:gd name="T54" fmla="*/ 97 w 188"/>
                    <a:gd name="T55" fmla="*/ 24 h 146"/>
                    <a:gd name="T56" fmla="*/ 116 w 188"/>
                    <a:gd name="T57" fmla="*/ 24 h 146"/>
                    <a:gd name="T58" fmla="*/ 116 w 188"/>
                    <a:gd name="T59" fmla="*/ 16 h 146"/>
                    <a:gd name="T60" fmla="*/ 122 w 188"/>
                    <a:gd name="T61" fmla="*/ 16 h 146"/>
                    <a:gd name="T62" fmla="*/ 131 w 188"/>
                    <a:gd name="T63" fmla="*/ 0 h 146"/>
                    <a:gd name="T64" fmla="*/ 138 w 188"/>
                    <a:gd name="T65" fmla="*/ 8 h 146"/>
                    <a:gd name="T66" fmla="*/ 147 w 188"/>
                    <a:gd name="T67" fmla="*/ 33 h 146"/>
                    <a:gd name="T68" fmla="*/ 162 w 188"/>
                    <a:gd name="T69" fmla="*/ 16 h 146"/>
                    <a:gd name="T70" fmla="*/ 187 w 188"/>
                    <a:gd name="T71" fmla="*/ 24 h 146"/>
                    <a:gd name="T72" fmla="*/ 179 w 188"/>
                    <a:gd name="T73"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78" name="Freeform 11">
                  <a:extLst>
                    <a:ext uri="{FF2B5EF4-FFF2-40B4-BE49-F238E27FC236}">
                      <a16:creationId xmlns:a16="http://schemas.microsoft.com/office/drawing/2014/main" id="{212CED52-477B-6155-3C44-A0BC3E9186A1}"/>
                    </a:ext>
                  </a:extLst>
                </p:cNvPr>
                <p:cNvSpPr>
                  <a:spLocks/>
                </p:cNvSpPr>
                <p:nvPr/>
              </p:nvSpPr>
              <p:spPr bwMode="gray">
                <a:xfrm>
                  <a:off x="5683898" y="4199621"/>
                  <a:ext cx="373280" cy="344559"/>
                </a:xfrm>
                <a:custGeom>
                  <a:avLst/>
                  <a:gdLst>
                    <a:gd name="T0" fmla="*/ 227 w 243"/>
                    <a:gd name="T1" fmla="*/ 227 h 228"/>
                    <a:gd name="T2" fmla="*/ 170 w 243"/>
                    <a:gd name="T3" fmla="*/ 218 h 228"/>
                    <a:gd name="T4" fmla="*/ 162 w 243"/>
                    <a:gd name="T5" fmla="*/ 202 h 228"/>
                    <a:gd name="T6" fmla="*/ 137 w 243"/>
                    <a:gd name="T7" fmla="*/ 211 h 228"/>
                    <a:gd name="T8" fmla="*/ 121 w 243"/>
                    <a:gd name="T9" fmla="*/ 211 h 228"/>
                    <a:gd name="T10" fmla="*/ 96 w 243"/>
                    <a:gd name="T11" fmla="*/ 186 h 228"/>
                    <a:gd name="T12" fmla="*/ 80 w 243"/>
                    <a:gd name="T13" fmla="*/ 162 h 228"/>
                    <a:gd name="T14" fmla="*/ 65 w 243"/>
                    <a:gd name="T15" fmla="*/ 155 h 228"/>
                    <a:gd name="T16" fmla="*/ 56 w 243"/>
                    <a:gd name="T17" fmla="*/ 155 h 228"/>
                    <a:gd name="T18" fmla="*/ 48 w 243"/>
                    <a:gd name="T19" fmla="*/ 146 h 228"/>
                    <a:gd name="T20" fmla="*/ 40 w 243"/>
                    <a:gd name="T21" fmla="*/ 121 h 228"/>
                    <a:gd name="T22" fmla="*/ 24 w 243"/>
                    <a:gd name="T23" fmla="*/ 115 h 228"/>
                    <a:gd name="T24" fmla="*/ 15 w 243"/>
                    <a:gd name="T25" fmla="*/ 98 h 228"/>
                    <a:gd name="T26" fmla="*/ 24 w 243"/>
                    <a:gd name="T27" fmla="*/ 81 h 228"/>
                    <a:gd name="T28" fmla="*/ 24 w 243"/>
                    <a:gd name="T29" fmla="*/ 65 h 228"/>
                    <a:gd name="T30" fmla="*/ 15 w 243"/>
                    <a:gd name="T31" fmla="*/ 65 h 228"/>
                    <a:gd name="T32" fmla="*/ 8 w 243"/>
                    <a:gd name="T33" fmla="*/ 49 h 228"/>
                    <a:gd name="T34" fmla="*/ 0 w 243"/>
                    <a:gd name="T35" fmla="*/ 9 h 228"/>
                    <a:gd name="T36" fmla="*/ 8 w 243"/>
                    <a:gd name="T37" fmla="*/ 0 h 228"/>
                    <a:gd name="T38" fmla="*/ 15 w 243"/>
                    <a:gd name="T39" fmla="*/ 16 h 228"/>
                    <a:gd name="T40" fmla="*/ 24 w 243"/>
                    <a:gd name="T41" fmla="*/ 16 h 228"/>
                    <a:gd name="T42" fmla="*/ 31 w 243"/>
                    <a:gd name="T43" fmla="*/ 16 h 228"/>
                    <a:gd name="T44" fmla="*/ 48 w 243"/>
                    <a:gd name="T45" fmla="*/ 9 h 228"/>
                    <a:gd name="T46" fmla="*/ 56 w 243"/>
                    <a:gd name="T47" fmla="*/ 9 h 228"/>
                    <a:gd name="T48" fmla="*/ 48 w 243"/>
                    <a:gd name="T49" fmla="*/ 16 h 228"/>
                    <a:gd name="T50" fmla="*/ 65 w 243"/>
                    <a:gd name="T51" fmla="*/ 25 h 228"/>
                    <a:gd name="T52" fmla="*/ 65 w 243"/>
                    <a:gd name="T53" fmla="*/ 41 h 228"/>
                    <a:gd name="T54" fmla="*/ 96 w 243"/>
                    <a:gd name="T55" fmla="*/ 58 h 228"/>
                    <a:gd name="T56" fmla="*/ 130 w 243"/>
                    <a:gd name="T57" fmla="*/ 58 h 228"/>
                    <a:gd name="T58" fmla="*/ 130 w 243"/>
                    <a:gd name="T59" fmla="*/ 41 h 228"/>
                    <a:gd name="T60" fmla="*/ 145 w 243"/>
                    <a:gd name="T61" fmla="*/ 33 h 228"/>
                    <a:gd name="T62" fmla="*/ 170 w 243"/>
                    <a:gd name="T63" fmla="*/ 33 h 228"/>
                    <a:gd name="T64" fmla="*/ 219 w 243"/>
                    <a:gd name="T65" fmla="*/ 58 h 228"/>
                    <a:gd name="T66" fmla="*/ 219 w 243"/>
                    <a:gd name="T67" fmla="*/ 65 h 228"/>
                    <a:gd name="T68" fmla="*/ 219 w 243"/>
                    <a:gd name="T69" fmla="*/ 73 h 228"/>
                    <a:gd name="T70" fmla="*/ 219 w 243"/>
                    <a:gd name="T71" fmla="*/ 81 h 228"/>
                    <a:gd name="T72" fmla="*/ 210 w 243"/>
                    <a:gd name="T73" fmla="*/ 98 h 228"/>
                    <a:gd name="T74" fmla="*/ 210 w 243"/>
                    <a:gd name="T75" fmla="*/ 130 h 228"/>
                    <a:gd name="T76" fmla="*/ 227 w 243"/>
                    <a:gd name="T77" fmla="*/ 139 h 228"/>
                    <a:gd name="T78" fmla="*/ 227 w 243"/>
                    <a:gd name="T79" fmla="*/ 146 h 228"/>
                    <a:gd name="T80" fmla="*/ 219 w 243"/>
                    <a:gd name="T81" fmla="*/ 162 h 228"/>
                    <a:gd name="T82" fmla="*/ 227 w 243"/>
                    <a:gd name="T83" fmla="*/ 178 h 228"/>
                    <a:gd name="T84" fmla="*/ 235 w 243"/>
                    <a:gd name="T85" fmla="*/ 186 h 228"/>
                    <a:gd name="T86" fmla="*/ 242 w 243"/>
                    <a:gd name="T87" fmla="*/ 202 h 228"/>
                    <a:gd name="T88" fmla="*/ 227 w 243"/>
                    <a:gd name="T89" fmla="*/ 211 h 228"/>
                    <a:gd name="T90" fmla="*/ 227 w 243"/>
                    <a:gd name="T91" fmla="*/ 2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79" name="Freeform 12">
                  <a:extLst>
                    <a:ext uri="{FF2B5EF4-FFF2-40B4-BE49-F238E27FC236}">
                      <a16:creationId xmlns:a16="http://schemas.microsoft.com/office/drawing/2014/main" id="{CE483908-D365-FE77-0FBB-27FA96AE31CA}"/>
                    </a:ext>
                  </a:extLst>
                </p:cNvPr>
                <p:cNvSpPr>
                  <a:spLocks/>
                </p:cNvSpPr>
                <p:nvPr/>
              </p:nvSpPr>
              <p:spPr bwMode="gray">
                <a:xfrm>
                  <a:off x="6184609" y="4114748"/>
                  <a:ext cx="212384" cy="100074"/>
                </a:xfrm>
                <a:custGeom>
                  <a:avLst/>
                  <a:gdLst>
                    <a:gd name="T0" fmla="*/ 137 w 138"/>
                    <a:gd name="T1" fmla="*/ 15 h 66"/>
                    <a:gd name="T2" fmla="*/ 137 w 138"/>
                    <a:gd name="T3" fmla="*/ 24 h 66"/>
                    <a:gd name="T4" fmla="*/ 112 w 138"/>
                    <a:gd name="T5" fmla="*/ 40 h 66"/>
                    <a:gd name="T6" fmla="*/ 95 w 138"/>
                    <a:gd name="T7" fmla="*/ 40 h 66"/>
                    <a:gd name="T8" fmla="*/ 87 w 138"/>
                    <a:gd name="T9" fmla="*/ 49 h 66"/>
                    <a:gd name="T10" fmla="*/ 71 w 138"/>
                    <a:gd name="T11" fmla="*/ 49 h 66"/>
                    <a:gd name="T12" fmla="*/ 55 w 138"/>
                    <a:gd name="T13" fmla="*/ 56 h 66"/>
                    <a:gd name="T14" fmla="*/ 55 w 138"/>
                    <a:gd name="T15" fmla="*/ 65 h 66"/>
                    <a:gd name="T16" fmla="*/ 31 w 138"/>
                    <a:gd name="T17" fmla="*/ 65 h 66"/>
                    <a:gd name="T18" fmla="*/ 22 w 138"/>
                    <a:gd name="T19" fmla="*/ 65 h 66"/>
                    <a:gd name="T20" fmla="*/ 0 w 138"/>
                    <a:gd name="T21" fmla="*/ 65 h 66"/>
                    <a:gd name="T22" fmla="*/ 0 w 138"/>
                    <a:gd name="T23" fmla="*/ 56 h 66"/>
                    <a:gd name="T24" fmla="*/ 15 w 138"/>
                    <a:gd name="T25" fmla="*/ 56 h 66"/>
                    <a:gd name="T26" fmla="*/ 15 w 138"/>
                    <a:gd name="T27" fmla="*/ 49 h 66"/>
                    <a:gd name="T28" fmla="*/ 31 w 138"/>
                    <a:gd name="T29" fmla="*/ 49 h 66"/>
                    <a:gd name="T30" fmla="*/ 46 w 138"/>
                    <a:gd name="T31" fmla="*/ 40 h 66"/>
                    <a:gd name="T32" fmla="*/ 31 w 138"/>
                    <a:gd name="T33" fmla="*/ 32 h 66"/>
                    <a:gd name="T34" fmla="*/ 22 w 138"/>
                    <a:gd name="T35" fmla="*/ 32 h 66"/>
                    <a:gd name="T36" fmla="*/ 6 w 138"/>
                    <a:gd name="T37" fmla="*/ 32 h 66"/>
                    <a:gd name="T38" fmla="*/ 22 w 138"/>
                    <a:gd name="T39" fmla="*/ 15 h 66"/>
                    <a:gd name="T40" fmla="*/ 15 w 138"/>
                    <a:gd name="T41" fmla="*/ 15 h 66"/>
                    <a:gd name="T42" fmla="*/ 22 w 138"/>
                    <a:gd name="T43" fmla="*/ 9 h 66"/>
                    <a:gd name="T44" fmla="*/ 46 w 138"/>
                    <a:gd name="T45" fmla="*/ 15 h 66"/>
                    <a:gd name="T46" fmla="*/ 46 w 138"/>
                    <a:gd name="T47" fmla="*/ 9 h 66"/>
                    <a:gd name="T48" fmla="*/ 55 w 138"/>
                    <a:gd name="T49" fmla="*/ 0 h 66"/>
                    <a:gd name="T50" fmla="*/ 71 w 138"/>
                    <a:gd name="T51" fmla="*/ 9 h 66"/>
                    <a:gd name="T52" fmla="*/ 120 w 138"/>
                    <a:gd name="T53" fmla="*/ 9 h 66"/>
                    <a:gd name="T54" fmla="*/ 137 w 138"/>
                    <a:gd name="T55" fmla="*/ 1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80" name="Freeform 13">
                  <a:extLst>
                    <a:ext uri="{FF2B5EF4-FFF2-40B4-BE49-F238E27FC236}">
                      <a16:creationId xmlns:a16="http://schemas.microsoft.com/office/drawing/2014/main" id="{AC987D19-8717-C942-23E0-22DDE8989347}"/>
                    </a:ext>
                  </a:extLst>
                </p:cNvPr>
                <p:cNvSpPr>
                  <a:spLocks/>
                </p:cNvSpPr>
                <p:nvPr/>
              </p:nvSpPr>
              <p:spPr bwMode="gray">
                <a:xfrm>
                  <a:off x="5844795" y="4128682"/>
                  <a:ext cx="289614" cy="182414"/>
                </a:xfrm>
                <a:custGeom>
                  <a:avLst/>
                  <a:gdLst>
                    <a:gd name="T0" fmla="*/ 179 w 188"/>
                    <a:gd name="T1" fmla="*/ 96 h 121"/>
                    <a:gd name="T2" fmla="*/ 171 w 188"/>
                    <a:gd name="T3" fmla="*/ 88 h 121"/>
                    <a:gd name="T4" fmla="*/ 171 w 188"/>
                    <a:gd name="T5" fmla="*/ 96 h 121"/>
                    <a:gd name="T6" fmla="*/ 162 w 188"/>
                    <a:gd name="T7" fmla="*/ 96 h 121"/>
                    <a:gd name="T8" fmla="*/ 155 w 188"/>
                    <a:gd name="T9" fmla="*/ 112 h 121"/>
                    <a:gd name="T10" fmla="*/ 137 w 188"/>
                    <a:gd name="T11" fmla="*/ 112 h 121"/>
                    <a:gd name="T12" fmla="*/ 137 w 188"/>
                    <a:gd name="T13" fmla="*/ 120 h 121"/>
                    <a:gd name="T14" fmla="*/ 114 w 188"/>
                    <a:gd name="T15" fmla="*/ 120 h 121"/>
                    <a:gd name="T16" fmla="*/ 114 w 188"/>
                    <a:gd name="T17" fmla="*/ 112 h 121"/>
                    <a:gd name="T18" fmla="*/ 114 w 188"/>
                    <a:gd name="T19" fmla="*/ 105 h 121"/>
                    <a:gd name="T20" fmla="*/ 65 w 188"/>
                    <a:gd name="T21" fmla="*/ 80 h 121"/>
                    <a:gd name="T22" fmla="*/ 40 w 188"/>
                    <a:gd name="T23" fmla="*/ 80 h 121"/>
                    <a:gd name="T24" fmla="*/ 25 w 188"/>
                    <a:gd name="T25" fmla="*/ 88 h 121"/>
                    <a:gd name="T26" fmla="*/ 25 w 188"/>
                    <a:gd name="T27" fmla="*/ 63 h 121"/>
                    <a:gd name="T28" fmla="*/ 16 w 188"/>
                    <a:gd name="T29" fmla="*/ 63 h 121"/>
                    <a:gd name="T30" fmla="*/ 16 w 188"/>
                    <a:gd name="T31" fmla="*/ 47 h 121"/>
                    <a:gd name="T32" fmla="*/ 9 w 188"/>
                    <a:gd name="T33" fmla="*/ 47 h 121"/>
                    <a:gd name="T34" fmla="*/ 9 w 188"/>
                    <a:gd name="T35" fmla="*/ 40 h 121"/>
                    <a:gd name="T36" fmla="*/ 25 w 188"/>
                    <a:gd name="T37" fmla="*/ 40 h 121"/>
                    <a:gd name="T38" fmla="*/ 32 w 188"/>
                    <a:gd name="T39" fmla="*/ 31 h 121"/>
                    <a:gd name="T40" fmla="*/ 16 w 188"/>
                    <a:gd name="T41" fmla="*/ 15 h 121"/>
                    <a:gd name="T42" fmla="*/ 9 w 188"/>
                    <a:gd name="T43" fmla="*/ 15 h 121"/>
                    <a:gd name="T44" fmla="*/ 9 w 188"/>
                    <a:gd name="T45" fmla="*/ 31 h 121"/>
                    <a:gd name="T46" fmla="*/ 0 w 188"/>
                    <a:gd name="T47" fmla="*/ 15 h 121"/>
                    <a:gd name="T48" fmla="*/ 25 w 188"/>
                    <a:gd name="T49" fmla="*/ 6 h 121"/>
                    <a:gd name="T50" fmla="*/ 40 w 188"/>
                    <a:gd name="T51" fmla="*/ 23 h 121"/>
                    <a:gd name="T52" fmla="*/ 49 w 188"/>
                    <a:gd name="T53" fmla="*/ 23 h 121"/>
                    <a:gd name="T54" fmla="*/ 57 w 188"/>
                    <a:gd name="T55" fmla="*/ 23 h 121"/>
                    <a:gd name="T56" fmla="*/ 57 w 188"/>
                    <a:gd name="T57" fmla="*/ 15 h 121"/>
                    <a:gd name="T58" fmla="*/ 74 w 188"/>
                    <a:gd name="T59" fmla="*/ 6 h 121"/>
                    <a:gd name="T60" fmla="*/ 81 w 188"/>
                    <a:gd name="T61" fmla="*/ 6 h 121"/>
                    <a:gd name="T62" fmla="*/ 74 w 188"/>
                    <a:gd name="T63" fmla="*/ 0 h 121"/>
                    <a:gd name="T64" fmla="*/ 81 w 188"/>
                    <a:gd name="T65" fmla="*/ 0 h 121"/>
                    <a:gd name="T66" fmla="*/ 97 w 188"/>
                    <a:gd name="T67" fmla="*/ 6 h 121"/>
                    <a:gd name="T68" fmla="*/ 97 w 188"/>
                    <a:gd name="T69" fmla="*/ 23 h 121"/>
                    <a:gd name="T70" fmla="*/ 122 w 188"/>
                    <a:gd name="T71" fmla="*/ 23 h 121"/>
                    <a:gd name="T72" fmla="*/ 130 w 188"/>
                    <a:gd name="T73" fmla="*/ 47 h 121"/>
                    <a:gd name="T74" fmla="*/ 171 w 188"/>
                    <a:gd name="T75" fmla="*/ 72 h 121"/>
                    <a:gd name="T76" fmla="*/ 187 w 188"/>
                    <a:gd name="T77" fmla="*/ 80 h 121"/>
                    <a:gd name="T78" fmla="*/ 179 w 188"/>
                    <a:gd name="T79" fmla="*/ 9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81" name="Freeform 14">
                  <a:extLst>
                    <a:ext uri="{FF2B5EF4-FFF2-40B4-BE49-F238E27FC236}">
                      <a16:creationId xmlns:a16="http://schemas.microsoft.com/office/drawing/2014/main" id="{1D5541A5-BCE1-17F5-7256-722ADB23BF42}"/>
                    </a:ext>
                  </a:extLst>
                </p:cNvPr>
                <p:cNvSpPr>
                  <a:spLocks/>
                </p:cNvSpPr>
                <p:nvPr/>
              </p:nvSpPr>
              <p:spPr bwMode="gray">
                <a:xfrm>
                  <a:off x="5920738" y="4052677"/>
                  <a:ext cx="337240" cy="222950"/>
                </a:xfrm>
                <a:custGeom>
                  <a:avLst/>
                  <a:gdLst>
                    <a:gd name="T0" fmla="*/ 130 w 219"/>
                    <a:gd name="T1" fmla="*/ 146 h 147"/>
                    <a:gd name="T2" fmla="*/ 147 w 219"/>
                    <a:gd name="T3" fmla="*/ 146 h 147"/>
                    <a:gd name="T4" fmla="*/ 153 w 219"/>
                    <a:gd name="T5" fmla="*/ 130 h 147"/>
                    <a:gd name="T6" fmla="*/ 153 w 219"/>
                    <a:gd name="T7" fmla="*/ 113 h 147"/>
                    <a:gd name="T8" fmla="*/ 147 w 219"/>
                    <a:gd name="T9" fmla="*/ 106 h 147"/>
                    <a:gd name="T10" fmla="*/ 162 w 219"/>
                    <a:gd name="T11" fmla="*/ 106 h 147"/>
                    <a:gd name="T12" fmla="*/ 172 w 219"/>
                    <a:gd name="T13" fmla="*/ 90 h 147"/>
                    <a:gd name="T14" fmla="*/ 172 w 219"/>
                    <a:gd name="T15" fmla="*/ 81 h 147"/>
                    <a:gd name="T16" fmla="*/ 187 w 219"/>
                    <a:gd name="T17" fmla="*/ 81 h 147"/>
                    <a:gd name="T18" fmla="*/ 187 w 219"/>
                    <a:gd name="T19" fmla="*/ 90 h 147"/>
                    <a:gd name="T20" fmla="*/ 203 w 219"/>
                    <a:gd name="T21" fmla="*/ 90 h 147"/>
                    <a:gd name="T22" fmla="*/ 218 w 219"/>
                    <a:gd name="T23" fmla="*/ 81 h 147"/>
                    <a:gd name="T24" fmla="*/ 203 w 219"/>
                    <a:gd name="T25" fmla="*/ 73 h 147"/>
                    <a:gd name="T26" fmla="*/ 194 w 219"/>
                    <a:gd name="T27" fmla="*/ 73 h 147"/>
                    <a:gd name="T28" fmla="*/ 178 w 219"/>
                    <a:gd name="T29" fmla="*/ 73 h 147"/>
                    <a:gd name="T30" fmla="*/ 194 w 219"/>
                    <a:gd name="T31" fmla="*/ 56 h 147"/>
                    <a:gd name="T32" fmla="*/ 187 w 219"/>
                    <a:gd name="T33" fmla="*/ 56 h 147"/>
                    <a:gd name="T34" fmla="*/ 162 w 219"/>
                    <a:gd name="T35" fmla="*/ 81 h 147"/>
                    <a:gd name="T36" fmla="*/ 153 w 219"/>
                    <a:gd name="T37" fmla="*/ 73 h 147"/>
                    <a:gd name="T38" fmla="*/ 138 w 219"/>
                    <a:gd name="T39" fmla="*/ 73 h 147"/>
                    <a:gd name="T40" fmla="*/ 138 w 219"/>
                    <a:gd name="T41" fmla="*/ 65 h 147"/>
                    <a:gd name="T42" fmla="*/ 130 w 219"/>
                    <a:gd name="T43" fmla="*/ 65 h 147"/>
                    <a:gd name="T44" fmla="*/ 130 w 219"/>
                    <a:gd name="T45" fmla="*/ 50 h 147"/>
                    <a:gd name="T46" fmla="*/ 113 w 219"/>
                    <a:gd name="T47" fmla="*/ 31 h 147"/>
                    <a:gd name="T48" fmla="*/ 73 w 219"/>
                    <a:gd name="T49" fmla="*/ 31 h 147"/>
                    <a:gd name="T50" fmla="*/ 48 w 219"/>
                    <a:gd name="T51" fmla="*/ 9 h 147"/>
                    <a:gd name="T52" fmla="*/ 32 w 219"/>
                    <a:gd name="T53" fmla="*/ 0 h 147"/>
                    <a:gd name="T54" fmla="*/ 0 w 219"/>
                    <a:gd name="T55" fmla="*/ 9 h 147"/>
                    <a:gd name="T56" fmla="*/ 0 w 219"/>
                    <a:gd name="T57" fmla="*/ 73 h 147"/>
                    <a:gd name="T58" fmla="*/ 8 w 219"/>
                    <a:gd name="T59" fmla="*/ 73 h 147"/>
                    <a:gd name="T60" fmla="*/ 8 w 219"/>
                    <a:gd name="T61" fmla="*/ 65 h 147"/>
                    <a:gd name="T62" fmla="*/ 25 w 219"/>
                    <a:gd name="T63" fmla="*/ 56 h 147"/>
                    <a:gd name="T64" fmla="*/ 32 w 219"/>
                    <a:gd name="T65" fmla="*/ 56 h 147"/>
                    <a:gd name="T66" fmla="*/ 25 w 219"/>
                    <a:gd name="T67" fmla="*/ 50 h 147"/>
                    <a:gd name="T68" fmla="*/ 32 w 219"/>
                    <a:gd name="T69" fmla="*/ 50 h 147"/>
                    <a:gd name="T70" fmla="*/ 48 w 219"/>
                    <a:gd name="T71" fmla="*/ 56 h 147"/>
                    <a:gd name="T72" fmla="*/ 48 w 219"/>
                    <a:gd name="T73" fmla="*/ 73 h 147"/>
                    <a:gd name="T74" fmla="*/ 73 w 219"/>
                    <a:gd name="T75" fmla="*/ 73 h 147"/>
                    <a:gd name="T76" fmla="*/ 81 w 219"/>
                    <a:gd name="T77" fmla="*/ 97 h 147"/>
                    <a:gd name="T78" fmla="*/ 122 w 219"/>
                    <a:gd name="T79" fmla="*/ 122 h 147"/>
                    <a:gd name="T80" fmla="*/ 138 w 219"/>
                    <a:gd name="T81" fmla="*/ 130 h 147"/>
                    <a:gd name="T82" fmla="*/ 130 w 219"/>
                    <a:gd name="T83" fmla="*/ 1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82" name="Freeform 15">
                  <a:extLst>
                    <a:ext uri="{FF2B5EF4-FFF2-40B4-BE49-F238E27FC236}">
                      <a16:creationId xmlns:a16="http://schemas.microsoft.com/office/drawing/2014/main" id="{AE6D5669-E6F3-7C7A-2172-865373379DD2}"/>
                    </a:ext>
                  </a:extLst>
                </p:cNvPr>
                <p:cNvSpPr>
                  <a:spLocks/>
                </p:cNvSpPr>
                <p:nvPr/>
              </p:nvSpPr>
              <p:spPr bwMode="gray">
                <a:xfrm>
                  <a:off x="5731524" y="3760056"/>
                  <a:ext cx="813493" cy="416764"/>
                </a:xfrm>
                <a:custGeom>
                  <a:avLst/>
                  <a:gdLst>
                    <a:gd name="T0" fmla="*/ 504 w 529"/>
                    <a:gd name="T1" fmla="*/ 144 h 275"/>
                    <a:gd name="T2" fmla="*/ 487 w 529"/>
                    <a:gd name="T3" fmla="*/ 169 h 275"/>
                    <a:gd name="T4" fmla="*/ 456 w 529"/>
                    <a:gd name="T5" fmla="*/ 202 h 275"/>
                    <a:gd name="T6" fmla="*/ 432 w 529"/>
                    <a:gd name="T7" fmla="*/ 209 h 275"/>
                    <a:gd name="T8" fmla="*/ 432 w 529"/>
                    <a:gd name="T9" fmla="*/ 249 h 275"/>
                    <a:gd name="T10" fmla="*/ 366 w 529"/>
                    <a:gd name="T11" fmla="*/ 243 h 275"/>
                    <a:gd name="T12" fmla="*/ 341 w 529"/>
                    <a:gd name="T13" fmla="*/ 243 h 275"/>
                    <a:gd name="T14" fmla="*/ 317 w 529"/>
                    <a:gd name="T15" fmla="*/ 243 h 275"/>
                    <a:gd name="T16" fmla="*/ 285 w 529"/>
                    <a:gd name="T17" fmla="*/ 274 h 275"/>
                    <a:gd name="T18" fmla="*/ 261 w 529"/>
                    <a:gd name="T19" fmla="*/ 266 h 275"/>
                    <a:gd name="T20" fmla="*/ 253 w 529"/>
                    <a:gd name="T21" fmla="*/ 258 h 275"/>
                    <a:gd name="T22" fmla="*/ 236 w 529"/>
                    <a:gd name="T23" fmla="*/ 224 h 275"/>
                    <a:gd name="T24" fmla="*/ 171 w 529"/>
                    <a:gd name="T25" fmla="*/ 202 h 275"/>
                    <a:gd name="T26" fmla="*/ 123 w 529"/>
                    <a:gd name="T27" fmla="*/ 202 h 275"/>
                    <a:gd name="T28" fmla="*/ 114 w 529"/>
                    <a:gd name="T29" fmla="*/ 266 h 275"/>
                    <a:gd name="T30" fmla="*/ 74 w 529"/>
                    <a:gd name="T31" fmla="*/ 258 h 275"/>
                    <a:gd name="T32" fmla="*/ 65 w 529"/>
                    <a:gd name="T33" fmla="*/ 243 h 275"/>
                    <a:gd name="T34" fmla="*/ 49 w 529"/>
                    <a:gd name="T35" fmla="*/ 218 h 275"/>
                    <a:gd name="T36" fmla="*/ 59 w 529"/>
                    <a:gd name="T37" fmla="*/ 209 h 275"/>
                    <a:gd name="T38" fmla="*/ 99 w 529"/>
                    <a:gd name="T39" fmla="*/ 202 h 275"/>
                    <a:gd name="T40" fmla="*/ 74 w 529"/>
                    <a:gd name="T41" fmla="*/ 169 h 275"/>
                    <a:gd name="T42" fmla="*/ 34 w 529"/>
                    <a:gd name="T43" fmla="*/ 177 h 275"/>
                    <a:gd name="T44" fmla="*/ 34 w 529"/>
                    <a:gd name="T45" fmla="*/ 169 h 275"/>
                    <a:gd name="T46" fmla="*/ 9 w 529"/>
                    <a:gd name="T47" fmla="*/ 153 h 275"/>
                    <a:gd name="T48" fmla="*/ 9 w 529"/>
                    <a:gd name="T49" fmla="*/ 96 h 275"/>
                    <a:gd name="T50" fmla="*/ 34 w 529"/>
                    <a:gd name="T51" fmla="*/ 112 h 275"/>
                    <a:gd name="T52" fmla="*/ 49 w 529"/>
                    <a:gd name="T53" fmla="*/ 72 h 275"/>
                    <a:gd name="T54" fmla="*/ 74 w 529"/>
                    <a:gd name="T55" fmla="*/ 72 h 275"/>
                    <a:gd name="T56" fmla="*/ 114 w 529"/>
                    <a:gd name="T57" fmla="*/ 96 h 275"/>
                    <a:gd name="T58" fmla="*/ 148 w 529"/>
                    <a:gd name="T59" fmla="*/ 87 h 275"/>
                    <a:gd name="T60" fmla="*/ 188 w 529"/>
                    <a:gd name="T61" fmla="*/ 96 h 275"/>
                    <a:gd name="T62" fmla="*/ 171 w 529"/>
                    <a:gd name="T63" fmla="*/ 72 h 275"/>
                    <a:gd name="T64" fmla="*/ 179 w 529"/>
                    <a:gd name="T65" fmla="*/ 56 h 275"/>
                    <a:gd name="T66" fmla="*/ 188 w 529"/>
                    <a:gd name="T67" fmla="*/ 22 h 275"/>
                    <a:gd name="T68" fmla="*/ 276 w 529"/>
                    <a:gd name="T69" fmla="*/ 7 h 275"/>
                    <a:gd name="T70" fmla="*/ 285 w 529"/>
                    <a:gd name="T71" fmla="*/ 0 h 275"/>
                    <a:gd name="T72" fmla="*/ 317 w 529"/>
                    <a:gd name="T73" fmla="*/ 16 h 275"/>
                    <a:gd name="T74" fmla="*/ 326 w 529"/>
                    <a:gd name="T75" fmla="*/ 22 h 275"/>
                    <a:gd name="T76" fmla="*/ 341 w 529"/>
                    <a:gd name="T77" fmla="*/ 40 h 275"/>
                    <a:gd name="T78" fmla="*/ 375 w 529"/>
                    <a:gd name="T79" fmla="*/ 22 h 275"/>
                    <a:gd name="T80" fmla="*/ 398 w 529"/>
                    <a:gd name="T81" fmla="*/ 40 h 275"/>
                    <a:gd name="T82" fmla="*/ 438 w 529"/>
                    <a:gd name="T83" fmla="*/ 81 h 275"/>
                    <a:gd name="T84" fmla="*/ 472 w 529"/>
                    <a:gd name="T85" fmla="*/ 87 h 275"/>
                    <a:gd name="T86" fmla="*/ 512 w 529"/>
                    <a:gd name="T87" fmla="*/ 121 h 275"/>
                    <a:gd name="T88" fmla="*/ 528 w 529"/>
                    <a:gd name="T89" fmla="*/ 12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83" name="Freeform 72">
                  <a:extLst>
                    <a:ext uri="{FF2B5EF4-FFF2-40B4-BE49-F238E27FC236}">
                      <a16:creationId xmlns:a16="http://schemas.microsoft.com/office/drawing/2014/main" id="{F21955CF-9EB7-7428-7F9B-D1C19D5FAEF3}"/>
                    </a:ext>
                  </a:extLst>
                </p:cNvPr>
                <p:cNvSpPr>
                  <a:spLocks/>
                </p:cNvSpPr>
                <p:nvPr/>
              </p:nvSpPr>
              <p:spPr bwMode="gray">
                <a:xfrm>
                  <a:off x="6568186" y="4480841"/>
                  <a:ext cx="63072" cy="26602"/>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1" h="17">
                      <a:moveTo>
                        <a:pt x="33" y="0"/>
                      </a:moveTo>
                      <a:lnTo>
                        <a:pt x="8" y="0"/>
                      </a:lnTo>
                      <a:lnTo>
                        <a:pt x="0" y="9"/>
                      </a:lnTo>
                      <a:lnTo>
                        <a:pt x="0" y="16"/>
                      </a:lnTo>
                      <a:lnTo>
                        <a:pt x="33" y="16"/>
                      </a:lnTo>
                      <a:lnTo>
                        <a:pt x="40" y="16"/>
                      </a:lnTo>
                      <a:lnTo>
                        <a:pt x="33"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84" name="Freeform 73">
                  <a:extLst>
                    <a:ext uri="{FF2B5EF4-FFF2-40B4-BE49-F238E27FC236}">
                      <a16:creationId xmlns:a16="http://schemas.microsoft.com/office/drawing/2014/main" id="{C029217B-DBA9-6946-882B-932EFB45951C}"/>
                    </a:ext>
                  </a:extLst>
                </p:cNvPr>
                <p:cNvSpPr>
                  <a:spLocks/>
                </p:cNvSpPr>
                <p:nvPr/>
              </p:nvSpPr>
              <p:spPr bwMode="gray">
                <a:xfrm>
                  <a:off x="6568186" y="4480841"/>
                  <a:ext cx="63072" cy="26602"/>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1" h="17">
                      <a:moveTo>
                        <a:pt x="33" y="0"/>
                      </a:moveTo>
                      <a:lnTo>
                        <a:pt x="8" y="0"/>
                      </a:lnTo>
                      <a:lnTo>
                        <a:pt x="0" y="9"/>
                      </a:lnTo>
                      <a:lnTo>
                        <a:pt x="0" y="16"/>
                      </a:lnTo>
                      <a:lnTo>
                        <a:pt x="33" y="16"/>
                      </a:lnTo>
                      <a:lnTo>
                        <a:pt x="40" y="16"/>
                      </a:lnTo>
                      <a:lnTo>
                        <a:pt x="33"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85" name="Freeform 74">
                  <a:extLst>
                    <a:ext uri="{FF2B5EF4-FFF2-40B4-BE49-F238E27FC236}">
                      <a16:creationId xmlns:a16="http://schemas.microsoft.com/office/drawing/2014/main" id="{3841FAA4-BA3E-E042-7C9A-7F5D8951CCB3}"/>
                    </a:ext>
                  </a:extLst>
                </p:cNvPr>
                <p:cNvSpPr>
                  <a:spLocks/>
                </p:cNvSpPr>
                <p:nvPr/>
              </p:nvSpPr>
              <p:spPr bwMode="gray">
                <a:xfrm>
                  <a:off x="6156290" y="4298428"/>
                  <a:ext cx="575366" cy="590310"/>
                </a:xfrm>
                <a:custGeom>
                  <a:avLst/>
                  <a:gdLst>
                    <a:gd name="T0" fmla="*/ 358 w 374"/>
                    <a:gd name="T1" fmla="*/ 105 h 390"/>
                    <a:gd name="T2" fmla="*/ 373 w 374"/>
                    <a:gd name="T3" fmla="*/ 137 h 390"/>
                    <a:gd name="T4" fmla="*/ 349 w 374"/>
                    <a:gd name="T5" fmla="*/ 146 h 390"/>
                    <a:gd name="T6" fmla="*/ 326 w 374"/>
                    <a:gd name="T7" fmla="*/ 187 h 390"/>
                    <a:gd name="T8" fmla="*/ 318 w 374"/>
                    <a:gd name="T9" fmla="*/ 211 h 390"/>
                    <a:gd name="T10" fmla="*/ 308 w 374"/>
                    <a:gd name="T11" fmla="*/ 178 h 390"/>
                    <a:gd name="T12" fmla="*/ 293 w 374"/>
                    <a:gd name="T13" fmla="*/ 187 h 390"/>
                    <a:gd name="T14" fmla="*/ 308 w 374"/>
                    <a:gd name="T15" fmla="*/ 162 h 390"/>
                    <a:gd name="T16" fmla="*/ 276 w 374"/>
                    <a:gd name="T17" fmla="*/ 146 h 390"/>
                    <a:gd name="T18" fmla="*/ 261 w 374"/>
                    <a:gd name="T19" fmla="*/ 146 h 390"/>
                    <a:gd name="T20" fmla="*/ 252 w 374"/>
                    <a:gd name="T21" fmla="*/ 170 h 390"/>
                    <a:gd name="T22" fmla="*/ 268 w 374"/>
                    <a:gd name="T23" fmla="*/ 211 h 390"/>
                    <a:gd name="T24" fmla="*/ 261 w 374"/>
                    <a:gd name="T25" fmla="*/ 202 h 390"/>
                    <a:gd name="T26" fmla="*/ 236 w 374"/>
                    <a:gd name="T27" fmla="*/ 236 h 390"/>
                    <a:gd name="T28" fmla="*/ 180 w 374"/>
                    <a:gd name="T29" fmla="*/ 276 h 390"/>
                    <a:gd name="T30" fmla="*/ 171 w 374"/>
                    <a:gd name="T31" fmla="*/ 283 h 390"/>
                    <a:gd name="T32" fmla="*/ 156 w 374"/>
                    <a:gd name="T33" fmla="*/ 292 h 390"/>
                    <a:gd name="T34" fmla="*/ 156 w 374"/>
                    <a:gd name="T35" fmla="*/ 324 h 390"/>
                    <a:gd name="T36" fmla="*/ 147 w 374"/>
                    <a:gd name="T37" fmla="*/ 364 h 390"/>
                    <a:gd name="T38" fmla="*/ 131 w 374"/>
                    <a:gd name="T39" fmla="*/ 380 h 390"/>
                    <a:gd name="T40" fmla="*/ 106 w 374"/>
                    <a:gd name="T41" fmla="*/ 380 h 390"/>
                    <a:gd name="T42" fmla="*/ 65 w 374"/>
                    <a:gd name="T43" fmla="*/ 283 h 390"/>
                    <a:gd name="T44" fmla="*/ 59 w 374"/>
                    <a:gd name="T45" fmla="*/ 202 h 390"/>
                    <a:gd name="T46" fmla="*/ 34 w 374"/>
                    <a:gd name="T47" fmla="*/ 227 h 390"/>
                    <a:gd name="T48" fmla="*/ 25 w 374"/>
                    <a:gd name="T49" fmla="*/ 202 h 390"/>
                    <a:gd name="T50" fmla="*/ 19 w 374"/>
                    <a:gd name="T51" fmla="*/ 195 h 390"/>
                    <a:gd name="T52" fmla="*/ 9 w 374"/>
                    <a:gd name="T53" fmla="*/ 178 h 390"/>
                    <a:gd name="T54" fmla="*/ 34 w 374"/>
                    <a:gd name="T55" fmla="*/ 170 h 390"/>
                    <a:gd name="T56" fmla="*/ 25 w 374"/>
                    <a:gd name="T57" fmla="*/ 153 h 390"/>
                    <a:gd name="T58" fmla="*/ 19 w 374"/>
                    <a:gd name="T59" fmla="*/ 146 h 390"/>
                    <a:gd name="T60" fmla="*/ 25 w 374"/>
                    <a:gd name="T61" fmla="*/ 121 h 390"/>
                    <a:gd name="T62" fmla="*/ 50 w 374"/>
                    <a:gd name="T63" fmla="*/ 121 h 390"/>
                    <a:gd name="T64" fmla="*/ 82 w 374"/>
                    <a:gd name="T65" fmla="*/ 65 h 390"/>
                    <a:gd name="T66" fmla="*/ 90 w 374"/>
                    <a:gd name="T67" fmla="*/ 56 h 390"/>
                    <a:gd name="T68" fmla="*/ 82 w 374"/>
                    <a:gd name="T69" fmla="*/ 33 h 390"/>
                    <a:gd name="T70" fmla="*/ 82 w 374"/>
                    <a:gd name="T71" fmla="*/ 16 h 390"/>
                    <a:gd name="T72" fmla="*/ 114 w 374"/>
                    <a:gd name="T73" fmla="*/ 16 h 390"/>
                    <a:gd name="T74" fmla="*/ 147 w 374"/>
                    <a:gd name="T75" fmla="*/ 0 h 390"/>
                    <a:gd name="T76" fmla="*/ 156 w 374"/>
                    <a:gd name="T77" fmla="*/ 25 h 390"/>
                    <a:gd name="T78" fmla="*/ 147 w 374"/>
                    <a:gd name="T79" fmla="*/ 56 h 390"/>
                    <a:gd name="T80" fmla="*/ 139 w 374"/>
                    <a:gd name="T81" fmla="*/ 81 h 390"/>
                    <a:gd name="T82" fmla="*/ 156 w 374"/>
                    <a:gd name="T83" fmla="*/ 113 h 390"/>
                    <a:gd name="T84" fmla="*/ 243 w 374"/>
                    <a:gd name="T85" fmla="*/ 146 h 390"/>
                    <a:gd name="T86" fmla="*/ 252 w 374"/>
                    <a:gd name="T87" fmla="*/ 137 h 390"/>
                    <a:gd name="T88" fmla="*/ 261 w 374"/>
                    <a:gd name="T89" fmla="*/ 121 h 390"/>
                    <a:gd name="T90" fmla="*/ 268 w 374"/>
                    <a:gd name="T91" fmla="*/ 137 h 390"/>
                    <a:gd name="T92" fmla="*/ 308 w 374"/>
                    <a:gd name="T93" fmla="*/ 137 h 390"/>
                    <a:gd name="T94" fmla="*/ 342 w 374"/>
                    <a:gd name="T95" fmla="*/ 10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86" name="Freeform 75">
                  <a:extLst>
                    <a:ext uri="{FF2B5EF4-FFF2-40B4-BE49-F238E27FC236}">
                      <a16:creationId xmlns:a16="http://schemas.microsoft.com/office/drawing/2014/main" id="{583322ED-3305-BC21-D416-5A98B3415204}"/>
                    </a:ext>
                  </a:extLst>
                </p:cNvPr>
                <p:cNvSpPr>
                  <a:spLocks/>
                </p:cNvSpPr>
                <p:nvPr/>
              </p:nvSpPr>
              <p:spPr bwMode="gray">
                <a:xfrm>
                  <a:off x="6543730" y="3868997"/>
                  <a:ext cx="628140" cy="295155"/>
                </a:xfrm>
                <a:custGeom>
                  <a:avLst/>
                  <a:gdLst>
                    <a:gd name="T0" fmla="*/ 268 w 408"/>
                    <a:gd name="T1" fmla="*/ 49 h 195"/>
                    <a:gd name="T2" fmla="*/ 220 w 408"/>
                    <a:gd name="T3" fmla="*/ 24 h 195"/>
                    <a:gd name="T4" fmla="*/ 205 w 408"/>
                    <a:gd name="T5" fmla="*/ 32 h 195"/>
                    <a:gd name="T6" fmla="*/ 195 w 408"/>
                    <a:gd name="T7" fmla="*/ 32 h 195"/>
                    <a:gd name="T8" fmla="*/ 180 w 408"/>
                    <a:gd name="T9" fmla="*/ 9 h 195"/>
                    <a:gd name="T10" fmla="*/ 146 w 408"/>
                    <a:gd name="T11" fmla="*/ 0 h 195"/>
                    <a:gd name="T12" fmla="*/ 130 w 408"/>
                    <a:gd name="T13" fmla="*/ 9 h 195"/>
                    <a:gd name="T14" fmla="*/ 130 w 408"/>
                    <a:gd name="T15" fmla="*/ 24 h 195"/>
                    <a:gd name="T16" fmla="*/ 130 w 408"/>
                    <a:gd name="T17" fmla="*/ 40 h 195"/>
                    <a:gd name="T18" fmla="*/ 97 w 408"/>
                    <a:gd name="T19" fmla="*/ 40 h 195"/>
                    <a:gd name="T20" fmla="*/ 81 w 408"/>
                    <a:gd name="T21" fmla="*/ 32 h 195"/>
                    <a:gd name="T22" fmla="*/ 49 w 408"/>
                    <a:gd name="T23" fmla="*/ 24 h 195"/>
                    <a:gd name="T24" fmla="*/ 9 w 408"/>
                    <a:gd name="T25" fmla="*/ 49 h 195"/>
                    <a:gd name="T26" fmla="*/ 0 w 408"/>
                    <a:gd name="T27" fmla="*/ 57 h 195"/>
                    <a:gd name="T28" fmla="*/ 16 w 408"/>
                    <a:gd name="T29" fmla="*/ 81 h 195"/>
                    <a:gd name="T30" fmla="*/ 34 w 408"/>
                    <a:gd name="T31" fmla="*/ 81 h 195"/>
                    <a:gd name="T32" fmla="*/ 41 w 408"/>
                    <a:gd name="T33" fmla="*/ 97 h 195"/>
                    <a:gd name="T34" fmla="*/ 41 w 408"/>
                    <a:gd name="T35" fmla="*/ 130 h 195"/>
                    <a:gd name="T36" fmla="*/ 90 w 408"/>
                    <a:gd name="T37" fmla="*/ 146 h 195"/>
                    <a:gd name="T38" fmla="*/ 115 w 408"/>
                    <a:gd name="T39" fmla="*/ 171 h 195"/>
                    <a:gd name="T40" fmla="*/ 162 w 408"/>
                    <a:gd name="T41" fmla="*/ 171 h 195"/>
                    <a:gd name="T42" fmla="*/ 186 w 408"/>
                    <a:gd name="T43" fmla="*/ 186 h 195"/>
                    <a:gd name="T44" fmla="*/ 220 w 408"/>
                    <a:gd name="T45" fmla="*/ 194 h 195"/>
                    <a:gd name="T46" fmla="*/ 252 w 408"/>
                    <a:gd name="T47" fmla="*/ 177 h 195"/>
                    <a:gd name="T48" fmla="*/ 285 w 408"/>
                    <a:gd name="T49" fmla="*/ 177 h 195"/>
                    <a:gd name="T50" fmla="*/ 308 w 408"/>
                    <a:gd name="T51" fmla="*/ 152 h 195"/>
                    <a:gd name="T52" fmla="*/ 302 w 408"/>
                    <a:gd name="T53" fmla="*/ 146 h 195"/>
                    <a:gd name="T54" fmla="*/ 317 w 408"/>
                    <a:gd name="T55" fmla="*/ 130 h 195"/>
                    <a:gd name="T56" fmla="*/ 333 w 408"/>
                    <a:gd name="T57" fmla="*/ 137 h 195"/>
                    <a:gd name="T58" fmla="*/ 357 w 408"/>
                    <a:gd name="T59" fmla="*/ 121 h 195"/>
                    <a:gd name="T60" fmla="*/ 373 w 408"/>
                    <a:gd name="T61" fmla="*/ 105 h 195"/>
                    <a:gd name="T62" fmla="*/ 407 w 408"/>
                    <a:gd name="T63" fmla="*/ 105 h 195"/>
                    <a:gd name="T64" fmla="*/ 397 w 408"/>
                    <a:gd name="T65" fmla="*/ 89 h 195"/>
                    <a:gd name="T66" fmla="*/ 389 w 408"/>
                    <a:gd name="T67" fmla="*/ 81 h 195"/>
                    <a:gd name="T68" fmla="*/ 373 w 408"/>
                    <a:gd name="T69" fmla="*/ 89 h 195"/>
                    <a:gd name="T70" fmla="*/ 357 w 408"/>
                    <a:gd name="T71" fmla="*/ 89 h 195"/>
                    <a:gd name="T72" fmla="*/ 357 w 408"/>
                    <a:gd name="T73" fmla="*/ 57 h 195"/>
                    <a:gd name="T74" fmla="*/ 366 w 408"/>
                    <a:gd name="T75" fmla="*/ 40 h 195"/>
                    <a:gd name="T76" fmla="*/ 342 w 408"/>
                    <a:gd name="T77" fmla="*/ 32 h 195"/>
                    <a:gd name="T78" fmla="*/ 325 w 408"/>
                    <a:gd name="T79" fmla="*/ 49 h 195"/>
                    <a:gd name="T80" fmla="*/ 292 w 408"/>
                    <a:gd name="T81" fmla="*/ 57 h 195"/>
                    <a:gd name="T82" fmla="*/ 268 w 408"/>
                    <a:gd name="T83" fmla="*/ 4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87" name="Freeform 111">
                  <a:extLst>
                    <a:ext uri="{FF2B5EF4-FFF2-40B4-BE49-F238E27FC236}">
                      <a16:creationId xmlns:a16="http://schemas.microsoft.com/office/drawing/2014/main" id="{E55E32E6-3BEA-B2A1-3FE7-7742A3CB3ECF}"/>
                    </a:ext>
                  </a:extLst>
                </p:cNvPr>
                <p:cNvSpPr>
                  <a:spLocks/>
                </p:cNvSpPr>
                <p:nvPr/>
              </p:nvSpPr>
              <p:spPr bwMode="gray">
                <a:xfrm>
                  <a:off x="5695483" y="4199621"/>
                  <a:ext cx="27031" cy="25335"/>
                </a:xfrm>
                <a:custGeom>
                  <a:avLst/>
                  <a:gdLst>
                    <a:gd name="T0" fmla="*/ 16 w 17"/>
                    <a:gd name="T1" fmla="*/ 16 h 17"/>
                    <a:gd name="T2" fmla="*/ 7 w 17"/>
                    <a:gd name="T3" fmla="*/ 16 h 17"/>
                    <a:gd name="T4" fmla="*/ 0 w 17"/>
                    <a:gd name="T5" fmla="*/ 0 h 17"/>
                    <a:gd name="T6" fmla="*/ 16 w 17"/>
                    <a:gd name="T7" fmla="*/ 9 h 17"/>
                    <a:gd name="T8" fmla="*/ 16 w 17"/>
                    <a:gd name="T9" fmla="*/ 16 h 17"/>
                  </a:gdLst>
                  <a:ahLst/>
                  <a:cxnLst>
                    <a:cxn ang="0">
                      <a:pos x="T0" y="T1"/>
                    </a:cxn>
                    <a:cxn ang="0">
                      <a:pos x="T2" y="T3"/>
                    </a:cxn>
                    <a:cxn ang="0">
                      <a:pos x="T4" y="T5"/>
                    </a:cxn>
                    <a:cxn ang="0">
                      <a:pos x="T6" y="T7"/>
                    </a:cxn>
                    <a:cxn ang="0">
                      <a:pos x="T8" y="T9"/>
                    </a:cxn>
                  </a:cxnLst>
                  <a:rect l="0" t="0" r="r" b="b"/>
                  <a:pathLst>
                    <a:path w="17" h="17">
                      <a:moveTo>
                        <a:pt x="16" y="16"/>
                      </a:moveTo>
                      <a:lnTo>
                        <a:pt x="7" y="16"/>
                      </a:lnTo>
                      <a:lnTo>
                        <a:pt x="0" y="0"/>
                      </a:lnTo>
                      <a:lnTo>
                        <a:pt x="16" y="9"/>
                      </a:lnTo>
                      <a:lnTo>
                        <a:pt x="16" y="16"/>
                      </a:lnTo>
                    </a:path>
                  </a:pathLst>
                </a:custGeom>
                <a:grpFill/>
                <a:ln w="6350" cap="rnd" cmpd="sng">
                  <a:solidFill>
                    <a:srgbClr val="D0D0D0"/>
                  </a:solidFill>
                  <a:prstDash val="solid"/>
                  <a:round/>
                  <a:headEnd/>
                  <a:tailEnd/>
                </a:ln>
                <a:effectLst/>
              </p:spPr>
              <p:txBody>
                <a:bodyPr/>
                <a:lstStyle/>
                <a:p>
                  <a:endParaRPr lang="de-DE" dirty="0"/>
                </a:p>
              </p:txBody>
            </p:sp>
            <p:sp>
              <p:nvSpPr>
                <p:cNvPr id="188" name="Freeform 150">
                  <a:extLst>
                    <a:ext uri="{FF2B5EF4-FFF2-40B4-BE49-F238E27FC236}">
                      <a16:creationId xmlns:a16="http://schemas.microsoft.com/office/drawing/2014/main" id="{D0FD27C6-E416-7C13-4CCC-640ABB095CB2}"/>
                    </a:ext>
                  </a:extLst>
                </p:cNvPr>
                <p:cNvSpPr>
                  <a:spLocks/>
                </p:cNvSpPr>
                <p:nvPr/>
              </p:nvSpPr>
              <p:spPr bwMode="gray">
                <a:xfrm>
                  <a:off x="5858954" y="4555580"/>
                  <a:ext cx="136441" cy="162145"/>
                </a:xfrm>
                <a:custGeom>
                  <a:avLst/>
                  <a:gdLst>
                    <a:gd name="T0" fmla="*/ 0 w 89"/>
                    <a:gd name="T1" fmla="*/ 106 h 107"/>
                    <a:gd name="T2" fmla="*/ 23 w 89"/>
                    <a:gd name="T3" fmla="*/ 106 h 107"/>
                    <a:gd name="T4" fmla="*/ 31 w 89"/>
                    <a:gd name="T5" fmla="*/ 97 h 107"/>
                    <a:gd name="T6" fmla="*/ 40 w 89"/>
                    <a:gd name="T7" fmla="*/ 89 h 107"/>
                    <a:gd name="T8" fmla="*/ 56 w 89"/>
                    <a:gd name="T9" fmla="*/ 82 h 107"/>
                    <a:gd name="T10" fmla="*/ 65 w 89"/>
                    <a:gd name="T11" fmla="*/ 72 h 107"/>
                    <a:gd name="T12" fmla="*/ 65 w 89"/>
                    <a:gd name="T13" fmla="*/ 66 h 107"/>
                    <a:gd name="T14" fmla="*/ 81 w 89"/>
                    <a:gd name="T15" fmla="*/ 41 h 107"/>
                    <a:gd name="T16" fmla="*/ 88 w 89"/>
                    <a:gd name="T17" fmla="*/ 32 h 107"/>
                    <a:gd name="T18" fmla="*/ 72 w 89"/>
                    <a:gd name="T19" fmla="*/ 17 h 107"/>
                    <a:gd name="T20" fmla="*/ 56 w 89"/>
                    <a:gd name="T21" fmla="*/ 8 h 107"/>
                    <a:gd name="T22" fmla="*/ 48 w 89"/>
                    <a:gd name="T23" fmla="*/ 0 h 107"/>
                    <a:gd name="T24" fmla="*/ 31 w 89"/>
                    <a:gd name="T25" fmla="*/ 17 h 107"/>
                    <a:gd name="T26" fmla="*/ 40 w 89"/>
                    <a:gd name="T27" fmla="*/ 25 h 107"/>
                    <a:gd name="T28" fmla="*/ 48 w 89"/>
                    <a:gd name="T29" fmla="*/ 32 h 107"/>
                    <a:gd name="T30" fmla="*/ 48 w 89"/>
                    <a:gd name="T31" fmla="*/ 41 h 107"/>
                    <a:gd name="T32" fmla="*/ 48 w 89"/>
                    <a:gd name="T33" fmla="*/ 48 h 107"/>
                    <a:gd name="T34" fmla="*/ 48 w 89"/>
                    <a:gd name="T35" fmla="*/ 57 h 107"/>
                    <a:gd name="T36" fmla="*/ 40 w 89"/>
                    <a:gd name="T37" fmla="*/ 57 h 107"/>
                    <a:gd name="T38" fmla="*/ 31 w 89"/>
                    <a:gd name="T39" fmla="*/ 66 h 107"/>
                    <a:gd name="T40" fmla="*/ 23 w 89"/>
                    <a:gd name="T41" fmla="*/ 72 h 107"/>
                    <a:gd name="T42" fmla="*/ 16 w 89"/>
                    <a:gd name="T43" fmla="*/ 82 h 107"/>
                    <a:gd name="T44" fmla="*/ 7 w 89"/>
                    <a:gd name="T45" fmla="*/ 89 h 107"/>
                    <a:gd name="T46" fmla="*/ 0 w 89"/>
                    <a:gd name="T47" fmla="*/ 97 h 107"/>
                    <a:gd name="T48" fmla="*/ 0 w 89"/>
                    <a:gd name="T49" fmla="*/ 10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89" name="Freeform 152">
                  <a:extLst>
                    <a:ext uri="{FF2B5EF4-FFF2-40B4-BE49-F238E27FC236}">
                      <a16:creationId xmlns:a16="http://schemas.microsoft.com/office/drawing/2014/main" id="{54BB48E0-83F4-101F-67B0-044C5D9F663F}"/>
                    </a:ext>
                  </a:extLst>
                </p:cNvPr>
                <p:cNvSpPr>
                  <a:spLocks/>
                </p:cNvSpPr>
                <p:nvPr/>
              </p:nvSpPr>
              <p:spPr bwMode="gray">
                <a:xfrm>
                  <a:off x="6395705" y="4433971"/>
                  <a:ext cx="149312" cy="86140"/>
                </a:xfrm>
                <a:custGeom>
                  <a:avLst/>
                  <a:gdLst>
                    <a:gd name="T0" fmla="*/ 6 w 97"/>
                    <a:gd name="T1" fmla="*/ 0 h 57"/>
                    <a:gd name="T2" fmla="*/ 0 w 97"/>
                    <a:gd name="T3" fmla="*/ 23 h 57"/>
                    <a:gd name="T4" fmla="*/ 15 w 97"/>
                    <a:gd name="T5" fmla="*/ 31 h 57"/>
                    <a:gd name="T6" fmla="*/ 87 w 97"/>
                    <a:gd name="T7" fmla="*/ 56 h 57"/>
                    <a:gd name="T8" fmla="*/ 96 w 97"/>
                    <a:gd name="T9" fmla="*/ 56 h 57"/>
                    <a:gd name="T10" fmla="*/ 96 w 97"/>
                    <a:gd name="T11" fmla="*/ 47 h 57"/>
                    <a:gd name="T12" fmla="*/ 96 w 97"/>
                    <a:gd name="T13" fmla="*/ 31 h 57"/>
                    <a:gd name="T14" fmla="*/ 72 w 97"/>
                    <a:gd name="T15" fmla="*/ 31 h 57"/>
                    <a:gd name="T16" fmla="*/ 55 w 97"/>
                    <a:gd name="T17" fmla="*/ 23 h 57"/>
                    <a:gd name="T18" fmla="*/ 47 w 97"/>
                    <a:gd name="T19" fmla="*/ 15 h 57"/>
                    <a:gd name="T20" fmla="*/ 40 w 97"/>
                    <a:gd name="T21" fmla="*/ 15 h 57"/>
                    <a:gd name="T22" fmla="*/ 24 w 97"/>
                    <a:gd name="T23" fmla="*/ 0 h 57"/>
                    <a:gd name="T24" fmla="*/ 6 w 97"/>
                    <a:gd name="T2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0" name="Freeform 153">
                  <a:extLst>
                    <a:ext uri="{FF2B5EF4-FFF2-40B4-BE49-F238E27FC236}">
                      <a16:creationId xmlns:a16="http://schemas.microsoft.com/office/drawing/2014/main" id="{CE50CD41-C491-CCB7-54F5-24B87DD58BE3}"/>
                    </a:ext>
                  </a:extLst>
                </p:cNvPr>
                <p:cNvSpPr>
                  <a:spLocks/>
                </p:cNvSpPr>
                <p:nvPr/>
              </p:nvSpPr>
              <p:spPr bwMode="gray">
                <a:xfrm>
                  <a:off x="6543730" y="4518844"/>
                  <a:ext cx="102974" cy="110208"/>
                </a:xfrm>
                <a:custGeom>
                  <a:avLst/>
                  <a:gdLst>
                    <a:gd name="T0" fmla="*/ 66 w 67"/>
                    <a:gd name="T1" fmla="*/ 65 h 73"/>
                    <a:gd name="T2" fmla="*/ 56 w 67"/>
                    <a:gd name="T3" fmla="*/ 41 h 73"/>
                    <a:gd name="T4" fmla="*/ 56 w 67"/>
                    <a:gd name="T5" fmla="*/ 32 h 73"/>
                    <a:gd name="T6" fmla="*/ 49 w 67"/>
                    <a:gd name="T7" fmla="*/ 41 h 73"/>
                    <a:gd name="T8" fmla="*/ 41 w 67"/>
                    <a:gd name="T9" fmla="*/ 41 h 73"/>
                    <a:gd name="T10" fmla="*/ 41 w 67"/>
                    <a:gd name="T11" fmla="*/ 32 h 73"/>
                    <a:gd name="T12" fmla="*/ 56 w 67"/>
                    <a:gd name="T13" fmla="*/ 16 h 73"/>
                    <a:gd name="T14" fmla="*/ 24 w 67"/>
                    <a:gd name="T15" fmla="*/ 16 h 73"/>
                    <a:gd name="T16" fmla="*/ 24 w 67"/>
                    <a:gd name="T17" fmla="*/ 0 h 73"/>
                    <a:gd name="T18" fmla="*/ 16 w 67"/>
                    <a:gd name="T19" fmla="*/ 0 h 73"/>
                    <a:gd name="T20" fmla="*/ 9 w 67"/>
                    <a:gd name="T21" fmla="*/ 0 h 73"/>
                    <a:gd name="T22" fmla="*/ 9 w 67"/>
                    <a:gd name="T23" fmla="*/ 7 h 73"/>
                    <a:gd name="T24" fmla="*/ 0 w 67"/>
                    <a:gd name="T25" fmla="*/ 24 h 73"/>
                    <a:gd name="T26" fmla="*/ 9 w 67"/>
                    <a:gd name="T27" fmla="*/ 24 h 73"/>
                    <a:gd name="T28" fmla="*/ 16 w 67"/>
                    <a:gd name="T29" fmla="*/ 65 h 73"/>
                    <a:gd name="T30" fmla="*/ 34 w 67"/>
                    <a:gd name="T31" fmla="*/ 65 h 73"/>
                    <a:gd name="T32" fmla="*/ 49 w 67"/>
                    <a:gd name="T33" fmla="*/ 49 h 73"/>
                    <a:gd name="T34" fmla="*/ 56 w 67"/>
                    <a:gd name="T35" fmla="*/ 72 h 73"/>
                    <a:gd name="T36" fmla="*/ 66 w 67"/>
                    <a:gd name="T37"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1" name="Freeform 154">
                  <a:extLst>
                    <a:ext uri="{FF2B5EF4-FFF2-40B4-BE49-F238E27FC236}">
                      <a16:creationId xmlns:a16="http://schemas.microsoft.com/office/drawing/2014/main" id="{719EA4E2-E942-D7CC-A505-AE497A70E91E}"/>
                    </a:ext>
                  </a:extLst>
                </p:cNvPr>
                <p:cNvSpPr>
                  <a:spLocks/>
                </p:cNvSpPr>
                <p:nvPr/>
              </p:nvSpPr>
              <p:spPr bwMode="gray">
                <a:xfrm>
                  <a:off x="6629971" y="4480841"/>
                  <a:ext cx="177630" cy="383828"/>
                </a:xfrm>
                <a:custGeom>
                  <a:avLst/>
                  <a:gdLst>
                    <a:gd name="T0" fmla="*/ 83 w 116"/>
                    <a:gd name="T1" fmla="*/ 252 h 253"/>
                    <a:gd name="T2" fmla="*/ 99 w 116"/>
                    <a:gd name="T3" fmla="*/ 218 h 253"/>
                    <a:gd name="T4" fmla="*/ 90 w 116"/>
                    <a:gd name="T5" fmla="*/ 196 h 253"/>
                    <a:gd name="T6" fmla="*/ 83 w 116"/>
                    <a:gd name="T7" fmla="*/ 178 h 253"/>
                    <a:gd name="T8" fmla="*/ 83 w 116"/>
                    <a:gd name="T9" fmla="*/ 162 h 253"/>
                    <a:gd name="T10" fmla="*/ 74 w 116"/>
                    <a:gd name="T11" fmla="*/ 138 h 253"/>
                    <a:gd name="T12" fmla="*/ 74 w 116"/>
                    <a:gd name="T13" fmla="*/ 121 h 253"/>
                    <a:gd name="T14" fmla="*/ 106 w 116"/>
                    <a:gd name="T15" fmla="*/ 106 h 253"/>
                    <a:gd name="T16" fmla="*/ 115 w 116"/>
                    <a:gd name="T17" fmla="*/ 90 h 253"/>
                    <a:gd name="T18" fmla="*/ 106 w 116"/>
                    <a:gd name="T19" fmla="*/ 90 h 253"/>
                    <a:gd name="T20" fmla="*/ 90 w 116"/>
                    <a:gd name="T21" fmla="*/ 81 h 253"/>
                    <a:gd name="T22" fmla="*/ 90 w 116"/>
                    <a:gd name="T23" fmla="*/ 74 h 253"/>
                    <a:gd name="T24" fmla="*/ 90 w 116"/>
                    <a:gd name="T25" fmla="*/ 66 h 253"/>
                    <a:gd name="T26" fmla="*/ 83 w 116"/>
                    <a:gd name="T27" fmla="*/ 57 h 253"/>
                    <a:gd name="T28" fmla="*/ 74 w 116"/>
                    <a:gd name="T29" fmla="*/ 57 h 253"/>
                    <a:gd name="T30" fmla="*/ 83 w 116"/>
                    <a:gd name="T31" fmla="*/ 16 h 253"/>
                    <a:gd name="T32" fmla="*/ 74 w 116"/>
                    <a:gd name="T33" fmla="*/ 0 h 253"/>
                    <a:gd name="T34" fmla="*/ 65 w 116"/>
                    <a:gd name="T35" fmla="*/ 0 h 253"/>
                    <a:gd name="T36" fmla="*/ 65 w 116"/>
                    <a:gd name="T37" fmla="*/ 16 h 253"/>
                    <a:gd name="T38" fmla="*/ 50 w 116"/>
                    <a:gd name="T39" fmla="*/ 16 h 253"/>
                    <a:gd name="T40" fmla="*/ 41 w 116"/>
                    <a:gd name="T41" fmla="*/ 25 h 253"/>
                    <a:gd name="T42" fmla="*/ 25 w 116"/>
                    <a:gd name="T43" fmla="*/ 57 h 253"/>
                    <a:gd name="T44" fmla="*/ 18 w 116"/>
                    <a:gd name="T45" fmla="*/ 66 h 253"/>
                    <a:gd name="T46" fmla="*/ 10 w 116"/>
                    <a:gd name="T47" fmla="*/ 81 h 253"/>
                    <a:gd name="T48" fmla="*/ 10 w 116"/>
                    <a:gd name="T49" fmla="*/ 90 h 253"/>
                    <a:gd name="T50" fmla="*/ 0 w 116"/>
                    <a:gd name="T51" fmla="*/ 97 h 253"/>
                    <a:gd name="T52" fmla="*/ 18 w 116"/>
                    <a:gd name="T53" fmla="*/ 115 h 253"/>
                    <a:gd name="T54" fmla="*/ 25 w 116"/>
                    <a:gd name="T55" fmla="*/ 131 h 253"/>
                    <a:gd name="T56" fmla="*/ 34 w 116"/>
                    <a:gd name="T57" fmla="*/ 155 h 253"/>
                    <a:gd name="T58" fmla="*/ 25 w 116"/>
                    <a:gd name="T59" fmla="*/ 162 h 253"/>
                    <a:gd name="T60" fmla="*/ 41 w 116"/>
                    <a:gd name="T61" fmla="*/ 171 h 253"/>
                    <a:gd name="T62" fmla="*/ 59 w 116"/>
                    <a:gd name="T63" fmla="*/ 155 h 253"/>
                    <a:gd name="T64" fmla="*/ 65 w 116"/>
                    <a:gd name="T65" fmla="*/ 162 h 253"/>
                    <a:gd name="T66" fmla="*/ 83 w 116"/>
                    <a:gd name="T67" fmla="*/ 211 h 253"/>
                    <a:gd name="T68" fmla="*/ 83 w 116"/>
                    <a:gd name="T69" fmla="*/ 25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2" name="Freeform 155">
                  <a:extLst>
                    <a:ext uri="{FF2B5EF4-FFF2-40B4-BE49-F238E27FC236}">
                      <a16:creationId xmlns:a16="http://schemas.microsoft.com/office/drawing/2014/main" id="{2894C1AC-C9EC-F5E5-D460-24FF7498291B}"/>
                    </a:ext>
                  </a:extLst>
                </p:cNvPr>
                <p:cNvSpPr>
                  <a:spLocks/>
                </p:cNvSpPr>
                <p:nvPr/>
              </p:nvSpPr>
              <p:spPr bwMode="gray">
                <a:xfrm>
                  <a:off x="6743241" y="4641720"/>
                  <a:ext cx="150599" cy="296422"/>
                </a:xfrm>
                <a:custGeom>
                  <a:avLst/>
                  <a:gdLst>
                    <a:gd name="T0" fmla="*/ 32 w 98"/>
                    <a:gd name="T1" fmla="*/ 0 h 196"/>
                    <a:gd name="T2" fmla="*/ 0 w 98"/>
                    <a:gd name="T3" fmla="*/ 15 h 196"/>
                    <a:gd name="T4" fmla="*/ 0 w 98"/>
                    <a:gd name="T5" fmla="*/ 32 h 196"/>
                    <a:gd name="T6" fmla="*/ 9 w 98"/>
                    <a:gd name="T7" fmla="*/ 56 h 196"/>
                    <a:gd name="T8" fmla="*/ 9 w 98"/>
                    <a:gd name="T9" fmla="*/ 72 h 196"/>
                    <a:gd name="T10" fmla="*/ 16 w 98"/>
                    <a:gd name="T11" fmla="*/ 90 h 196"/>
                    <a:gd name="T12" fmla="*/ 25 w 98"/>
                    <a:gd name="T13" fmla="*/ 112 h 196"/>
                    <a:gd name="T14" fmla="*/ 9 w 98"/>
                    <a:gd name="T15" fmla="*/ 146 h 196"/>
                    <a:gd name="T16" fmla="*/ 9 w 98"/>
                    <a:gd name="T17" fmla="*/ 153 h 196"/>
                    <a:gd name="T18" fmla="*/ 9 w 98"/>
                    <a:gd name="T19" fmla="*/ 162 h 196"/>
                    <a:gd name="T20" fmla="*/ 32 w 98"/>
                    <a:gd name="T21" fmla="*/ 186 h 196"/>
                    <a:gd name="T22" fmla="*/ 32 w 98"/>
                    <a:gd name="T23" fmla="*/ 177 h 196"/>
                    <a:gd name="T24" fmla="*/ 41 w 98"/>
                    <a:gd name="T25" fmla="*/ 186 h 196"/>
                    <a:gd name="T26" fmla="*/ 50 w 98"/>
                    <a:gd name="T27" fmla="*/ 195 h 196"/>
                    <a:gd name="T28" fmla="*/ 56 w 98"/>
                    <a:gd name="T29" fmla="*/ 186 h 196"/>
                    <a:gd name="T30" fmla="*/ 50 w 98"/>
                    <a:gd name="T31" fmla="*/ 177 h 196"/>
                    <a:gd name="T32" fmla="*/ 32 w 98"/>
                    <a:gd name="T33" fmla="*/ 177 h 196"/>
                    <a:gd name="T34" fmla="*/ 25 w 98"/>
                    <a:gd name="T35" fmla="*/ 146 h 196"/>
                    <a:gd name="T36" fmla="*/ 16 w 98"/>
                    <a:gd name="T37" fmla="*/ 146 h 196"/>
                    <a:gd name="T38" fmla="*/ 16 w 98"/>
                    <a:gd name="T39" fmla="*/ 137 h 196"/>
                    <a:gd name="T40" fmla="*/ 25 w 98"/>
                    <a:gd name="T41" fmla="*/ 112 h 196"/>
                    <a:gd name="T42" fmla="*/ 25 w 98"/>
                    <a:gd name="T43" fmla="*/ 97 h 196"/>
                    <a:gd name="T44" fmla="*/ 41 w 98"/>
                    <a:gd name="T45" fmla="*/ 97 h 196"/>
                    <a:gd name="T46" fmla="*/ 41 w 98"/>
                    <a:gd name="T47" fmla="*/ 105 h 196"/>
                    <a:gd name="T48" fmla="*/ 50 w 98"/>
                    <a:gd name="T49" fmla="*/ 105 h 196"/>
                    <a:gd name="T50" fmla="*/ 65 w 98"/>
                    <a:gd name="T51" fmla="*/ 122 h 196"/>
                    <a:gd name="T52" fmla="*/ 65 w 98"/>
                    <a:gd name="T53" fmla="*/ 112 h 196"/>
                    <a:gd name="T54" fmla="*/ 56 w 98"/>
                    <a:gd name="T55" fmla="*/ 97 h 196"/>
                    <a:gd name="T56" fmla="*/ 65 w 98"/>
                    <a:gd name="T57" fmla="*/ 80 h 196"/>
                    <a:gd name="T58" fmla="*/ 97 w 98"/>
                    <a:gd name="T59" fmla="*/ 80 h 196"/>
                    <a:gd name="T60" fmla="*/ 97 w 98"/>
                    <a:gd name="T61" fmla="*/ 65 h 196"/>
                    <a:gd name="T62" fmla="*/ 90 w 98"/>
                    <a:gd name="T63" fmla="*/ 56 h 196"/>
                    <a:gd name="T64" fmla="*/ 81 w 98"/>
                    <a:gd name="T65" fmla="*/ 40 h 196"/>
                    <a:gd name="T66" fmla="*/ 75 w 98"/>
                    <a:gd name="T67" fmla="*/ 25 h 196"/>
                    <a:gd name="T68" fmla="*/ 56 w 98"/>
                    <a:gd name="T69" fmla="*/ 32 h 196"/>
                    <a:gd name="T70" fmla="*/ 41 w 98"/>
                    <a:gd name="T71" fmla="*/ 40 h 196"/>
                    <a:gd name="T72" fmla="*/ 41 w 98"/>
                    <a:gd name="T73" fmla="*/ 15 h 196"/>
                    <a:gd name="T74" fmla="*/ 32 w 98"/>
                    <a:gd name="T75" fmla="*/ 9 h 196"/>
                    <a:gd name="T76" fmla="*/ 32 w 98"/>
                    <a:gd name="T7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3" name="Freeform 156">
                  <a:extLst>
                    <a:ext uri="{FF2B5EF4-FFF2-40B4-BE49-F238E27FC236}">
                      <a16:creationId xmlns:a16="http://schemas.microsoft.com/office/drawing/2014/main" id="{F343CC70-919C-2A8C-A7FF-32FAAE1FB630}"/>
                    </a:ext>
                  </a:extLst>
                </p:cNvPr>
                <p:cNvSpPr>
                  <a:spLocks/>
                </p:cNvSpPr>
                <p:nvPr/>
              </p:nvSpPr>
              <p:spPr bwMode="gray">
                <a:xfrm>
                  <a:off x="6793441" y="4603717"/>
                  <a:ext cx="139015" cy="176080"/>
                </a:xfrm>
                <a:custGeom>
                  <a:avLst/>
                  <a:gdLst>
                    <a:gd name="T0" fmla="*/ 90 w 91"/>
                    <a:gd name="T1" fmla="*/ 105 h 116"/>
                    <a:gd name="T2" fmla="*/ 90 w 91"/>
                    <a:gd name="T3" fmla="*/ 90 h 116"/>
                    <a:gd name="T4" fmla="*/ 74 w 91"/>
                    <a:gd name="T5" fmla="*/ 74 h 116"/>
                    <a:gd name="T6" fmla="*/ 74 w 91"/>
                    <a:gd name="T7" fmla="*/ 65 h 116"/>
                    <a:gd name="T8" fmla="*/ 43 w 91"/>
                    <a:gd name="T9" fmla="*/ 40 h 116"/>
                    <a:gd name="T10" fmla="*/ 58 w 91"/>
                    <a:gd name="T11" fmla="*/ 34 h 116"/>
                    <a:gd name="T12" fmla="*/ 49 w 91"/>
                    <a:gd name="T13" fmla="*/ 25 h 116"/>
                    <a:gd name="T14" fmla="*/ 33 w 91"/>
                    <a:gd name="T15" fmla="*/ 16 h 116"/>
                    <a:gd name="T16" fmla="*/ 24 w 91"/>
                    <a:gd name="T17" fmla="*/ 0 h 116"/>
                    <a:gd name="T18" fmla="*/ 18 w 91"/>
                    <a:gd name="T19" fmla="*/ 0 h 116"/>
                    <a:gd name="T20" fmla="*/ 18 w 91"/>
                    <a:gd name="T21" fmla="*/ 16 h 116"/>
                    <a:gd name="T22" fmla="*/ 9 w 91"/>
                    <a:gd name="T23" fmla="*/ 16 h 116"/>
                    <a:gd name="T24" fmla="*/ 9 w 91"/>
                    <a:gd name="T25" fmla="*/ 9 h 116"/>
                    <a:gd name="T26" fmla="*/ 0 w 91"/>
                    <a:gd name="T27" fmla="*/ 25 h 116"/>
                    <a:gd name="T28" fmla="*/ 0 w 91"/>
                    <a:gd name="T29" fmla="*/ 34 h 116"/>
                    <a:gd name="T30" fmla="*/ 9 w 91"/>
                    <a:gd name="T31" fmla="*/ 40 h 116"/>
                    <a:gd name="T32" fmla="*/ 9 w 91"/>
                    <a:gd name="T33" fmla="*/ 65 h 116"/>
                    <a:gd name="T34" fmla="*/ 24 w 91"/>
                    <a:gd name="T35" fmla="*/ 57 h 116"/>
                    <a:gd name="T36" fmla="*/ 43 w 91"/>
                    <a:gd name="T37" fmla="*/ 50 h 116"/>
                    <a:gd name="T38" fmla="*/ 49 w 91"/>
                    <a:gd name="T39" fmla="*/ 65 h 116"/>
                    <a:gd name="T40" fmla="*/ 58 w 91"/>
                    <a:gd name="T41" fmla="*/ 81 h 116"/>
                    <a:gd name="T42" fmla="*/ 65 w 91"/>
                    <a:gd name="T43" fmla="*/ 90 h 116"/>
                    <a:gd name="T44" fmla="*/ 65 w 91"/>
                    <a:gd name="T45" fmla="*/ 105 h 116"/>
                    <a:gd name="T46" fmla="*/ 74 w 91"/>
                    <a:gd name="T47" fmla="*/ 115 h 116"/>
                    <a:gd name="T48" fmla="*/ 74 w 91"/>
                    <a:gd name="T49" fmla="*/ 105 h 116"/>
                    <a:gd name="T50" fmla="*/ 90 w 91"/>
                    <a:gd name="T51"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4" name="Freeform 157">
                  <a:extLst>
                    <a:ext uri="{FF2B5EF4-FFF2-40B4-BE49-F238E27FC236}">
                      <a16:creationId xmlns:a16="http://schemas.microsoft.com/office/drawing/2014/main" id="{0D84BAF5-0013-D7EF-D09A-FBAFA1CAF3CE}"/>
                    </a:ext>
                  </a:extLst>
                </p:cNvPr>
                <p:cNvSpPr>
                  <a:spLocks/>
                </p:cNvSpPr>
                <p:nvPr/>
              </p:nvSpPr>
              <p:spPr bwMode="gray">
                <a:xfrm>
                  <a:off x="6829482" y="4593583"/>
                  <a:ext cx="141589" cy="281220"/>
                </a:xfrm>
                <a:custGeom>
                  <a:avLst/>
                  <a:gdLst>
                    <a:gd name="T0" fmla="*/ 0 w 92"/>
                    <a:gd name="T1" fmla="*/ 7 h 186"/>
                    <a:gd name="T2" fmla="*/ 0 w 92"/>
                    <a:gd name="T3" fmla="*/ 0 h 186"/>
                    <a:gd name="T4" fmla="*/ 9 w 92"/>
                    <a:gd name="T5" fmla="*/ 7 h 186"/>
                    <a:gd name="T6" fmla="*/ 41 w 92"/>
                    <a:gd name="T7" fmla="*/ 0 h 186"/>
                    <a:gd name="T8" fmla="*/ 59 w 92"/>
                    <a:gd name="T9" fmla="*/ 0 h 186"/>
                    <a:gd name="T10" fmla="*/ 59 w 92"/>
                    <a:gd name="T11" fmla="*/ 16 h 186"/>
                    <a:gd name="T12" fmla="*/ 74 w 92"/>
                    <a:gd name="T13" fmla="*/ 16 h 186"/>
                    <a:gd name="T14" fmla="*/ 59 w 92"/>
                    <a:gd name="T15" fmla="*/ 23 h 186"/>
                    <a:gd name="T16" fmla="*/ 50 w 92"/>
                    <a:gd name="T17" fmla="*/ 41 h 186"/>
                    <a:gd name="T18" fmla="*/ 41 w 92"/>
                    <a:gd name="T19" fmla="*/ 47 h 186"/>
                    <a:gd name="T20" fmla="*/ 82 w 92"/>
                    <a:gd name="T21" fmla="*/ 104 h 186"/>
                    <a:gd name="T22" fmla="*/ 91 w 92"/>
                    <a:gd name="T23" fmla="*/ 122 h 186"/>
                    <a:gd name="T24" fmla="*/ 82 w 92"/>
                    <a:gd name="T25" fmla="*/ 154 h 186"/>
                    <a:gd name="T26" fmla="*/ 66 w 92"/>
                    <a:gd name="T27" fmla="*/ 162 h 186"/>
                    <a:gd name="T28" fmla="*/ 59 w 92"/>
                    <a:gd name="T29" fmla="*/ 162 h 186"/>
                    <a:gd name="T30" fmla="*/ 50 w 92"/>
                    <a:gd name="T31" fmla="*/ 178 h 186"/>
                    <a:gd name="T32" fmla="*/ 34 w 92"/>
                    <a:gd name="T33" fmla="*/ 185 h 186"/>
                    <a:gd name="T34" fmla="*/ 34 w 92"/>
                    <a:gd name="T35" fmla="*/ 169 h 186"/>
                    <a:gd name="T36" fmla="*/ 25 w 92"/>
                    <a:gd name="T37" fmla="*/ 162 h 186"/>
                    <a:gd name="T38" fmla="*/ 41 w 92"/>
                    <a:gd name="T39" fmla="*/ 154 h 186"/>
                    <a:gd name="T40" fmla="*/ 50 w 92"/>
                    <a:gd name="T41" fmla="*/ 144 h 186"/>
                    <a:gd name="T42" fmla="*/ 66 w 92"/>
                    <a:gd name="T43" fmla="*/ 137 h 186"/>
                    <a:gd name="T44" fmla="*/ 66 w 92"/>
                    <a:gd name="T45" fmla="*/ 112 h 186"/>
                    <a:gd name="T46" fmla="*/ 66 w 92"/>
                    <a:gd name="T47" fmla="*/ 97 h 186"/>
                    <a:gd name="T48" fmla="*/ 50 w 92"/>
                    <a:gd name="T49" fmla="*/ 81 h 186"/>
                    <a:gd name="T50" fmla="*/ 50 w 92"/>
                    <a:gd name="T51" fmla="*/ 72 h 186"/>
                    <a:gd name="T52" fmla="*/ 19 w 92"/>
                    <a:gd name="T53" fmla="*/ 47 h 186"/>
                    <a:gd name="T54" fmla="*/ 34 w 92"/>
                    <a:gd name="T55" fmla="*/ 41 h 186"/>
                    <a:gd name="T56" fmla="*/ 25 w 92"/>
                    <a:gd name="T57" fmla="*/ 32 h 186"/>
                    <a:gd name="T58" fmla="*/ 9 w 92"/>
                    <a:gd name="T59" fmla="*/ 23 h 186"/>
                    <a:gd name="T60" fmla="*/ 0 w 92"/>
                    <a:gd name="T61" fmla="*/ 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5" name="Freeform 158">
                  <a:extLst>
                    <a:ext uri="{FF2B5EF4-FFF2-40B4-BE49-F238E27FC236}">
                      <a16:creationId xmlns:a16="http://schemas.microsoft.com/office/drawing/2014/main" id="{ED807834-A35B-9B58-9738-6DA158A66AE5}"/>
                    </a:ext>
                  </a:extLst>
                </p:cNvPr>
                <p:cNvSpPr>
                  <a:spLocks/>
                </p:cNvSpPr>
                <p:nvPr/>
              </p:nvSpPr>
              <p:spPr bwMode="gray">
                <a:xfrm>
                  <a:off x="6829482" y="4763328"/>
                  <a:ext cx="102974" cy="77272"/>
                </a:xfrm>
                <a:custGeom>
                  <a:avLst/>
                  <a:gdLst>
                    <a:gd name="T0" fmla="*/ 25 w 67"/>
                    <a:gd name="T1" fmla="*/ 50 h 51"/>
                    <a:gd name="T2" fmla="*/ 41 w 67"/>
                    <a:gd name="T3" fmla="*/ 42 h 51"/>
                    <a:gd name="T4" fmla="*/ 50 w 67"/>
                    <a:gd name="T5" fmla="*/ 32 h 51"/>
                    <a:gd name="T6" fmla="*/ 66 w 67"/>
                    <a:gd name="T7" fmla="*/ 25 h 51"/>
                    <a:gd name="T8" fmla="*/ 66 w 67"/>
                    <a:gd name="T9" fmla="*/ 0 h 51"/>
                    <a:gd name="T10" fmla="*/ 50 w 67"/>
                    <a:gd name="T11" fmla="*/ 0 h 51"/>
                    <a:gd name="T12" fmla="*/ 50 w 67"/>
                    <a:gd name="T13" fmla="*/ 10 h 51"/>
                    <a:gd name="T14" fmla="*/ 41 w 67"/>
                    <a:gd name="T15" fmla="*/ 0 h 51"/>
                    <a:gd name="T16" fmla="*/ 9 w 67"/>
                    <a:gd name="T17" fmla="*/ 0 h 51"/>
                    <a:gd name="T18" fmla="*/ 0 w 67"/>
                    <a:gd name="T19" fmla="*/ 17 h 51"/>
                    <a:gd name="T20" fmla="*/ 9 w 67"/>
                    <a:gd name="T21" fmla="*/ 32 h 51"/>
                    <a:gd name="T22" fmla="*/ 9 w 67"/>
                    <a:gd name="T23" fmla="*/ 42 h 51"/>
                    <a:gd name="T24" fmla="*/ 9 w 67"/>
                    <a:gd name="T25" fmla="*/ 50 h 51"/>
                    <a:gd name="T26" fmla="*/ 25 w 67"/>
                    <a:gd name="T27"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6" name="Freeform 159">
                  <a:extLst>
                    <a:ext uri="{FF2B5EF4-FFF2-40B4-BE49-F238E27FC236}">
                      <a16:creationId xmlns:a16="http://schemas.microsoft.com/office/drawing/2014/main" id="{DF446C91-EEED-5C33-BC29-463AA2DC5E71}"/>
                    </a:ext>
                  </a:extLst>
                </p:cNvPr>
                <p:cNvSpPr>
                  <a:spLocks/>
                </p:cNvSpPr>
                <p:nvPr/>
              </p:nvSpPr>
              <p:spPr bwMode="gray">
                <a:xfrm>
                  <a:off x="6793441" y="4910272"/>
                  <a:ext cx="75943" cy="112741"/>
                </a:xfrm>
                <a:custGeom>
                  <a:avLst/>
                  <a:gdLst>
                    <a:gd name="T0" fmla="*/ 24 w 50"/>
                    <a:gd name="T1" fmla="*/ 9 h 75"/>
                    <a:gd name="T2" fmla="*/ 18 w 50"/>
                    <a:gd name="T3" fmla="*/ 18 h 75"/>
                    <a:gd name="T4" fmla="*/ 9 w 50"/>
                    <a:gd name="T5" fmla="*/ 9 h 75"/>
                    <a:gd name="T6" fmla="*/ 0 w 50"/>
                    <a:gd name="T7" fmla="*/ 0 h 75"/>
                    <a:gd name="T8" fmla="*/ 0 w 50"/>
                    <a:gd name="T9" fmla="*/ 9 h 75"/>
                    <a:gd name="T10" fmla="*/ 0 w 50"/>
                    <a:gd name="T11" fmla="*/ 34 h 75"/>
                    <a:gd name="T12" fmla="*/ 18 w 50"/>
                    <a:gd name="T13" fmla="*/ 50 h 75"/>
                    <a:gd name="T14" fmla="*/ 43 w 50"/>
                    <a:gd name="T15" fmla="*/ 74 h 75"/>
                    <a:gd name="T16" fmla="*/ 49 w 50"/>
                    <a:gd name="T17" fmla="*/ 74 h 75"/>
                    <a:gd name="T18" fmla="*/ 43 w 50"/>
                    <a:gd name="T19" fmla="*/ 50 h 75"/>
                    <a:gd name="T20" fmla="*/ 43 w 50"/>
                    <a:gd name="T21" fmla="*/ 25 h 75"/>
                    <a:gd name="T22" fmla="*/ 24 w 50"/>
                    <a:gd name="T23"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7" name="Freeform 160">
                  <a:extLst>
                    <a:ext uri="{FF2B5EF4-FFF2-40B4-BE49-F238E27FC236}">
                      <a16:creationId xmlns:a16="http://schemas.microsoft.com/office/drawing/2014/main" id="{B37DEB6B-8B4E-17CD-191F-00DAC95CCCEA}"/>
                    </a:ext>
                  </a:extLst>
                </p:cNvPr>
                <p:cNvSpPr>
                  <a:spLocks/>
                </p:cNvSpPr>
                <p:nvPr/>
              </p:nvSpPr>
              <p:spPr bwMode="gray">
                <a:xfrm>
                  <a:off x="6969784" y="4910272"/>
                  <a:ext cx="202086" cy="112741"/>
                </a:xfrm>
                <a:custGeom>
                  <a:avLst/>
                  <a:gdLst>
                    <a:gd name="T0" fmla="*/ 71 w 131"/>
                    <a:gd name="T1" fmla="*/ 25 h 75"/>
                    <a:gd name="T2" fmla="*/ 80 w 131"/>
                    <a:gd name="T3" fmla="*/ 25 h 75"/>
                    <a:gd name="T4" fmla="*/ 71 w 131"/>
                    <a:gd name="T5" fmla="*/ 34 h 75"/>
                    <a:gd name="T6" fmla="*/ 65 w 131"/>
                    <a:gd name="T7" fmla="*/ 34 h 75"/>
                    <a:gd name="T8" fmla="*/ 56 w 131"/>
                    <a:gd name="T9" fmla="*/ 34 h 75"/>
                    <a:gd name="T10" fmla="*/ 40 w 131"/>
                    <a:gd name="T11" fmla="*/ 50 h 75"/>
                    <a:gd name="T12" fmla="*/ 25 w 131"/>
                    <a:gd name="T13" fmla="*/ 50 h 75"/>
                    <a:gd name="T14" fmla="*/ 25 w 131"/>
                    <a:gd name="T15" fmla="*/ 65 h 75"/>
                    <a:gd name="T16" fmla="*/ 0 w 131"/>
                    <a:gd name="T17" fmla="*/ 65 h 75"/>
                    <a:gd name="T18" fmla="*/ 15 w 131"/>
                    <a:gd name="T19" fmla="*/ 74 h 75"/>
                    <a:gd name="T20" fmla="*/ 31 w 131"/>
                    <a:gd name="T21" fmla="*/ 74 h 75"/>
                    <a:gd name="T22" fmla="*/ 40 w 131"/>
                    <a:gd name="T23" fmla="*/ 65 h 75"/>
                    <a:gd name="T24" fmla="*/ 56 w 131"/>
                    <a:gd name="T25" fmla="*/ 74 h 75"/>
                    <a:gd name="T26" fmla="*/ 65 w 131"/>
                    <a:gd name="T27" fmla="*/ 65 h 75"/>
                    <a:gd name="T28" fmla="*/ 89 w 131"/>
                    <a:gd name="T29" fmla="*/ 34 h 75"/>
                    <a:gd name="T30" fmla="*/ 112 w 131"/>
                    <a:gd name="T31" fmla="*/ 34 h 75"/>
                    <a:gd name="T32" fmla="*/ 120 w 131"/>
                    <a:gd name="T33" fmla="*/ 34 h 75"/>
                    <a:gd name="T34" fmla="*/ 112 w 131"/>
                    <a:gd name="T35" fmla="*/ 25 h 75"/>
                    <a:gd name="T36" fmla="*/ 130 w 131"/>
                    <a:gd name="T37" fmla="*/ 25 h 75"/>
                    <a:gd name="T38" fmla="*/ 105 w 131"/>
                    <a:gd name="T39" fmla="*/ 18 h 75"/>
                    <a:gd name="T40" fmla="*/ 105 w 131"/>
                    <a:gd name="T41" fmla="*/ 9 h 75"/>
                    <a:gd name="T42" fmla="*/ 96 w 131"/>
                    <a:gd name="T43" fmla="*/ 0 h 75"/>
                    <a:gd name="T44" fmla="*/ 80 w 131"/>
                    <a:gd name="T45" fmla="*/ 18 h 75"/>
                    <a:gd name="T46" fmla="*/ 71 w 131"/>
                    <a:gd name="T4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8" name="Freeform 161">
                  <a:extLst>
                    <a:ext uri="{FF2B5EF4-FFF2-40B4-BE49-F238E27FC236}">
                      <a16:creationId xmlns:a16="http://schemas.microsoft.com/office/drawing/2014/main" id="{6A23F749-00E3-DC75-48D8-DD7B69001BD3}"/>
                    </a:ext>
                  </a:extLst>
                </p:cNvPr>
                <p:cNvSpPr>
                  <a:spLocks/>
                </p:cNvSpPr>
                <p:nvPr/>
              </p:nvSpPr>
              <p:spPr bwMode="gray">
                <a:xfrm>
                  <a:off x="7056025" y="4947008"/>
                  <a:ext cx="38615" cy="26602"/>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Lst>
                  <a:ahLst/>
                  <a:cxnLst>
                    <a:cxn ang="0">
                      <a:pos x="T0" y="T1"/>
                    </a:cxn>
                    <a:cxn ang="0">
                      <a:pos x="T2" y="T3"/>
                    </a:cxn>
                    <a:cxn ang="0">
                      <a:pos x="T4" y="T5"/>
                    </a:cxn>
                    <a:cxn ang="0">
                      <a:pos x="T6" y="T7"/>
                    </a:cxn>
                    <a:cxn ang="0">
                      <a:pos x="T8" y="T9"/>
                    </a:cxn>
                    <a:cxn ang="0">
                      <a:pos x="T10" y="T11"/>
                    </a:cxn>
                  </a:cxnLst>
                  <a:rect l="0" t="0" r="r" b="b"/>
                  <a:pathLst>
                    <a:path w="25" h="17">
                      <a:moveTo>
                        <a:pt x="0" y="16"/>
                      </a:moveTo>
                      <a:lnTo>
                        <a:pt x="9" y="16"/>
                      </a:lnTo>
                      <a:lnTo>
                        <a:pt x="15" y="16"/>
                      </a:lnTo>
                      <a:lnTo>
                        <a:pt x="24" y="0"/>
                      </a:lnTo>
                      <a:lnTo>
                        <a:pt x="15"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199" name="Freeform 162">
                  <a:extLst>
                    <a:ext uri="{FF2B5EF4-FFF2-40B4-BE49-F238E27FC236}">
                      <a16:creationId xmlns:a16="http://schemas.microsoft.com/office/drawing/2014/main" id="{A8CEE244-99C2-89A9-7D3F-67C5E1FB0341}"/>
                    </a:ext>
                  </a:extLst>
                </p:cNvPr>
                <p:cNvSpPr>
                  <a:spLocks/>
                </p:cNvSpPr>
                <p:nvPr/>
              </p:nvSpPr>
              <p:spPr bwMode="gray">
                <a:xfrm>
                  <a:off x="6955625" y="4960943"/>
                  <a:ext cx="200799" cy="160879"/>
                </a:xfrm>
                <a:custGeom>
                  <a:avLst/>
                  <a:gdLst>
                    <a:gd name="T0" fmla="*/ 9 w 130"/>
                    <a:gd name="T1" fmla="*/ 31 h 106"/>
                    <a:gd name="T2" fmla="*/ 24 w 130"/>
                    <a:gd name="T3" fmla="*/ 40 h 106"/>
                    <a:gd name="T4" fmla="*/ 40 w 130"/>
                    <a:gd name="T5" fmla="*/ 40 h 106"/>
                    <a:gd name="T6" fmla="*/ 49 w 130"/>
                    <a:gd name="T7" fmla="*/ 31 h 106"/>
                    <a:gd name="T8" fmla="*/ 65 w 130"/>
                    <a:gd name="T9" fmla="*/ 40 h 106"/>
                    <a:gd name="T10" fmla="*/ 74 w 130"/>
                    <a:gd name="T11" fmla="*/ 31 h 106"/>
                    <a:gd name="T12" fmla="*/ 98 w 130"/>
                    <a:gd name="T13" fmla="*/ 0 h 106"/>
                    <a:gd name="T14" fmla="*/ 121 w 130"/>
                    <a:gd name="T15" fmla="*/ 0 h 106"/>
                    <a:gd name="T16" fmla="*/ 114 w 130"/>
                    <a:gd name="T17" fmla="*/ 16 h 106"/>
                    <a:gd name="T18" fmla="*/ 121 w 130"/>
                    <a:gd name="T19" fmla="*/ 25 h 106"/>
                    <a:gd name="T20" fmla="*/ 114 w 130"/>
                    <a:gd name="T21" fmla="*/ 31 h 106"/>
                    <a:gd name="T22" fmla="*/ 129 w 130"/>
                    <a:gd name="T23" fmla="*/ 40 h 106"/>
                    <a:gd name="T24" fmla="*/ 121 w 130"/>
                    <a:gd name="T25" fmla="*/ 48 h 106"/>
                    <a:gd name="T26" fmla="*/ 105 w 130"/>
                    <a:gd name="T27" fmla="*/ 65 h 106"/>
                    <a:gd name="T28" fmla="*/ 98 w 130"/>
                    <a:gd name="T29" fmla="*/ 81 h 106"/>
                    <a:gd name="T30" fmla="*/ 105 w 130"/>
                    <a:gd name="T31" fmla="*/ 81 h 106"/>
                    <a:gd name="T32" fmla="*/ 98 w 130"/>
                    <a:gd name="T33" fmla="*/ 97 h 106"/>
                    <a:gd name="T34" fmla="*/ 80 w 130"/>
                    <a:gd name="T35" fmla="*/ 105 h 106"/>
                    <a:gd name="T36" fmla="*/ 74 w 130"/>
                    <a:gd name="T37" fmla="*/ 97 h 106"/>
                    <a:gd name="T38" fmla="*/ 57 w 130"/>
                    <a:gd name="T39" fmla="*/ 97 h 106"/>
                    <a:gd name="T40" fmla="*/ 40 w 130"/>
                    <a:gd name="T41" fmla="*/ 97 h 106"/>
                    <a:gd name="T42" fmla="*/ 40 w 130"/>
                    <a:gd name="T43" fmla="*/ 88 h 106"/>
                    <a:gd name="T44" fmla="*/ 24 w 130"/>
                    <a:gd name="T45" fmla="*/ 88 h 106"/>
                    <a:gd name="T46" fmla="*/ 17 w 130"/>
                    <a:gd name="T47" fmla="*/ 72 h 106"/>
                    <a:gd name="T48" fmla="*/ 9 w 130"/>
                    <a:gd name="T49" fmla="*/ 56 h 106"/>
                    <a:gd name="T50" fmla="*/ 0 w 130"/>
                    <a:gd name="T51" fmla="*/ 40 h 106"/>
                    <a:gd name="T52" fmla="*/ 9 w 130"/>
                    <a:gd name="T53" fmla="*/ 3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0" name="Freeform 163">
                  <a:extLst>
                    <a:ext uri="{FF2B5EF4-FFF2-40B4-BE49-F238E27FC236}">
                      <a16:creationId xmlns:a16="http://schemas.microsoft.com/office/drawing/2014/main" id="{285D7771-3E66-41FA-CE08-C28FB4F38342}"/>
                    </a:ext>
                  </a:extLst>
                </p:cNvPr>
                <p:cNvSpPr>
                  <a:spLocks/>
                </p:cNvSpPr>
                <p:nvPr/>
              </p:nvSpPr>
              <p:spPr bwMode="gray">
                <a:xfrm>
                  <a:off x="7394552" y="5045816"/>
                  <a:ext cx="202086" cy="171013"/>
                </a:xfrm>
                <a:custGeom>
                  <a:avLst/>
                  <a:gdLst>
                    <a:gd name="T0" fmla="*/ 130 w 131"/>
                    <a:gd name="T1" fmla="*/ 32 h 113"/>
                    <a:gd name="T2" fmla="*/ 130 w 131"/>
                    <a:gd name="T3" fmla="*/ 65 h 113"/>
                    <a:gd name="T4" fmla="*/ 130 w 131"/>
                    <a:gd name="T5" fmla="*/ 112 h 113"/>
                    <a:gd name="T6" fmla="*/ 112 w 131"/>
                    <a:gd name="T7" fmla="*/ 97 h 113"/>
                    <a:gd name="T8" fmla="*/ 88 w 131"/>
                    <a:gd name="T9" fmla="*/ 106 h 113"/>
                    <a:gd name="T10" fmla="*/ 97 w 131"/>
                    <a:gd name="T11" fmla="*/ 89 h 113"/>
                    <a:gd name="T12" fmla="*/ 88 w 131"/>
                    <a:gd name="T13" fmla="*/ 72 h 113"/>
                    <a:gd name="T14" fmla="*/ 31 w 131"/>
                    <a:gd name="T15" fmla="*/ 41 h 113"/>
                    <a:gd name="T16" fmla="*/ 25 w 131"/>
                    <a:gd name="T17" fmla="*/ 49 h 113"/>
                    <a:gd name="T18" fmla="*/ 25 w 131"/>
                    <a:gd name="T19" fmla="*/ 41 h 113"/>
                    <a:gd name="T20" fmla="*/ 16 w 131"/>
                    <a:gd name="T21" fmla="*/ 32 h 113"/>
                    <a:gd name="T22" fmla="*/ 31 w 131"/>
                    <a:gd name="T23" fmla="*/ 32 h 113"/>
                    <a:gd name="T24" fmla="*/ 40 w 131"/>
                    <a:gd name="T25" fmla="*/ 25 h 113"/>
                    <a:gd name="T26" fmla="*/ 16 w 131"/>
                    <a:gd name="T27" fmla="*/ 25 h 113"/>
                    <a:gd name="T28" fmla="*/ 6 w 131"/>
                    <a:gd name="T29" fmla="*/ 16 h 113"/>
                    <a:gd name="T30" fmla="*/ 0 w 131"/>
                    <a:gd name="T31" fmla="*/ 16 h 113"/>
                    <a:gd name="T32" fmla="*/ 16 w 131"/>
                    <a:gd name="T33" fmla="*/ 0 h 113"/>
                    <a:gd name="T34" fmla="*/ 25 w 131"/>
                    <a:gd name="T35" fmla="*/ 0 h 113"/>
                    <a:gd name="T36" fmla="*/ 40 w 131"/>
                    <a:gd name="T37" fmla="*/ 9 h 113"/>
                    <a:gd name="T38" fmla="*/ 40 w 131"/>
                    <a:gd name="T39" fmla="*/ 25 h 113"/>
                    <a:gd name="T40" fmla="*/ 56 w 131"/>
                    <a:gd name="T41" fmla="*/ 41 h 113"/>
                    <a:gd name="T42" fmla="*/ 72 w 131"/>
                    <a:gd name="T43" fmla="*/ 25 h 113"/>
                    <a:gd name="T44" fmla="*/ 88 w 131"/>
                    <a:gd name="T45" fmla="*/ 16 h 113"/>
                    <a:gd name="T46" fmla="*/ 130 w 131"/>
                    <a:gd name="T47" fmla="*/ 3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1" name="Freeform 164">
                  <a:extLst>
                    <a:ext uri="{FF2B5EF4-FFF2-40B4-BE49-F238E27FC236}">
                      <a16:creationId xmlns:a16="http://schemas.microsoft.com/office/drawing/2014/main" id="{C6D46BBD-7579-FEF2-C427-84A04B8011E1}"/>
                    </a:ext>
                  </a:extLst>
                </p:cNvPr>
                <p:cNvSpPr>
                  <a:spLocks/>
                </p:cNvSpPr>
                <p:nvPr/>
              </p:nvSpPr>
              <p:spPr bwMode="gray">
                <a:xfrm>
                  <a:off x="7594063" y="5093952"/>
                  <a:ext cx="189215" cy="160879"/>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2" name="Freeform 165">
                  <a:extLst>
                    <a:ext uri="{FF2B5EF4-FFF2-40B4-BE49-F238E27FC236}">
                      <a16:creationId xmlns:a16="http://schemas.microsoft.com/office/drawing/2014/main" id="{8C6860D0-6F46-A993-9F19-32CCFC1A27D1}"/>
                    </a:ext>
                  </a:extLst>
                </p:cNvPr>
                <p:cNvSpPr>
                  <a:spLocks/>
                </p:cNvSpPr>
                <p:nvPr/>
              </p:nvSpPr>
              <p:spPr bwMode="gray">
                <a:xfrm>
                  <a:off x="7303162" y="4237623"/>
                  <a:ext cx="68220" cy="100074"/>
                </a:xfrm>
                <a:custGeom>
                  <a:avLst/>
                  <a:gdLst>
                    <a:gd name="T0" fmla="*/ 0 w 44"/>
                    <a:gd name="T1" fmla="*/ 16 h 66"/>
                    <a:gd name="T2" fmla="*/ 25 w 44"/>
                    <a:gd name="T3" fmla="*/ 0 h 66"/>
                    <a:gd name="T4" fmla="*/ 34 w 44"/>
                    <a:gd name="T5" fmla="*/ 16 h 66"/>
                    <a:gd name="T6" fmla="*/ 43 w 44"/>
                    <a:gd name="T7" fmla="*/ 40 h 66"/>
                    <a:gd name="T8" fmla="*/ 34 w 44"/>
                    <a:gd name="T9" fmla="*/ 56 h 66"/>
                    <a:gd name="T10" fmla="*/ 0 w 44"/>
                    <a:gd name="T11" fmla="*/ 65 h 66"/>
                    <a:gd name="T12" fmla="*/ 0 w 44"/>
                    <a:gd name="T13" fmla="*/ 56 h 66"/>
                    <a:gd name="T14" fmla="*/ 0 w 44"/>
                    <a:gd name="T15" fmla="*/ 48 h 66"/>
                    <a:gd name="T16" fmla="*/ 0 w 44"/>
                    <a:gd name="T17" fmla="*/ 24 h 66"/>
                    <a:gd name="T18" fmla="*/ 0 w 44"/>
                    <a:gd name="T1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3" name="Freeform 166">
                  <a:extLst>
                    <a:ext uri="{FF2B5EF4-FFF2-40B4-BE49-F238E27FC236}">
                      <a16:creationId xmlns:a16="http://schemas.microsoft.com/office/drawing/2014/main" id="{9FFF7151-FD16-0D61-D129-47B44CC2A480}"/>
                    </a:ext>
                  </a:extLst>
                </p:cNvPr>
                <p:cNvSpPr>
                  <a:spLocks/>
                </p:cNvSpPr>
                <p:nvPr/>
              </p:nvSpPr>
              <p:spPr bwMode="gray">
                <a:xfrm>
                  <a:off x="7269696" y="4137550"/>
                  <a:ext cx="126143" cy="125410"/>
                </a:xfrm>
                <a:custGeom>
                  <a:avLst/>
                  <a:gdLst>
                    <a:gd name="T0" fmla="*/ 81 w 82"/>
                    <a:gd name="T1" fmla="*/ 0 h 83"/>
                    <a:gd name="T2" fmla="*/ 72 w 82"/>
                    <a:gd name="T3" fmla="*/ 0 h 83"/>
                    <a:gd name="T4" fmla="*/ 56 w 82"/>
                    <a:gd name="T5" fmla="*/ 9 h 83"/>
                    <a:gd name="T6" fmla="*/ 47 w 82"/>
                    <a:gd name="T7" fmla="*/ 9 h 83"/>
                    <a:gd name="T8" fmla="*/ 40 w 82"/>
                    <a:gd name="T9" fmla="*/ 17 h 83"/>
                    <a:gd name="T10" fmla="*/ 32 w 82"/>
                    <a:gd name="T11" fmla="*/ 17 h 83"/>
                    <a:gd name="T12" fmla="*/ 0 w 82"/>
                    <a:gd name="T13" fmla="*/ 41 h 83"/>
                    <a:gd name="T14" fmla="*/ 0 w 82"/>
                    <a:gd name="T15" fmla="*/ 50 h 83"/>
                    <a:gd name="T16" fmla="*/ 7 w 82"/>
                    <a:gd name="T17" fmla="*/ 50 h 83"/>
                    <a:gd name="T18" fmla="*/ 0 w 82"/>
                    <a:gd name="T19" fmla="*/ 74 h 83"/>
                    <a:gd name="T20" fmla="*/ 7 w 82"/>
                    <a:gd name="T21" fmla="*/ 82 h 83"/>
                    <a:gd name="T22" fmla="*/ 16 w 82"/>
                    <a:gd name="T23" fmla="*/ 82 h 83"/>
                    <a:gd name="T24" fmla="*/ 22 w 82"/>
                    <a:gd name="T25" fmla="*/ 82 h 83"/>
                    <a:gd name="T26" fmla="*/ 47 w 82"/>
                    <a:gd name="T27" fmla="*/ 66 h 83"/>
                    <a:gd name="T28" fmla="*/ 32 w 82"/>
                    <a:gd name="T29" fmla="*/ 57 h 83"/>
                    <a:gd name="T30" fmla="*/ 32 w 82"/>
                    <a:gd name="T31" fmla="*/ 50 h 83"/>
                    <a:gd name="T32" fmla="*/ 65 w 82"/>
                    <a:gd name="T33" fmla="*/ 34 h 83"/>
                    <a:gd name="T34" fmla="*/ 65 w 82"/>
                    <a:gd name="T35" fmla="*/ 17 h 83"/>
                    <a:gd name="T36" fmla="*/ 81 w 82"/>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6350" cap="rnd" cmpd="sng">
                  <a:solidFill>
                    <a:srgbClr val="D0D0D0"/>
                  </a:solidFill>
                  <a:prstDash val="solid"/>
                  <a:round/>
                  <a:headEnd/>
                  <a:tailEnd/>
                </a:ln>
                <a:effectLst/>
              </p:spPr>
              <p:txBody>
                <a:bodyPr/>
                <a:lstStyle/>
                <a:p>
                  <a:endParaRPr lang="de-DE" dirty="0"/>
                </a:p>
              </p:txBody>
            </p:sp>
            <p:sp>
              <p:nvSpPr>
                <p:cNvPr id="204" name="Freeform 240">
                  <a:extLst>
                    <a:ext uri="{FF2B5EF4-FFF2-40B4-BE49-F238E27FC236}">
                      <a16:creationId xmlns:a16="http://schemas.microsoft.com/office/drawing/2014/main" id="{35913549-878E-77EA-70E0-32E61E42D838}"/>
                    </a:ext>
                  </a:extLst>
                </p:cNvPr>
                <p:cNvSpPr>
                  <a:spLocks/>
                </p:cNvSpPr>
                <p:nvPr/>
              </p:nvSpPr>
              <p:spPr bwMode="gray">
                <a:xfrm>
                  <a:off x="6730370" y="5007813"/>
                  <a:ext cx="25743" cy="27868"/>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5" name="Freeform 241">
                  <a:extLst>
                    <a:ext uri="{FF2B5EF4-FFF2-40B4-BE49-F238E27FC236}">
                      <a16:creationId xmlns:a16="http://schemas.microsoft.com/office/drawing/2014/main" id="{814E5CAD-D260-CC1D-D524-0A8E8DB64677}"/>
                    </a:ext>
                  </a:extLst>
                </p:cNvPr>
                <p:cNvSpPr>
                  <a:spLocks/>
                </p:cNvSpPr>
                <p:nvPr/>
              </p:nvSpPr>
              <p:spPr bwMode="gray">
                <a:xfrm>
                  <a:off x="6730370" y="5007813"/>
                  <a:ext cx="25743" cy="27868"/>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6" name="Freeform 242">
                  <a:extLst>
                    <a:ext uri="{FF2B5EF4-FFF2-40B4-BE49-F238E27FC236}">
                      <a16:creationId xmlns:a16="http://schemas.microsoft.com/office/drawing/2014/main" id="{D3B7B94D-7079-4C6F-B4F4-849798619C3E}"/>
                    </a:ext>
                  </a:extLst>
                </p:cNvPr>
                <p:cNvSpPr>
                  <a:spLocks/>
                </p:cNvSpPr>
                <p:nvPr/>
              </p:nvSpPr>
              <p:spPr bwMode="gray">
                <a:xfrm>
                  <a:off x="6757401" y="5059751"/>
                  <a:ext cx="25743" cy="25335"/>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7" name="Freeform 243">
                  <a:extLst>
                    <a:ext uri="{FF2B5EF4-FFF2-40B4-BE49-F238E27FC236}">
                      <a16:creationId xmlns:a16="http://schemas.microsoft.com/office/drawing/2014/main" id="{A2B023B7-58F9-877E-9A7C-76EAD5E6DFC4}"/>
                    </a:ext>
                  </a:extLst>
                </p:cNvPr>
                <p:cNvSpPr>
                  <a:spLocks/>
                </p:cNvSpPr>
                <p:nvPr/>
              </p:nvSpPr>
              <p:spPr bwMode="gray">
                <a:xfrm>
                  <a:off x="6757401" y="5059751"/>
                  <a:ext cx="25743" cy="25335"/>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8" name="Freeform 244">
                  <a:extLst>
                    <a:ext uri="{FF2B5EF4-FFF2-40B4-BE49-F238E27FC236}">
                      <a16:creationId xmlns:a16="http://schemas.microsoft.com/office/drawing/2014/main" id="{A1CF81BC-36B7-75A7-D80F-EA263F6780D9}"/>
                    </a:ext>
                  </a:extLst>
                </p:cNvPr>
                <p:cNvSpPr>
                  <a:spLocks/>
                </p:cNvSpPr>
                <p:nvPr/>
              </p:nvSpPr>
              <p:spPr bwMode="gray">
                <a:xfrm>
                  <a:off x="6381546" y="4849468"/>
                  <a:ext cx="52774" cy="74739"/>
                </a:xfrm>
                <a:custGeom>
                  <a:avLst/>
                  <a:gdLst>
                    <a:gd name="T0" fmla="*/ 0 w 34"/>
                    <a:gd name="T1" fmla="*/ 25 h 50"/>
                    <a:gd name="T2" fmla="*/ 9 w 34"/>
                    <a:gd name="T3" fmla="*/ 49 h 50"/>
                    <a:gd name="T4" fmla="*/ 24 w 34"/>
                    <a:gd name="T5" fmla="*/ 49 h 50"/>
                    <a:gd name="T6" fmla="*/ 33 w 34"/>
                    <a:gd name="T7" fmla="*/ 34 h 50"/>
                    <a:gd name="T8" fmla="*/ 15 w 34"/>
                    <a:gd name="T9" fmla="*/ 9 h 50"/>
                    <a:gd name="T10" fmla="*/ 9 w 34"/>
                    <a:gd name="T11" fmla="*/ 0 h 50"/>
                    <a:gd name="T12" fmla="*/ 0 w 34"/>
                    <a:gd name="T13" fmla="*/ 25 h 50"/>
                  </a:gdLst>
                  <a:ahLst/>
                  <a:cxnLst>
                    <a:cxn ang="0">
                      <a:pos x="T0" y="T1"/>
                    </a:cxn>
                    <a:cxn ang="0">
                      <a:pos x="T2" y="T3"/>
                    </a:cxn>
                    <a:cxn ang="0">
                      <a:pos x="T4" y="T5"/>
                    </a:cxn>
                    <a:cxn ang="0">
                      <a:pos x="T6" y="T7"/>
                    </a:cxn>
                    <a:cxn ang="0">
                      <a:pos x="T8" y="T9"/>
                    </a:cxn>
                    <a:cxn ang="0">
                      <a:pos x="T10" y="T11"/>
                    </a:cxn>
                    <a:cxn ang="0">
                      <a:pos x="T12" y="T13"/>
                    </a:cxn>
                  </a:cxnLst>
                  <a:rect l="0" t="0" r="r" b="b"/>
                  <a:pathLst>
                    <a:path w="34" h="50">
                      <a:moveTo>
                        <a:pt x="0" y="25"/>
                      </a:moveTo>
                      <a:lnTo>
                        <a:pt x="9" y="49"/>
                      </a:lnTo>
                      <a:lnTo>
                        <a:pt x="24" y="49"/>
                      </a:lnTo>
                      <a:lnTo>
                        <a:pt x="33" y="34"/>
                      </a:lnTo>
                      <a:lnTo>
                        <a:pt x="15" y="9"/>
                      </a:lnTo>
                      <a:lnTo>
                        <a:pt x="9" y="0"/>
                      </a:lnTo>
                      <a:lnTo>
                        <a:pt x="0"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09" name="Freeform 245">
                  <a:extLst>
                    <a:ext uri="{FF2B5EF4-FFF2-40B4-BE49-F238E27FC236}">
                      <a16:creationId xmlns:a16="http://schemas.microsoft.com/office/drawing/2014/main" id="{F00EB9F7-D319-C04C-49CA-2DD00AF52AA0}"/>
                    </a:ext>
                  </a:extLst>
                </p:cNvPr>
                <p:cNvSpPr>
                  <a:spLocks/>
                </p:cNvSpPr>
                <p:nvPr/>
              </p:nvSpPr>
              <p:spPr bwMode="gray">
                <a:xfrm>
                  <a:off x="6955625" y="4655654"/>
                  <a:ext cx="54061" cy="35469"/>
                </a:xfrm>
                <a:custGeom>
                  <a:avLst/>
                  <a:gdLst>
                    <a:gd name="T0" fmla="*/ 0 w 35"/>
                    <a:gd name="T1" fmla="*/ 6 h 24"/>
                    <a:gd name="T2" fmla="*/ 0 w 35"/>
                    <a:gd name="T3" fmla="*/ 16 h 24"/>
                    <a:gd name="T4" fmla="*/ 17 w 35"/>
                    <a:gd name="T5" fmla="*/ 23 h 24"/>
                    <a:gd name="T6" fmla="*/ 24 w 35"/>
                    <a:gd name="T7" fmla="*/ 16 h 24"/>
                    <a:gd name="T8" fmla="*/ 34 w 35"/>
                    <a:gd name="T9" fmla="*/ 0 h 24"/>
                    <a:gd name="T10" fmla="*/ 9 w 35"/>
                    <a:gd name="T11" fmla="*/ 0 h 24"/>
                    <a:gd name="T12" fmla="*/ 0 w 35"/>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35" h="24">
                      <a:moveTo>
                        <a:pt x="0" y="6"/>
                      </a:moveTo>
                      <a:lnTo>
                        <a:pt x="0" y="16"/>
                      </a:lnTo>
                      <a:lnTo>
                        <a:pt x="17" y="23"/>
                      </a:lnTo>
                      <a:lnTo>
                        <a:pt x="24" y="16"/>
                      </a:lnTo>
                      <a:lnTo>
                        <a:pt x="34" y="0"/>
                      </a:lnTo>
                      <a:lnTo>
                        <a:pt x="9" y="0"/>
                      </a:lnTo>
                      <a:lnTo>
                        <a:pt x="0" y="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10" name="Freeform 246">
                  <a:extLst>
                    <a:ext uri="{FF2B5EF4-FFF2-40B4-BE49-F238E27FC236}">
                      <a16:creationId xmlns:a16="http://schemas.microsoft.com/office/drawing/2014/main" id="{51D20A46-8FA4-E0FF-92E6-DB82B8A1B8DC}"/>
                    </a:ext>
                  </a:extLst>
                </p:cNvPr>
                <p:cNvSpPr>
                  <a:spLocks/>
                </p:cNvSpPr>
                <p:nvPr/>
              </p:nvSpPr>
              <p:spPr bwMode="gray">
                <a:xfrm>
                  <a:off x="7180881" y="4542912"/>
                  <a:ext cx="39902" cy="62071"/>
                </a:xfrm>
                <a:custGeom>
                  <a:avLst/>
                  <a:gdLst>
                    <a:gd name="T0" fmla="*/ 0 w 26"/>
                    <a:gd name="T1" fmla="*/ 25 h 41"/>
                    <a:gd name="T2" fmla="*/ 0 w 26"/>
                    <a:gd name="T3" fmla="*/ 33 h 41"/>
                    <a:gd name="T4" fmla="*/ 8 w 26"/>
                    <a:gd name="T5" fmla="*/ 40 h 41"/>
                    <a:gd name="T6" fmla="*/ 25 w 26"/>
                    <a:gd name="T7" fmla="*/ 0 h 41"/>
                    <a:gd name="T8" fmla="*/ 17 w 26"/>
                    <a:gd name="T9" fmla="*/ 0 h 41"/>
                    <a:gd name="T10" fmla="*/ 0 w 26"/>
                    <a:gd name="T11" fmla="*/ 25 h 41"/>
                  </a:gdLst>
                  <a:ahLst/>
                  <a:cxnLst>
                    <a:cxn ang="0">
                      <a:pos x="T0" y="T1"/>
                    </a:cxn>
                    <a:cxn ang="0">
                      <a:pos x="T2" y="T3"/>
                    </a:cxn>
                    <a:cxn ang="0">
                      <a:pos x="T4" y="T5"/>
                    </a:cxn>
                    <a:cxn ang="0">
                      <a:pos x="T6" y="T7"/>
                    </a:cxn>
                    <a:cxn ang="0">
                      <a:pos x="T8" y="T9"/>
                    </a:cxn>
                    <a:cxn ang="0">
                      <a:pos x="T10" y="T11"/>
                    </a:cxn>
                  </a:cxnLst>
                  <a:rect l="0" t="0" r="r" b="b"/>
                  <a:pathLst>
                    <a:path w="26" h="41">
                      <a:moveTo>
                        <a:pt x="0" y="25"/>
                      </a:moveTo>
                      <a:lnTo>
                        <a:pt x="0" y="33"/>
                      </a:lnTo>
                      <a:lnTo>
                        <a:pt x="8" y="40"/>
                      </a:lnTo>
                      <a:lnTo>
                        <a:pt x="25" y="0"/>
                      </a:lnTo>
                      <a:lnTo>
                        <a:pt x="17" y="0"/>
                      </a:lnTo>
                      <a:lnTo>
                        <a:pt x="0"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11" name="Freeform 247">
                  <a:extLst>
                    <a:ext uri="{FF2B5EF4-FFF2-40B4-BE49-F238E27FC236}">
                      <a16:creationId xmlns:a16="http://schemas.microsoft.com/office/drawing/2014/main" id="{C884C88E-EC93-FE19-15E4-12963FD60C1D}"/>
                    </a:ext>
                  </a:extLst>
                </p:cNvPr>
                <p:cNvSpPr>
                  <a:spLocks/>
                </p:cNvSpPr>
                <p:nvPr/>
              </p:nvSpPr>
              <p:spPr bwMode="gray">
                <a:xfrm>
                  <a:off x="7370095" y="4347832"/>
                  <a:ext cx="50200" cy="74739"/>
                </a:xfrm>
                <a:custGeom>
                  <a:avLst/>
                  <a:gdLst>
                    <a:gd name="T0" fmla="*/ 0 w 33"/>
                    <a:gd name="T1" fmla="*/ 7 h 49"/>
                    <a:gd name="T2" fmla="*/ 0 w 33"/>
                    <a:gd name="T3" fmla="*/ 17 h 49"/>
                    <a:gd name="T4" fmla="*/ 7 w 33"/>
                    <a:gd name="T5" fmla="*/ 17 h 49"/>
                    <a:gd name="T6" fmla="*/ 7 w 33"/>
                    <a:gd name="T7" fmla="*/ 41 h 49"/>
                    <a:gd name="T8" fmla="*/ 16 w 33"/>
                    <a:gd name="T9" fmla="*/ 48 h 49"/>
                    <a:gd name="T10" fmla="*/ 22 w 33"/>
                    <a:gd name="T11" fmla="*/ 41 h 49"/>
                    <a:gd name="T12" fmla="*/ 32 w 33"/>
                    <a:gd name="T13" fmla="*/ 17 h 49"/>
                    <a:gd name="T14" fmla="*/ 22 w 33"/>
                    <a:gd name="T15" fmla="*/ 7 h 49"/>
                    <a:gd name="T16" fmla="*/ 7 w 33"/>
                    <a:gd name="T17" fmla="*/ 0 h 49"/>
                    <a:gd name="T18" fmla="*/ 0 w 33"/>
                    <a:gd name="T1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12" name="Freeform 248">
                  <a:extLst>
                    <a:ext uri="{FF2B5EF4-FFF2-40B4-BE49-F238E27FC236}">
                      <a16:creationId xmlns:a16="http://schemas.microsoft.com/office/drawing/2014/main" id="{88E2A2DC-5277-31A6-043F-E85C71BDC17E}"/>
                    </a:ext>
                  </a:extLst>
                </p:cNvPr>
                <p:cNvSpPr>
                  <a:spLocks/>
                </p:cNvSpPr>
                <p:nvPr/>
              </p:nvSpPr>
              <p:spPr bwMode="gray">
                <a:xfrm>
                  <a:off x="7419008" y="4347832"/>
                  <a:ext cx="51487" cy="27868"/>
                </a:xfrm>
                <a:custGeom>
                  <a:avLst/>
                  <a:gdLst>
                    <a:gd name="T0" fmla="*/ 0 w 33"/>
                    <a:gd name="T1" fmla="*/ 7 h 18"/>
                    <a:gd name="T2" fmla="*/ 0 w 33"/>
                    <a:gd name="T3" fmla="*/ 17 h 18"/>
                    <a:gd name="T4" fmla="*/ 9 w 33"/>
                    <a:gd name="T5" fmla="*/ 17 h 18"/>
                    <a:gd name="T6" fmla="*/ 15 w 33"/>
                    <a:gd name="T7" fmla="*/ 7 h 18"/>
                    <a:gd name="T8" fmla="*/ 24 w 33"/>
                    <a:gd name="T9" fmla="*/ 7 h 18"/>
                    <a:gd name="T10" fmla="*/ 32 w 33"/>
                    <a:gd name="T11" fmla="*/ 0 h 18"/>
                    <a:gd name="T12" fmla="*/ 15 w 33"/>
                    <a:gd name="T13" fmla="*/ 0 h 18"/>
                    <a:gd name="T14" fmla="*/ 0 w 33"/>
                    <a:gd name="T15" fmla="*/ 7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13" name="Freeform 249">
                  <a:extLst>
                    <a:ext uri="{FF2B5EF4-FFF2-40B4-BE49-F238E27FC236}">
                      <a16:creationId xmlns:a16="http://schemas.microsoft.com/office/drawing/2014/main" id="{F2C80BCD-30AF-8B7E-E3BD-5D5D354B9BA5}"/>
                    </a:ext>
                  </a:extLst>
                </p:cNvPr>
                <p:cNvSpPr>
                  <a:spLocks/>
                </p:cNvSpPr>
                <p:nvPr/>
              </p:nvSpPr>
              <p:spPr bwMode="gray">
                <a:xfrm>
                  <a:off x="7394552" y="4162885"/>
                  <a:ext cx="212384" cy="197615"/>
                </a:xfrm>
                <a:custGeom>
                  <a:avLst/>
                  <a:gdLst>
                    <a:gd name="T0" fmla="*/ 0 w 138"/>
                    <a:gd name="T1" fmla="*/ 114 h 130"/>
                    <a:gd name="T2" fmla="*/ 0 w 138"/>
                    <a:gd name="T3" fmla="*/ 122 h 130"/>
                    <a:gd name="T4" fmla="*/ 16 w 138"/>
                    <a:gd name="T5" fmla="*/ 122 h 130"/>
                    <a:gd name="T6" fmla="*/ 48 w 138"/>
                    <a:gd name="T7" fmla="*/ 105 h 130"/>
                    <a:gd name="T8" fmla="*/ 56 w 138"/>
                    <a:gd name="T9" fmla="*/ 114 h 130"/>
                    <a:gd name="T10" fmla="*/ 56 w 138"/>
                    <a:gd name="T11" fmla="*/ 122 h 130"/>
                    <a:gd name="T12" fmla="*/ 65 w 138"/>
                    <a:gd name="T13" fmla="*/ 129 h 130"/>
                    <a:gd name="T14" fmla="*/ 72 w 138"/>
                    <a:gd name="T15" fmla="*/ 114 h 130"/>
                    <a:gd name="T16" fmla="*/ 72 w 138"/>
                    <a:gd name="T17" fmla="*/ 105 h 130"/>
                    <a:gd name="T18" fmla="*/ 80 w 138"/>
                    <a:gd name="T19" fmla="*/ 114 h 130"/>
                    <a:gd name="T20" fmla="*/ 88 w 138"/>
                    <a:gd name="T21" fmla="*/ 114 h 130"/>
                    <a:gd name="T22" fmla="*/ 97 w 138"/>
                    <a:gd name="T23" fmla="*/ 105 h 130"/>
                    <a:gd name="T24" fmla="*/ 105 w 138"/>
                    <a:gd name="T25" fmla="*/ 114 h 130"/>
                    <a:gd name="T26" fmla="*/ 105 w 138"/>
                    <a:gd name="T27" fmla="*/ 105 h 130"/>
                    <a:gd name="T28" fmla="*/ 112 w 138"/>
                    <a:gd name="T29" fmla="*/ 97 h 130"/>
                    <a:gd name="T30" fmla="*/ 112 w 138"/>
                    <a:gd name="T31" fmla="*/ 105 h 130"/>
                    <a:gd name="T32" fmla="*/ 121 w 138"/>
                    <a:gd name="T33" fmla="*/ 105 h 130"/>
                    <a:gd name="T34" fmla="*/ 130 w 138"/>
                    <a:gd name="T35" fmla="*/ 97 h 130"/>
                    <a:gd name="T36" fmla="*/ 130 w 138"/>
                    <a:gd name="T37" fmla="*/ 57 h 130"/>
                    <a:gd name="T38" fmla="*/ 137 w 138"/>
                    <a:gd name="T39" fmla="*/ 57 h 130"/>
                    <a:gd name="T40" fmla="*/ 137 w 138"/>
                    <a:gd name="T41" fmla="*/ 8 h 130"/>
                    <a:gd name="T42" fmla="*/ 130 w 138"/>
                    <a:gd name="T43" fmla="*/ 0 h 130"/>
                    <a:gd name="T44" fmla="*/ 130 w 138"/>
                    <a:gd name="T45" fmla="*/ 8 h 130"/>
                    <a:gd name="T46" fmla="*/ 121 w 138"/>
                    <a:gd name="T47" fmla="*/ 8 h 130"/>
                    <a:gd name="T48" fmla="*/ 112 w 138"/>
                    <a:gd name="T49" fmla="*/ 40 h 130"/>
                    <a:gd name="T50" fmla="*/ 97 w 138"/>
                    <a:gd name="T51" fmla="*/ 65 h 130"/>
                    <a:gd name="T52" fmla="*/ 80 w 138"/>
                    <a:gd name="T53" fmla="*/ 82 h 130"/>
                    <a:gd name="T54" fmla="*/ 80 w 138"/>
                    <a:gd name="T55" fmla="*/ 65 h 130"/>
                    <a:gd name="T56" fmla="*/ 72 w 138"/>
                    <a:gd name="T57" fmla="*/ 73 h 130"/>
                    <a:gd name="T58" fmla="*/ 65 w 138"/>
                    <a:gd name="T59" fmla="*/ 97 h 130"/>
                    <a:gd name="T60" fmla="*/ 56 w 138"/>
                    <a:gd name="T61" fmla="*/ 97 h 130"/>
                    <a:gd name="T62" fmla="*/ 25 w 138"/>
                    <a:gd name="T63" fmla="*/ 97 h 130"/>
                    <a:gd name="T64" fmla="*/ 0 w 138"/>
                    <a:gd name="T65" fmla="*/ 11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14" name="Freeform 250">
                  <a:extLst>
                    <a:ext uri="{FF2B5EF4-FFF2-40B4-BE49-F238E27FC236}">
                      <a16:creationId xmlns:a16="http://schemas.microsoft.com/office/drawing/2014/main" id="{4EA7BE1C-C947-59DC-87FE-1506E5B8F5F5}"/>
                    </a:ext>
                  </a:extLst>
                </p:cNvPr>
                <p:cNvSpPr>
                  <a:spLocks/>
                </p:cNvSpPr>
                <p:nvPr/>
              </p:nvSpPr>
              <p:spPr bwMode="gray">
                <a:xfrm>
                  <a:off x="7567032" y="4052677"/>
                  <a:ext cx="126143" cy="111475"/>
                </a:xfrm>
                <a:custGeom>
                  <a:avLst/>
                  <a:gdLst>
                    <a:gd name="T0" fmla="*/ 0 w 82"/>
                    <a:gd name="T1" fmla="*/ 56 h 74"/>
                    <a:gd name="T2" fmla="*/ 0 w 82"/>
                    <a:gd name="T3" fmla="*/ 73 h 74"/>
                    <a:gd name="T4" fmla="*/ 18 w 82"/>
                    <a:gd name="T5" fmla="*/ 65 h 74"/>
                    <a:gd name="T6" fmla="*/ 9 w 82"/>
                    <a:gd name="T7" fmla="*/ 65 h 74"/>
                    <a:gd name="T8" fmla="*/ 9 w 82"/>
                    <a:gd name="T9" fmla="*/ 56 h 74"/>
                    <a:gd name="T10" fmla="*/ 25 w 82"/>
                    <a:gd name="T11" fmla="*/ 56 h 74"/>
                    <a:gd name="T12" fmla="*/ 50 w 82"/>
                    <a:gd name="T13" fmla="*/ 65 h 74"/>
                    <a:gd name="T14" fmla="*/ 58 w 82"/>
                    <a:gd name="T15" fmla="*/ 50 h 74"/>
                    <a:gd name="T16" fmla="*/ 65 w 82"/>
                    <a:gd name="T17" fmla="*/ 50 h 74"/>
                    <a:gd name="T18" fmla="*/ 81 w 82"/>
                    <a:gd name="T19" fmla="*/ 41 h 74"/>
                    <a:gd name="T20" fmla="*/ 75 w 82"/>
                    <a:gd name="T21" fmla="*/ 41 h 74"/>
                    <a:gd name="T22" fmla="*/ 65 w 82"/>
                    <a:gd name="T23" fmla="*/ 31 h 74"/>
                    <a:gd name="T24" fmla="*/ 75 w 82"/>
                    <a:gd name="T25" fmla="*/ 25 h 74"/>
                    <a:gd name="T26" fmla="*/ 65 w 82"/>
                    <a:gd name="T27" fmla="*/ 31 h 74"/>
                    <a:gd name="T28" fmla="*/ 50 w 82"/>
                    <a:gd name="T29" fmla="*/ 25 h 74"/>
                    <a:gd name="T30" fmla="*/ 25 w 82"/>
                    <a:gd name="T31" fmla="*/ 0 h 74"/>
                    <a:gd name="T32" fmla="*/ 25 w 82"/>
                    <a:gd name="T33" fmla="*/ 9 h 74"/>
                    <a:gd name="T34" fmla="*/ 25 w 82"/>
                    <a:gd name="T35" fmla="*/ 16 h 74"/>
                    <a:gd name="T36" fmla="*/ 18 w 82"/>
                    <a:gd name="T37" fmla="*/ 50 h 74"/>
                    <a:gd name="T38" fmla="*/ 9 w 82"/>
                    <a:gd name="T39" fmla="*/ 41 h 74"/>
                    <a:gd name="T40" fmla="*/ 9 w 82"/>
                    <a:gd name="T41" fmla="*/ 50 h 74"/>
                    <a:gd name="T42" fmla="*/ 0 w 82"/>
                    <a:gd name="T43"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6350" cap="rnd" cmpd="sng">
                  <a:solidFill>
                    <a:srgbClr val="D0D0D0"/>
                  </a:solidFill>
                  <a:prstDash val="solid"/>
                  <a:round/>
                  <a:headEnd/>
                  <a:tailEnd/>
                </a:ln>
                <a:effectLst/>
              </p:spPr>
              <p:txBody>
                <a:bodyPr/>
                <a:lstStyle/>
                <a:p>
                  <a:endParaRPr lang="de-DE" dirty="0"/>
                </a:p>
              </p:txBody>
            </p:sp>
            <p:sp>
              <p:nvSpPr>
                <p:cNvPr id="215" name="Freeform 251">
                  <a:extLst>
                    <a:ext uri="{FF2B5EF4-FFF2-40B4-BE49-F238E27FC236}">
                      <a16:creationId xmlns:a16="http://schemas.microsoft.com/office/drawing/2014/main" id="{EF5A374B-C3AA-E8EB-2F04-A39BC22530B7}"/>
                    </a:ext>
                  </a:extLst>
                </p:cNvPr>
                <p:cNvSpPr>
                  <a:spLocks/>
                </p:cNvSpPr>
                <p:nvPr/>
              </p:nvSpPr>
              <p:spPr bwMode="gray">
                <a:xfrm>
                  <a:off x="7866944" y="3905732"/>
                  <a:ext cx="27031" cy="25335"/>
                </a:xfrm>
                <a:custGeom>
                  <a:avLst/>
                  <a:gdLst>
                    <a:gd name="T0" fmla="*/ 0 w 18"/>
                    <a:gd name="T1" fmla="*/ 8 h 17"/>
                    <a:gd name="T2" fmla="*/ 0 w 18"/>
                    <a:gd name="T3" fmla="*/ 16 h 17"/>
                    <a:gd name="T4" fmla="*/ 8 w 18"/>
                    <a:gd name="T5" fmla="*/ 8 h 17"/>
                    <a:gd name="T6" fmla="*/ 17 w 18"/>
                    <a:gd name="T7" fmla="*/ 0 h 17"/>
                    <a:gd name="T8" fmla="*/ 0 w 18"/>
                    <a:gd name="T9" fmla="*/ 8 h 17"/>
                  </a:gdLst>
                  <a:ahLst/>
                  <a:cxnLst>
                    <a:cxn ang="0">
                      <a:pos x="T0" y="T1"/>
                    </a:cxn>
                    <a:cxn ang="0">
                      <a:pos x="T2" y="T3"/>
                    </a:cxn>
                    <a:cxn ang="0">
                      <a:pos x="T4" y="T5"/>
                    </a:cxn>
                    <a:cxn ang="0">
                      <a:pos x="T6" y="T7"/>
                    </a:cxn>
                    <a:cxn ang="0">
                      <a:pos x="T8" y="T9"/>
                    </a:cxn>
                  </a:cxnLst>
                  <a:rect l="0" t="0" r="r" b="b"/>
                  <a:pathLst>
                    <a:path w="18" h="17">
                      <a:moveTo>
                        <a:pt x="0" y="8"/>
                      </a:moveTo>
                      <a:lnTo>
                        <a:pt x="0" y="16"/>
                      </a:lnTo>
                      <a:lnTo>
                        <a:pt x="8" y="8"/>
                      </a:lnTo>
                      <a:lnTo>
                        <a:pt x="17"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216" name="Freeform 252">
                  <a:extLst>
                    <a:ext uri="{FF2B5EF4-FFF2-40B4-BE49-F238E27FC236}">
                      <a16:creationId xmlns:a16="http://schemas.microsoft.com/office/drawing/2014/main" id="{39C6B4C3-CEAF-2AB3-1E02-BD8C7BE469EF}"/>
                    </a:ext>
                  </a:extLst>
                </p:cNvPr>
                <p:cNvSpPr>
                  <a:spLocks/>
                </p:cNvSpPr>
                <p:nvPr/>
              </p:nvSpPr>
              <p:spPr bwMode="gray">
                <a:xfrm>
                  <a:off x="7866944" y="3905732"/>
                  <a:ext cx="27031" cy="25335"/>
                </a:xfrm>
                <a:custGeom>
                  <a:avLst/>
                  <a:gdLst>
                    <a:gd name="T0" fmla="*/ 0 w 18"/>
                    <a:gd name="T1" fmla="*/ 8 h 17"/>
                    <a:gd name="T2" fmla="*/ 0 w 18"/>
                    <a:gd name="T3" fmla="*/ 16 h 17"/>
                    <a:gd name="T4" fmla="*/ 8 w 18"/>
                    <a:gd name="T5" fmla="*/ 8 h 17"/>
                    <a:gd name="T6" fmla="*/ 17 w 18"/>
                    <a:gd name="T7" fmla="*/ 0 h 17"/>
                    <a:gd name="T8" fmla="*/ 0 w 18"/>
                    <a:gd name="T9" fmla="*/ 8 h 17"/>
                  </a:gdLst>
                  <a:ahLst/>
                  <a:cxnLst>
                    <a:cxn ang="0">
                      <a:pos x="T0" y="T1"/>
                    </a:cxn>
                    <a:cxn ang="0">
                      <a:pos x="T2" y="T3"/>
                    </a:cxn>
                    <a:cxn ang="0">
                      <a:pos x="T4" y="T5"/>
                    </a:cxn>
                    <a:cxn ang="0">
                      <a:pos x="T6" y="T7"/>
                    </a:cxn>
                    <a:cxn ang="0">
                      <a:pos x="T8" y="T9"/>
                    </a:cxn>
                  </a:cxnLst>
                  <a:rect l="0" t="0" r="r" b="b"/>
                  <a:pathLst>
                    <a:path w="18" h="17">
                      <a:moveTo>
                        <a:pt x="0" y="8"/>
                      </a:moveTo>
                      <a:lnTo>
                        <a:pt x="0" y="16"/>
                      </a:lnTo>
                      <a:lnTo>
                        <a:pt x="8" y="8"/>
                      </a:lnTo>
                      <a:lnTo>
                        <a:pt x="17" y="0"/>
                      </a:lnTo>
                      <a:lnTo>
                        <a:pt x="0"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217" name="Freeform 253">
                  <a:extLst>
                    <a:ext uri="{FF2B5EF4-FFF2-40B4-BE49-F238E27FC236}">
                      <a16:creationId xmlns:a16="http://schemas.microsoft.com/office/drawing/2014/main" id="{B02141B7-5D57-3F2E-621B-69C07785C85D}"/>
                    </a:ext>
                  </a:extLst>
                </p:cNvPr>
                <p:cNvSpPr>
                  <a:spLocks/>
                </p:cNvSpPr>
                <p:nvPr/>
              </p:nvSpPr>
              <p:spPr bwMode="gray">
                <a:xfrm>
                  <a:off x="8030415" y="3624512"/>
                  <a:ext cx="25743" cy="25335"/>
                </a:xfrm>
                <a:custGeom>
                  <a:avLst/>
                  <a:gdLst>
                    <a:gd name="T0" fmla="*/ 0 w 17"/>
                    <a:gd name="T1" fmla="*/ 16 h 17"/>
                    <a:gd name="T2" fmla="*/ 16 w 17"/>
                    <a:gd name="T3" fmla="*/ 7 h 17"/>
                    <a:gd name="T4" fmla="*/ 16 w 17"/>
                    <a:gd name="T5" fmla="*/ 0 h 17"/>
                    <a:gd name="T6" fmla="*/ 1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7"/>
                      </a:lnTo>
                      <a:lnTo>
                        <a:pt x="16" y="0"/>
                      </a:lnTo>
                      <a:lnTo>
                        <a:pt x="10"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218" name="Freeform 254">
                  <a:extLst>
                    <a:ext uri="{FF2B5EF4-FFF2-40B4-BE49-F238E27FC236}">
                      <a16:creationId xmlns:a16="http://schemas.microsoft.com/office/drawing/2014/main" id="{3539EFF4-600F-0998-7709-8F77A3633F61}"/>
                    </a:ext>
                  </a:extLst>
                </p:cNvPr>
                <p:cNvSpPr>
                  <a:spLocks/>
                </p:cNvSpPr>
                <p:nvPr/>
              </p:nvSpPr>
              <p:spPr bwMode="gray">
                <a:xfrm>
                  <a:off x="8030415" y="3624512"/>
                  <a:ext cx="25743" cy="25335"/>
                </a:xfrm>
                <a:custGeom>
                  <a:avLst/>
                  <a:gdLst>
                    <a:gd name="T0" fmla="*/ 0 w 17"/>
                    <a:gd name="T1" fmla="*/ 16 h 17"/>
                    <a:gd name="T2" fmla="*/ 16 w 17"/>
                    <a:gd name="T3" fmla="*/ 7 h 17"/>
                    <a:gd name="T4" fmla="*/ 16 w 17"/>
                    <a:gd name="T5" fmla="*/ 0 h 17"/>
                    <a:gd name="T6" fmla="*/ 1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7"/>
                      </a:lnTo>
                      <a:lnTo>
                        <a:pt x="16" y="0"/>
                      </a:lnTo>
                      <a:lnTo>
                        <a:pt x="10" y="0"/>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219" name="Freeform 255">
                  <a:extLst>
                    <a:ext uri="{FF2B5EF4-FFF2-40B4-BE49-F238E27FC236}">
                      <a16:creationId xmlns:a16="http://schemas.microsoft.com/office/drawing/2014/main" id="{D44ACC55-45DA-5921-FBE6-A17D75348E42}"/>
                    </a:ext>
                  </a:extLst>
                </p:cNvPr>
                <p:cNvSpPr>
                  <a:spLocks/>
                </p:cNvSpPr>
                <p:nvPr/>
              </p:nvSpPr>
              <p:spPr bwMode="gray">
                <a:xfrm>
                  <a:off x="7605647" y="3794257"/>
                  <a:ext cx="51487" cy="259686"/>
                </a:xfrm>
                <a:custGeom>
                  <a:avLst/>
                  <a:gdLst>
                    <a:gd name="T0" fmla="*/ 0 w 34"/>
                    <a:gd name="T1" fmla="*/ 18 h 172"/>
                    <a:gd name="T2" fmla="*/ 0 w 34"/>
                    <a:gd name="T3" fmla="*/ 59 h 172"/>
                    <a:gd name="T4" fmla="*/ 8 w 34"/>
                    <a:gd name="T5" fmla="*/ 65 h 172"/>
                    <a:gd name="T6" fmla="*/ 0 w 34"/>
                    <a:gd name="T7" fmla="*/ 115 h 172"/>
                    <a:gd name="T8" fmla="*/ 8 w 34"/>
                    <a:gd name="T9" fmla="*/ 131 h 172"/>
                    <a:gd name="T10" fmla="*/ 0 w 34"/>
                    <a:gd name="T11" fmla="*/ 155 h 172"/>
                    <a:gd name="T12" fmla="*/ 8 w 34"/>
                    <a:gd name="T13" fmla="*/ 171 h 172"/>
                    <a:gd name="T14" fmla="*/ 8 w 34"/>
                    <a:gd name="T15" fmla="*/ 155 h 172"/>
                    <a:gd name="T16" fmla="*/ 25 w 34"/>
                    <a:gd name="T17" fmla="*/ 162 h 172"/>
                    <a:gd name="T18" fmla="*/ 25 w 34"/>
                    <a:gd name="T19" fmla="*/ 155 h 172"/>
                    <a:gd name="T20" fmla="*/ 8 w 34"/>
                    <a:gd name="T21" fmla="*/ 131 h 172"/>
                    <a:gd name="T22" fmla="*/ 16 w 34"/>
                    <a:gd name="T23" fmla="*/ 107 h 172"/>
                    <a:gd name="T24" fmla="*/ 25 w 34"/>
                    <a:gd name="T25" fmla="*/ 107 h 172"/>
                    <a:gd name="T26" fmla="*/ 33 w 34"/>
                    <a:gd name="T27" fmla="*/ 107 h 172"/>
                    <a:gd name="T28" fmla="*/ 16 w 34"/>
                    <a:gd name="T29" fmla="*/ 50 h 172"/>
                    <a:gd name="T30" fmla="*/ 16 w 34"/>
                    <a:gd name="T31" fmla="*/ 10 h 172"/>
                    <a:gd name="T32" fmla="*/ 16 w 34"/>
                    <a:gd name="T33" fmla="*/ 0 h 172"/>
                    <a:gd name="T34" fmla="*/ 8 w 34"/>
                    <a:gd name="T35" fmla="*/ 0 h 172"/>
                    <a:gd name="T36" fmla="*/ 8 w 34"/>
                    <a:gd name="T37" fmla="*/ 10 h 172"/>
                    <a:gd name="T38" fmla="*/ 0 w 34"/>
                    <a:gd name="T39" fmla="*/ 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6350" cap="rnd" cmpd="sng">
                  <a:solidFill>
                    <a:srgbClr val="D0D0D0"/>
                  </a:solidFill>
                  <a:prstDash val="solid"/>
                  <a:round/>
                  <a:headEnd/>
                  <a:tailEnd/>
                </a:ln>
                <a:effectLst/>
              </p:spPr>
              <p:txBody>
                <a:bodyPr/>
                <a:lstStyle/>
                <a:p>
                  <a:endParaRPr lang="de-DE" dirty="0"/>
                </a:p>
              </p:txBody>
            </p:sp>
            <p:sp>
              <p:nvSpPr>
                <p:cNvPr id="220" name="Freeform 275">
                  <a:extLst>
                    <a:ext uri="{FF2B5EF4-FFF2-40B4-BE49-F238E27FC236}">
                      <a16:creationId xmlns:a16="http://schemas.microsoft.com/office/drawing/2014/main" id="{D8E48E2A-3391-CDE1-BD46-22D277FA16BC}"/>
                    </a:ext>
                  </a:extLst>
                </p:cNvPr>
                <p:cNvSpPr>
                  <a:spLocks/>
                </p:cNvSpPr>
                <p:nvPr/>
              </p:nvSpPr>
              <p:spPr bwMode="gray">
                <a:xfrm>
                  <a:off x="7043153" y="5253565"/>
                  <a:ext cx="801909" cy="614378"/>
                </a:xfrm>
                <a:custGeom>
                  <a:avLst/>
                  <a:gdLst>
                    <a:gd name="T0" fmla="*/ 48 w 521"/>
                    <a:gd name="T1" fmla="*/ 342 h 406"/>
                    <a:gd name="T2" fmla="*/ 89 w 521"/>
                    <a:gd name="T3" fmla="*/ 317 h 406"/>
                    <a:gd name="T4" fmla="*/ 138 w 521"/>
                    <a:gd name="T5" fmla="*/ 308 h 406"/>
                    <a:gd name="T6" fmla="*/ 234 w 521"/>
                    <a:gd name="T7" fmla="*/ 283 h 406"/>
                    <a:gd name="T8" fmla="*/ 268 w 521"/>
                    <a:gd name="T9" fmla="*/ 308 h 406"/>
                    <a:gd name="T10" fmla="*/ 293 w 521"/>
                    <a:gd name="T11" fmla="*/ 342 h 406"/>
                    <a:gd name="T12" fmla="*/ 316 w 521"/>
                    <a:gd name="T13" fmla="*/ 317 h 406"/>
                    <a:gd name="T14" fmla="*/ 316 w 521"/>
                    <a:gd name="T15" fmla="*/ 342 h 406"/>
                    <a:gd name="T16" fmla="*/ 325 w 521"/>
                    <a:gd name="T17" fmla="*/ 342 h 406"/>
                    <a:gd name="T18" fmla="*/ 333 w 521"/>
                    <a:gd name="T19" fmla="*/ 348 h 406"/>
                    <a:gd name="T20" fmla="*/ 340 w 521"/>
                    <a:gd name="T21" fmla="*/ 373 h 406"/>
                    <a:gd name="T22" fmla="*/ 365 w 521"/>
                    <a:gd name="T23" fmla="*/ 389 h 406"/>
                    <a:gd name="T24" fmla="*/ 390 w 521"/>
                    <a:gd name="T25" fmla="*/ 398 h 406"/>
                    <a:gd name="T26" fmla="*/ 405 w 521"/>
                    <a:gd name="T27" fmla="*/ 389 h 406"/>
                    <a:gd name="T28" fmla="*/ 415 w 521"/>
                    <a:gd name="T29" fmla="*/ 398 h 406"/>
                    <a:gd name="T30" fmla="*/ 446 w 521"/>
                    <a:gd name="T31" fmla="*/ 382 h 406"/>
                    <a:gd name="T32" fmla="*/ 480 w 521"/>
                    <a:gd name="T33" fmla="*/ 348 h 406"/>
                    <a:gd name="T34" fmla="*/ 520 w 521"/>
                    <a:gd name="T35" fmla="*/ 243 h 406"/>
                    <a:gd name="T36" fmla="*/ 495 w 521"/>
                    <a:gd name="T37" fmla="*/ 180 h 406"/>
                    <a:gd name="T38" fmla="*/ 480 w 521"/>
                    <a:gd name="T39" fmla="*/ 156 h 406"/>
                    <a:gd name="T40" fmla="*/ 470 w 521"/>
                    <a:gd name="T41" fmla="*/ 156 h 406"/>
                    <a:gd name="T42" fmla="*/ 430 w 521"/>
                    <a:gd name="T43" fmla="*/ 106 h 406"/>
                    <a:gd name="T44" fmla="*/ 415 w 521"/>
                    <a:gd name="T45" fmla="*/ 74 h 406"/>
                    <a:gd name="T46" fmla="*/ 405 w 521"/>
                    <a:gd name="T47" fmla="*/ 49 h 406"/>
                    <a:gd name="T48" fmla="*/ 381 w 521"/>
                    <a:gd name="T49" fmla="*/ 0 h 406"/>
                    <a:gd name="T50" fmla="*/ 365 w 521"/>
                    <a:gd name="T51" fmla="*/ 17 h 406"/>
                    <a:gd name="T52" fmla="*/ 358 w 521"/>
                    <a:gd name="T53" fmla="*/ 90 h 406"/>
                    <a:gd name="T54" fmla="*/ 308 w 521"/>
                    <a:gd name="T55" fmla="*/ 66 h 406"/>
                    <a:gd name="T56" fmla="*/ 300 w 521"/>
                    <a:gd name="T57" fmla="*/ 57 h 406"/>
                    <a:gd name="T58" fmla="*/ 293 w 521"/>
                    <a:gd name="T59" fmla="*/ 34 h 406"/>
                    <a:gd name="T60" fmla="*/ 308 w 521"/>
                    <a:gd name="T61" fmla="*/ 17 h 406"/>
                    <a:gd name="T62" fmla="*/ 293 w 521"/>
                    <a:gd name="T63" fmla="*/ 25 h 406"/>
                    <a:gd name="T64" fmla="*/ 284 w 521"/>
                    <a:gd name="T65" fmla="*/ 17 h 406"/>
                    <a:gd name="T66" fmla="*/ 253 w 521"/>
                    <a:gd name="T67" fmla="*/ 17 h 406"/>
                    <a:gd name="T68" fmla="*/ 228 w 521"/>
                    <a:gd name="T69" fmla="*/ 17 h 406"/>
                    <a:gd name="T70" fmla="*/ 219 w 521"/>
                    <a:gd name="T71" fmla="*/ 34 h 406"/>
                    <a:gd name="T72" fmla="*/ 212 w 521"/>
                    <a:gd name="T73" fmla="*/ 49 h 406"/>
                    <a:gd name="T74" fmla="*/ 194 w 521"/>
                    <a:gd name="T75" fmla="*/ 49 h 406"/>
                    <a:gd name="T76" fmla="*/ 194 w 521"/>
                    <a:gd name="T77" fmla="*/ 49 h 406"/>
                    <a:gd name="T78" fmla="*/ 179 w 521"/>
                    <a:gd name="T79" fmla="*/ 41 h 406"/>
                    <a:gd name="T80" fmla="*/ 154 w 521"/>
                    <a:gd name="T81" fmla="*/ 49 h 406"/>
                    <a:gd name="T82" fmla="*/ 138 w 521"/>
                    <a:gd name="T83" fmla="*/ 74 h 406"/>
                    <a:gd name="T84" fmla="*/ 138 w 521"/>
                    <a:gd name="T85" fmla="*/ 81 h 406"/>
                    <a:gd name="T86" fmla="*/ 129 w 521"/>
                    <a:gd name="T87" fmla="*/ 74 h 406"/>
                    <a:gd name="T88" fmla="*/ 122 w 521"/>
                    <a:gd name="T89" fmla="*/ 97 h 406"/>
                    <a:gd name="T90" fmla="*/ 41 w 521"/>
                    <a:gd name="T91" fmla="*/ 131 h 406"/>
                    <a:gd name="T92" fmla="*/ 8 w 521"/>
                    <a:gd name="T93" fmla="*/ 146 h 406"/>
                    <a:gd name="T94" fmla="*/ 8 w 521"/>
                    <a:gd name="T95" fmla="*/ 171 h 406"/>
                    <a:gd name="T96" fmla="*/ 17 w 521"/>
                    <a:gd name="T97" fmla="*/ 211 h 406"/>
                    <a:gd name="T98" fmla="*/ 8 w 521"/>
                    <a:gd name="T99" fmla="*/ 211 h 406"/>
                    <a:gd name="T100" fmla="*/ 23 w 521"/>
                    <a:gd name="T101" fmla="*/ 251 h 406"/>
                    <a:gd name="T102" fmla="*/ 32 w 521"/>
                    <a:gd name="T103" fmla="*/ 308 h 406"/>
                    <a:gd name="T104" fmla="*/ 23 w 521"/>
                    <a:gd name="T105" fmla="*/ 324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1" name="Freeform 276">
                  <a:extLst>
                    <a:ext uri="{FF2B5EF4-FFF2-40B4-BE49-F238E27FC236}">
                      <a16:creationId xmlns:a16="http://schemas.microsoft.com/office/drawing/2014/main" id="{24841E82-2D36-49F2-BE76-DEC0FBF041E5}"/>
                    </a:ext>
                  </a:extLst>
                </p:cNvPr>
                <p:cNvSpPr>
                  <a:spLocks/>
                </p:cNvSpPr>
                <p:nvPr/>
              </p:nvSpPr>
              <p:spPr bwMode="gray">
                <a:xfrm>
                  <a:off x="7380393" y="5267498"/>
                  <a:ext cx="25743" cy="25335"/>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2" name="Freeform 277">
                  <a:extLst>
                    <a:ext uri="{FF2B5EF4-FFF2-40B4-BE49-F238E27FC236}">
                      <a16:creationId xmlns:a16="http://schemas.microsoft.com/office/drawing/2014/main" id="{44A3F022-5917-2753-4569-59D107853228}"/>
                    </a:ext>
                  </a:extLst>
                </p:cNvPr>
                <p:cNvSpPr>
                  <a:spLocks/>
                </p:cNvSpPr>
                <p:nvPr/>
              </p:nvSpPr>
              <p:spPr bwMode="gray">
                <a:xfrm>
                  <a:off x="7380393" y="5267498"/>
                  <a:ext cx="25743" cy="25335"/>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3" name="Freeform 278">
                  <a:extLst>
                    <a:ext uri="{FF2B5EF4-FFF2-40B4-BE49-F238E27FC236}">
                      <a16:creationId xmlns:a16="http://schemas.microsoft.com/office/drawing/2014/main" id="{5DEFDC1E-3B38-E4E8-C025-5217DB6972BD}"/>
                    </a:ext>
                  </a:extLst>
                </p:cNvPr>
                <p:cNvSpPr>
                  <a:spLocks/>
                </p:cNvSpPr>
                <p:nvPr/>
              </p:nvSpPr>
              <p:spPr bwMode="gray">
                <a:xfrm>
                  <a:off x="7505248" y="5780536"/>
                  <a:ext cx="25743" cy="25335"/>
                </a:xfrm>
                <a:custGeom>
                  <a:avLst/>
                  <a:gdLst>
                    <a:gd name="T0" fmla="*/ 0 w 17"/>
                    <a:gd name="T1" fmla="*/ 0 h 17"/>
                    <a:gd name="T2" fmla="*/ 16 w 17"/>
                    <a:gd name="T3" fmla="*/ 16 h 17"/>
                    <a:gd name="T4" fmla="*/ 16 w 17"/>
                    <a:gd name="T5" fmla="*/ 0 h 17"/>
                    <a:gd name="T6" fmla="*/ 8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0"/>
                      </a:lnTo>
                      <a:lnTo>
                        <a:pt x="8"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4" name="Freeform 279">
                  <a:extLst>
                    <a:ext uri="{FF2B5EF4-FFF2-40B4-BE49-F238E27FC236}">
                      <a16:creationId xmlns:a16="http://schemas.microsoft.com/office/drawing/2014/main" id="{34932030-AABE-B59B-30F3-813DF20B0C1D}"/>
                    </a:ext>
                  </a:extLst>
                </p:cNvPr>
                <p:cNvSpPr>
                  <a:spLocks/>
                </p:cNvSpPr>
                <p:nvPr/>
              </p:nvSpPr>
              <p:spPr bwMode="gray">
                <a:xfrm>
                  <a:off x="7505248" y="5780536"/>
                  <a:ext cx="25743" cy="25335"/>
                </a:xfrm>
                <a:custGeom>
                  <a:avLst/>
                  <a:gdLst>
                    <a:gd name="T0" fmla="*/ 0 w 17"/>
                    <a:gd name="T1" fmla="*/ 0 h 17"/>
                    <a:gd name="T2" fmla="*/ 16 w 17"/>
                    <a:gd name="T3" fmla="*/ 16 h 17"/>
                    <a:gd name="T4" fmla="*/ 16 w 17"/>
                    <a:gd name="T5" fmla="*/ 0 h 17"/>
                    <a:gd name="T6" fmla="*/ 8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0"/>
                      </a:lnTo>
                      <a:lnTo>
                        <a:pt x="8" y="0"/>
                      </a:lnTo>
                      <a:lnTo>
                        <a:pt x="0"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5" name="Freeform 280">
                  <a:extLst>
                    <a:ext uri="{FF2B5EF4-FFF2-40B4-BE49-F238E27FC236}">
                      <a16:creationId xmlns:a16="http://schemas.microsoft.com/office/drawing/2014/main" id="{FF8227A0-7B3B-C1F9-50D2-9D27490D3F68}"/>
                    </a:ext>
                  </a:extLst>
                </p:cNvPr>
                <p:cNvSpPr>
                  <a:spLocks/>
                </p:cNvSpPr>
                <p:nvPr/>
              </p:nvSpPr>
              <p:spPr bwMode="gray">
                <a:xfrm>
                  <a:off x="7667432" y="5904678"/>
                  <a:ext cx="77230" cy="76006"/>
                </a:xfrm>
                <a:custGeom>
                  <a:avLst/>
                  <a:gdLst>
                    <a:gd name="T0" fmla="*/ 0 w 51"/>
                    <a:gd name="T1" fmla="*/ 0 h 50"/>
                    <a:gd name="T2" fmla="*/ 10 w 51"/>
                    <a:gd name="T3" fmla="*/ 40 h 50"/>
                    <a:gd name="T4" fmla="*/ 25 w 51"/>
                    <a:gd name="T5" fmla="*/ 49 h 50"/>
                    <a:gd name="T6" fmla="*/ 34 w 51"/>
                    <a:gd name="T7" fmla="*/ 33 h 50"/>
                    <a:gd name="T8" fmla="*/ 41 w 51"/>
                    <a:gd name="T9" fmla="*/ 40 h 50"/>
                    <a:gd name="T10" fmla="*/ 50 w 51"/>
                    <a:gd name="T11" fmla="*/ 0 h 50"/>
                    <a:gd name="T12" fmla="*/ 41 w 51"/>
                    <a:gd name="T13" fmla="*/ 0 h 50"/>
                    <a:gd name="T14" fmla="*/ 16 w 51"/>
                    <a:gd name="T15" fmla="*/ 8 h 50"/>
                    <a:gd name="T16" fmla="*/ 0 w 51"/>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6" name="Freeform 281">
                  <a:extLst>
                    <a:ext uri="{FF2B5EF4-FFF2-40B4-BE49-F238E27FC236}">
                      <a16:creationId xmlns:a16="http://schemas.microsoft.com/office/drawing/2014/main" id="{2E891433-69DF-1B73-B87B-0B74B4DB8397}"/>
                    </a:ext>
                  </a:extLst>
                </p:cNvPr>
                <p:cNvSpPr>
                  <a:spLocks/>
                </p:cNvSpPr>
                <p:nvPr/>
              </p:nvSpPr>
              <p:spPr bwMode="gray">
                <a:xfrm>
                  <a:off x="8217055" y="5757734"/>
                  <a:ext cx="113271" cy="173546"/>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7" name="Freeform 282">
                  <a:extLst>
                    <a:ext uri="{FF2B5EF4-FFF2-40B4-BE49-F238E27FC236}">
                      <a16:creationId xmlns:a16="http://schemas.microsoft.com/office/drawing/2014/main" id="{59833B49-8BD5-A12B-B313-802800966DAD}"/>
                    </a:ext>
                  </a:extLst>
                </p:cNvPr>
                <p:cNvSpPr>
                  <a:spLocks/>
                </p:cNvSpPr>
                <p:nvPr/>
              </p:nvSpPr>
              <p:spPr bwMode="gray">
                <a:xfrm>
                  <a:off x="8217055" y="5757734"/>
                  <a:ext cx="113271" cy="173546"/>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8" name="Freeform 283">
                  <a:extLst>
                    <a:ext uri="{FF2B5EF4-FFF2-40B4-BE49-F238E27FC236}">
                      <a16:creationId xmlns:a16="http://schemas.microsoft.com/office/drawing/2014/main" id="{AC3C62EB-9A76-BFB5-D05B-0B91C317D819}"/>
                    </a:ext>
                  </a:extLst>
                </p:cNvPr>
                <p:cNvSpPr>
                  <a:spLocks/>
                </p:cNvSpPr>
                <p:nvPr/>
              </p:nvSpPr>
              <p:spPr bwMode="gray">
                <a:xfrm>
                  <a:off x="8093487" y="5904678"/>
                  <a:ext cx="164758" cy="160879"/>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29" name="Freeform 284">
                  <a:extLst>
                    <a:ext uri="{FF2B5EF4-FFF2-40B4-BE49-F238E27FC236}">
                      <a16:creationId xmlns:a16="http://schemas.microsoft.com/office/drawing/2014/main" id="{3DF8485D-3368-7211-2058-C2DEC5ADF471}"/>
                    </a:ext>
                  </a:extLst>
                </p:cNvPr>
                <p:cNvSpPr>
                  <a:spLocks/>
                </p:cNvSpPr>
                <p:nvPr/>
              </p:nvSpPr>
              <p:spPr bwMode="gray">
                <a:xfrm>
                  <a:off x="8093487" y="5904678"/>
                  <a:ext cx="164758" cy="160879"/>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0" name="Freeform 285">
                  <a:extLst>
                    <a:ext uri="{FF2B5EF4-FFF2-40B4-BE49-F238E27FC236}">
                      <a16:creationId xmlns:a16="http://schemas.microsoft.com/office/drawing/2014/main" id="{A7A2788C-27C8-AD98-12C4-41C090D7B8E7}"/>
                    </a:ext>
                  </a:extLst>
                </p:cNvPr>
                <p:cNvSpPr>
                  <a:spLocks/>
                </p:cNvSpPr>
                <p:nvPr/>
              </p:nvSpPr>
              <p:spPr bwMode="gray">
                <a:xfrm>
                  <a:off x="6693041" y="4936874"/>
                  <a:ext cx="214958" cy="219149"/>
                </a:xfrm>
                <a:custGeom>
                  <a:avLst/>
                  <a:gdLst>
                    <a:gd name="T0" fmla="*/ 0 w 140"/>
                    <a:gd name="T1" fmla="*/ 0 h 145"/>
                    <a:gd name="T2" fmla="*/ 0 w 140"/>
                    <a:gd name="T3" fmla="*/ 7 h 145"/>
                    <a:gd name="T4" fmla="*/ 18 w 140"/>
                    <a:gd name="T5" fmla="*/ 23 h 145"/>
                    <a:gd name="T6" fmla="*/ 33 w 140"/>
                    <a:gd name="T7" fmla="*/ 41 h 145"/>
                    <a:gd name="T8" fmla="*/ 42 w 140"/>
                    <a:gd name="T9" fmla="*/ 47 h 145"/>
                    <a:gd name="T10" fmla="*/ 49 w 140"/>
                    <a:gd name="T11" fmla="*/ 64 h 145"/>
                    <a:gd name="T12" fmla="*/ 65 w 140"/>
                    <a:gd name="T13" fmla="*/ 81 h 145"/>
                    <a:gd name="T14" fmla="*/ 83 w 140"/>
                    <a:gd name="T15" fmla="*/ 113 h 145"/>
                    <a:gd name="T16" fmla="*/ 114 w 140"/>
                    <a:gd name="T17" fmla="*/ 144 h 145"/>
                    <a:gd name="T18" fmla="*/ 130 w 140"/>
                    <a:gd name="T19" fmla="*/ 144 h 145"/>
                    <a:gd name="T20" fmla="*/ 139 w 140"/>
                    <a:gd name="T21" fmla="*/ 113 h 145"/>
                    <a:gd name="T22" fmla="*/ 130 w 140"/>
                    <a:gd name="T23" fmla="*/ 97 h 145"/>
                    <a:gd name="T24" fmla="*/ 123 w 140"/>
                    <a:gd name="T25" fmla="*/ 97 h 145"/>
                    <a:gd name="T26" fmla="*/ 114 w 140"/>
                    <a:gd name="T27" fmla="*/ 81 h 145"/>
                    <a:gd name="T28" fmla="*/ 108 w 140"/>
                    <a:gd name="T29" fmla="*/ 81 h 145"/>
                    <a:gd name="T30" fmla="*/ 108 w 140"/>
                    <a:gd name="T31" fmla="*/ 72 h 145"/>
                    <a:gd name="T32" fmla="*/ 98 w 140"/>
                    <a:gd name="T33" fmla="*/ 64 h 145"/>
                    <a:gd name="T34" fmla="*/ 98 w 140"/>
                    <a:gd name="T35" fmla="*/ 56 h 145"/>
                    <a:gd name="T36" fmla="*/ 74 w 140"/>
                    <a:gd name="T37" fmla="*/ 41 h 145"/>
                    <a:gd name="T38" fmla="*/ 65 w 140"/>
                    <a:gd name="T39" fmla="*/ 41 h 145"/>
                    <a:gd name="T40" fmla="*/ 24 w 140"/>
                    <a:gd name="T41" fmla="*/ 7 h 145"/>
                    <a:gd name="T42" fmla="*/ 0 w 140"/>
                    <a:gd name="T4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1" name="Freeform 286">
                  <a:extLst>
                    <a:ext uri="{FF2B5EF4-FFF2-40B4-BE49-F238E27FC236}">
                      <a16:creationId xmlns:a16="http://schemas.microsoft.com/office/drawing/2014/main" id="{9D360299-424A-18BA-6F5F-915B8B14CB01}"/>
                    </a:ext>
                  </a:extLst>
                </p:cNvPr>
                <p:cNvSpPr>
                  <a:spLocks/>
                </p:cNvSpPr>
                <p:nvPr/>
              </p:nvSpPr>
              <p:spPr bwMode="gray">
                <a:xfrm>
                  <a:off x="6892554" y="5154757"/>
                  <a:ext cx="178917" cy="53203"/>
                </a:xfrm>
                <a:custGeom>
                  <a:avLst/>
                  <a:gdLst>
                    <a:gd name="T0" fmla="*/ 0 w 116"/>
                    <a:gd name="T1" fmla="*/ 9 h 35"/>
                    <a:gd name="T2" fmla="*/ 33 w 116"/>
                    <a:gd name="T3" fmla="*/ 25 h 35"/>
                    <a:gd name="T4" fmla="*/ 115 w 116"/>
                    <a:gd name="T5" fmla="*/ 34 h 35"/>
                    <a:gd name="T6" fmla="*/ 115 w 116"/>
                    <a:gd name="T7" fmla="*/ 25 h 35"/>
                    <a:gd name="T8" fmla="*/ 98 w 116"/>
                    <a:gd name="T9" fmla="*/ 25 h 35"/>
                    <a:gd name="T10" fmla="*/ 90 w 116"/>
                    <a:gd name="T11" fmla="*/ 17 h 35"/>
                    <a:gd name="T12" fmla="*/ 65 w 116"/>
                    <a:gd name="T13" fmla="*/ 9 h 35"/>
                    <a:gd name="T14" fmla="*/ 65 w 116"/>
                    <a:gd name="T15" fmla="*/ 17 h 35"/>
                    <a:gd name="T16" fmla="*/ 50 w 116"/>
                    <a:gd name="T17" fmla="*/ 9 h 35"/>
                    <a:gd name="T18" fmla="*/ 25 w 116"/>
                    <a:gd name="T19" fmla="*/ 0 h 35"/>
                    <a:gd name="T20" fmla="*/ 9 w 116"/>
                    <a:gd name="T21" fmla="*/ 0 h 35"/>
                    <a:gd name="T22" fmla="*/ 0 w 116"/>
                    <a:gd name="T23"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2" name="Freeform 287">
                  <a:extLst>
                    <a:ext uri="{FF2B5EF4-FFF2-40B4-BE49-F238E27FC236}">
                      <a16:creationId xmlns:a16="http://schemas.microsoft.com/office/drawing/2014/main" id="{D250D7A2-C73D-413F-04E2-1975EAE218F8}"/>
                    </a:ext>
                  </a:extLst>
                </p:cNvPr>
                <p:cNvSpPr>
                  <a:spLocks/>
                </p:cNvSpPr>
                <p:nvPr/>
              </p:nvSpPr>
              <p:spPr bwMode="gray">
                <a:xfrm>
                  <a:off x="7070184" y="5206694"/>
                  <a:ext cx="25743" cy="1267"/>
                </a:xfrm>
                <a:custGeom>
                  <a:avLst/>
                  <a:gdLst>
                    <a:gd name="T0" fmla="*/ 0 w 17"/>
                    <a:gd name="T1" fmla="*/ 0 h 1"/>
                    <a:gd name="T2" fmla="*/ 6 w 17"/>
                    <a:gd name="T3" fmla="*/ 0 h 1"/>
                    <a:gd name="T4" fmla="*/ 16 w 17"/>
                    <a:gd name="T5" fmla="*/ 0 h 1"/>
                    <a:gd name="T6" fmla="*/ 0 w 17"/>
                    <a:gd name="T7" fmla="*/ 0 h 1"/>
                  </a:gdLst>
                  <a:ahLst/>
                  <a:cxnLst>
                    <a:cxn ang="0">
                      <a:pos x="T0" y="T1"/>
                    </a:cxn>
                    <a:cxn ang="0">
                      <a:pos x="T2" y="T3"/>
                    </a:cxn>
                    <a:cxn ang="0">
                      <a:pos x="T4" y="T5"/>
                    </a:cxn>
                    <a:cxn ang="0">
                      <a:pos x="T6" y="T7"/>
                    </a:cxn>
                  </a:cxnLst>
                  <a:rect l="0" t="0" r="r" b="b"/>
                  <a:pathLst>
                    <a:path w="17" h="1">
                      <a:moveTo>
                        <a:pt x="0" y="0"/>
                      </a:moveTo>
                      <a:lnTo>
                        <a:pt x="6" y="0"/>
                      </a:lnTo>
                      <a:lnTo>
                        <a:pt x="16"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3" name="Freeform 288">
                  <a:extLst>
                    <a:ext uri="{FF2B5EF4-FFF2-40B4-BE49-F238E27FC236}">
                      <a16:creationId xmlns:a16="http://schemas.microsoft.com/office/drawing/2014/main" id="{E6899FC2-8F53-065B-2ACD-EF98B19EC83B}"/>
                    </a:ext>
                  </a:extLst>
                </p:cNvPr>
                <p:cNvSpPr>
                  <a:spLocks/>
                </p:cNvSpPr>
                <p:nvPr/>
              </p:nvSpPr>
              <p:spPr bwMode="gray">
                <a:xfrm>
                  <a:off x="7106225" y="5206694"/>
                  <a:ext cx="151886" cy="25335"/>
                </a:xfrm>
                <a:custGeom>
                  <a:avLst/>
                  <a:gdLst>
                    <a:gd name="T0" fmla="*/ 0 w 98"/>
                    <a:gd name="T1" fmla="*/ 16 h 17"/>
                    <a:gd name="T2" fmla="*/ 7 w 98"/>
                    <a:gd name="T3" fmla="*/ 16 h 17"/>
                    <a:gd name="T4" fmla="*/ 41 w 98"/>
                    <a:gd name="T5" fmla="*/ 0 h 17"/>
                    <a:gd name="T6" fmla="*/ 73 w 98"/>
                    <a:gd name="T7" fmla="*/ 16 h 17"/>
                    <a:gd name="T8" fmla="*/ 97 w 98"/>
                    <a:gd name="T9" fmla="*/ 0 h 17"/>
                    <a:gd name="T10" fmla="*/ 81 w 98"/>
                    <a:gd name="T11" fmla="*/ 0 h 17"/>
                    <a:gd name="T12" fmla="*/ 56 w 98"/>
                    <a:gd name="T13" fmla="*/ 0 h 17"/>
                    <a:gd name="T14" fmla="*/ 41 w 98"/>
                    <a:gd name="T15" fmla="*/ 0 h 17"/>
                    <a:gd name="T16" fmla="*/ 16 w 98"/>
                    <a:gd name="T17" fmla="*/ 0 h 17"/>
                    <a:gd name="T18" fmla="*/ 23 w 98"/>
                    <a:gd name="T19" fmla="*/ 0 h 17"/>
                    <a:gd name="T20" fmla="*/ 0 w 98"/>
                    <a:gd name="T21" fmla="*/ 0 h 17"/>
                    <a:gd name="T22" fmla="*/ 0 w 98"/>
                    <a:gd name="T2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4" name="Freeform 289">
                  <a:extLst>
                    <a:ext uri="{FF2B5EF4-FFF2-40B4-BE49-F238E27FC236}">
                      <a16:creationId xmlns:a16="http://schemas.microsoft.com/office/drawing/2014/main" id="{0E597144-A751-DEF2-C5E3-7CF7AEF0792F}"/>
                    </a:ext>
                  </a:extLst>
                </p:cNvPr>
                <p:cNvSpPr>
                  <a:spLocks/>
                </p:cNvSpPr>
                <p:nvPr/>
              </p:nvSpPr>
              <p:spPr bwMode="gray">
                <a:xfrm>
                  <a:off x="7153850" y="5230763"/>
                  <a:ext cx="41189" cy="25335"/>
                </a:xfrm>
                <a:custGeom>
                  <a:avLst/>
                  <a:gdLst>
                    <a:gd name="T0" fmla="*/ 0 w 26"/>
                    <a:gd name="T1" fmla="*/ 0 h 17"/>
                    <a:gd name="T2" fmla="*/ 17 w 26"/>
                    <a:gd name="T3" fmla="*/ 16 h 17"/>
                    <a:gd name="T4" fmla="*/ 25 w 26"/>
                    <a:gd name="T5" fmla="*/ 16 h 17"/>
                    <a:gd name="T6" fmla="*/ 17 w 26"/>
                    <a:gd name="T7" fmla="*/ 0 h 17"/>
                    <a:gd name="T8" fmla="*/ 0 w 26"/>
                    <a:gd name="T9" fmla="*/ 0 h 17"/>
                  </a:gdLst>
                  <a:ahLst/>
                  <a:cxnLst>
                    <a:cxn ang="0">
                      <a:pos x="T0" y="T1"/>
                    </a:cxn>
                    <a:cxn ang="0">
                      <a:pos x="T2" y="T3"/>
                    </a:cxn>
                    <a:cxn ang="0">
                      <a:pos x="T4" y="T5"/>
                    </a:cxn>
                    <a:cxn ang="0">
                      <a:pos x="T6" y="T7"/>
                    </a:cxn>
                    <a:cxn ang="0">
                      <a:pos x="T8" y="T9"/>
                    </a:cxn>
                  </a:cxnLst>
                  <a:rect l="0" t="0" r="r" b="b"/>
                  <a:pathLst>
                    <a:path w="26" h="17">
                      <a:moveTo>
                        <a:pt x="0" y="0"/>
                      </a:moveTo>
                      <a:lnTo>
                        <a:pt x="17" y="16"/>
                      </a:lnTo>
                      <a:lnTo>
                        <a:pt x="25" y="16"/>
                      </a:lnTo>
                      <a:lnTo>
                        <a:pt x="17"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5" name="Freeform 290">
                  <a:extLst>
                    <a:ext uri="{FF2B5EF4-FFF2-40B4-BE49-F238E27FC236}">
                      <a16:creationId xmlns:a16="http://schemas.microsoft.com/office/drawing/2014/main" id="{FDFFBCCB-ACAA-7849-BEEA-239CDA7048DD}"/>
                    </a:ext>
                  </a:extLst>
                </p:cNvPr>
                <p:cNvSpPr>
                  <a:spLocks/>
                </p:cNvSpPr>
                <p:nvPr/>
              </p:nvSpPr>
              <p:spPr bwMode="gray">
                <a:xfrm>
                  <a:off x="7242665" y="5206694"/>
                  <a:ext cx="78517" cy="39270"/>
                </a:xfrm>
                <a:custGeom>
                  <a:avLst/>
                  <a:gdLst>
                    <a:gd name="T0" fmla="*/ 0 w 51"/>
                    <a:gd name="T1" fmla="*/ 25 h 26"/>
                    <a:gd name="T2" fmla="*/ 18 w 51"/>
                    <a:gd name="T3" fmla="*/ 25 h 26"/>
                    <a:gd name="T4" fmla="*/ 50 w 51"/>
                    <a:gd name="T5" fmla="*/ 0 h 26"/>
                    <a:gd name="T6" fmla="*/ 25 w 51"/>
                    <a:gd name="T7" fmla="*/ 0 h 26"/>
                    <a:gd name="T8" fmla="*/ 9 w 51"/>
                    <a:gd name="T9" fmla="*/ 16 h 26"/>
                    <a:gd name="T10" fmla="*/ 0 w 51"/>
                    <a:gd name="T11" fmla="*/ 25 h 26"/>
                  </a:gdLst>
                  <a:ahLst/>
                  <a:cxnLst>
                    <a:cxn ang="0">
                      <a:pos x="T0" y="T1"/>
                    </a:cxn>
                    <a:cxn ang="0">
                      <a:pos x="T2" y="T3"/>
                    </a:cxn>
                    <a:cxn ang="0">
                      <a:pos x="T4" y="T5"/>
                    </a:cxn>
                    <a:cxn ang="0">
                      <a:pos x="T6" y="T7"/>
                    </a:cxn>
                    <a:cxn ang="0">
                      <a:pos x="T8" y="T9"/>
                    </a:cxn>
                    <a:cxn ang="0">
                      <a:pos x="T10" y="T11"/>
                    </a:cxn>
                  </a:cxnLst>
                  <a:rect l="0" t="0" r="r" b="b"/>
                  <a:pathLst>
                    <a:path w="51" h="26">
                      <a:moveTo>
                        <a:pt x="0" y="25"/>
                      </a:moveTo>
                      <a:lnTo>
                        <a:pt x="18" y="25"/>
                      </a:lnTo>
                      <a:lnTo>
                        <a:pt x="50" y="0"/>
                      </a:lnTo>
                      <a:lnTo>
                        <a:pt x="25" y="0"/>
                      </a:lnTo>
                      <a:lnTo>
                        <a:pt x="9" y="16"/>
                      </a:lnTo>
                      <a:lnTo>
                        <a:pt x="0"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6" name="Freeform 291">
                  <a:extLst>
                    <a:ext uri="{FF2B5EF4-FFF2-40B4-BE49-F238E27FC236}">
                      <a16:creationId xmlns:a16="http://schemas.microsoft.com/office/drawing/2014/main" id="{E90E1E70-EBA5-71D4-909C-6F4B49043BE2}"/>
                    </a:ext>
                  </a:extLst>
                </p:cNvPr>
                <p:cNvSpPr>
                  <a:spLocks/>
                </p:cNvSpPr>
                <p:nvPr/>
              </p:nvSpPr>
              <p:spPr bwMode="gray">
                <a:xfrm>
                  <a:off x="7456336" y="5144623"/>
                  <a:ext cx="25743" cy="38002"/>
                </a:xfrm>
                <a:custGeom>
                  <a:avLst/>
                  <a:gdLst>
                    <a:gd name="T0" fmla="*/ 0 w 17"/>
                    <a:gd name="T1" fmla="*/ 24 h 25"/>
                    <a:gd name="T2" fmla="*/ 16 w 17"/>
                    <a:gd name="T3" fmla="*/ 7 h 25"/>
                    <a:gd name="T4" fmla="*/ 16 w 17"/>
                    <a:gd name="T5" fmla="*/ 0 h 25"/>
                    <a:gd name="T6" fmla="*/ 0 w 17"/>
                    <a:gd name="T7" fmla="*/ 24 h 25"/>
                  </a:gdLst>
                  <a:ahLst/>
                  <a:cxnLst>
                    <a:cxn ang="0">
                      <a:pos x="T0" y="T1"/>
                    </a:cxn>
                    <a:cxn ang="0">
                      <a:pos x="T2" y="T3"/>
                    </a:cxn>
                    <a:cxn ang="0">
                      <a:pos x="T4" y="T5"/>
                    </a:cxn>
                    <a:cxn ang="0">
                      <a:pos x="T6" y="T7"/>
                    </a:cxn>
                  </a:cxnLst>
                  <a:rect l="0" t="0" r="r" b="b"/>
                  <a:pathLst>
                    <a:path w="17" h="25">
                      <a:moveTo>
                        <a:pt x="0" y="24"/>
                      </a:moveTo>
                      <a:lnTo>
                        <a:pt x="16" y="7"/>
                      </a:lnTo>
                      <a:lnTo>
                        <a:pt x="16" y="0"/>
                      </a:lnTo>
                      <a:lnTo>
                        <a:pt x="0" y="24"/>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7" name="Freeform 292">
                  <a:extLst>
                    <a:ext uri="{FF2B5EF4-FFF2-40B4-BE49-F238E27FC236}">
                      <a16:creationId xmlns:a16="http://schemas.microsoft.com/office/drawing/2014/main" id="{4C0C2B56-CEAF-AB2E-81BC-668DFF572F8C}"/>
                    </a:ext>
                  </a:extLst>
                </p:cNvPr>
                <p:cNvSpPr>
                  <a:spLocks/>
                </p:cNvSpPr>
                <p:nvPr/>
              </p:nvSpPr>
              <p:spPr bwMode="gray">
                <a:xfrm>
                  <a:off x="6892554" y="5069885"/>
                  <a:ext cx="29605" cy="39270"/>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8" name="Freeform 293">
                  <a:extLst>
                    <a:ext uri="{FF2B5EF4-FFF2-40B4-BE49-F238E27FC236}">
                      <a16:creationId xmlns:a16="http://schemas.microsoft.com/office/drawing/2014/main" id="{AA4F8D33-6753-6717-75EF-BC8D80F80BC0}"/>
                    </a:ext>
                  </a:extLst>
                </p:cNvPr>
                <p:cNvSpPr>
                  <a:spLocks/>
                </p:cNvSpPr>
                <p:nvPr/>
              </p:nvSpPr>
              <p:spPr bwMode="gray">
                <a:xfrm>
                  <a:off x="6892554" y="5069885"/>
                  <a:ext cx="29605" cy="39270"/>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39" name="Freeform 294">
                  <a:extLst>
                    <a:ext uri="{FF2B5EF4-FFF2-40B4-BE49-F238E27FC236}">
                      <a16:creationId xmlns:a16="http://schemas.microsoft.com/office/drawing/2014/main" id="{0506F5D3-984A-F917-DAB8-EECCE5DD9B81}"/>
                    </a:ext>
                  </a:extLst>
                </p:cNvPr>
                <p:cNvSpPr>
                  <a:spLocks/>
                </p:cNvSpPr>
                <p:nvPr/>
              </p:nvSpPr>
              <p:spPr bwMode="gray">
                <a:xfrm>
                  <a:off x="6931169" y="5093952"/>
                  <a:ext cx="25743" cy="26602"/>
                </a:xfrm>
                <a:custGeom>
                  <a:avLst/>
                  <a:gdLst>
                    <a:gd name="T0" fmla="*/ 0 w 17"/>
                    <a:gd name="T1" fmla="*/ 16 h 17"/>
                    <a:gd name="T2" fmla="*/ 16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16"/>
                      </a:lnTo>
                      <a:lnTo>
                        <a:pt x="16" y="0"/>
                      </a:lnTo>
                      <a:lnTo>
                        <a:pt x="0"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0" name="Freeform 295">
                  <a:extLst>
                    <a:ext uri="{FF2B5EF4-FFF2-40B4-BE49-F238E27FC236}">
                      <a16:creationId xmlns:a16="http://schemas.microsoft.com/office/drawing/2014/main" id="{EFE80B98-C4B1-CFC5-5AAB-2698B8C3513A}"/>
                    </a:ext>
                  </a:extLst>
                </p:cNvPr>
                <p:cNvSpPr>
                  <a:spLocks/>
                </p:cNvSpPr>
                <p:nvPr/>
              </p:nvSpPr>
              <p:spPr bwMode="gray">
                <a:xfrm>
                  <a:off x="7153850" y="5007813"/>
                  <a:ext cx="128717" cy="148211"/>
                </a:xfrm>
                <a:custGeom>
                  <a:avLst/>
                  <a:gdLst>
                    <a:gd name="T0" fmla="*/ 0 w 83"/>
                    <a:gd name="T1" fmla="*/ 57 h 98"/>
                    <a:gd name="T2" fmla="*/ 0 w 83"/>
                    <a:gd name="T3" fmla="*/ 66 h 98"/>
                    <a:gd name="T4" fmla="*/ 10 w 83"/>
                    <a:gd name="T5" fmla="*/ 66 h 98"/>
                    <a:gd name="T6" fmla="*/ 10 w 83"/>
                    <a:gd name="T7" fmla="*/ 74 h 98"/>
                    <a:gd name="T8" fmla="*/ 10 w 83"/>
                    <a:gd name="T9" fmla="*/ 97 h 98"/>
                    <a:gd name="T10" fmla="*/ 17 w 83"/>
                    <a:gd name="T11" fmla="*/ 90 h 98"/>
                    <a:gd name="T12" fmla="*/ 17 w 83"/>
                    <a:gd name="T13" fmla="*/ 66 h 98"/>
                    <a:gd name="T14" fmla="*/ 25 w 83"/>
                    <a:gd name="T15" fmla="*/ 57 h 98"/>
                    <a:gd name="T16" fmla="*/ 34 w 83"/>
                    <a:gd name="T17" fmla="*/ 57 h 98"/>
                    <a:gd name="T18" fmla="*/ 25 w 83"/>
                    <a:gd name="T19" fmla="*/ 66 h 98"/>
                    <a:gd name="T20" fmla="*/ 34 w 83"/>
                    <a:gd name="T21" fmla="*/ 74 h 98"/>
                    <a:gd name="T22" fmla="*/ 34 w 83"/>
                    <a:gd name="T23" fmla="*/ 82 h 98"/>
                    <a:gd name="T24" fmla="*/ 50 w 83"/>
                    <a:gd name="T25" fmla="*/ 82 h 98"/>
                    <a:gd name="T26" fmla="*/ 50 w 83"/>
                    <a:gd name="T27" fmla="*/ 97 h 98"/>
                    <a:gd name="T28" fmla="*/ 57 w 83"/>
                    <a:gd name="T29" fmla="*/ 90 h 98"/>
                    <a:gd name="T30" fmla="*/ 57 w 83"/>
                    <a:gd name="T31" fmla="*/ 82 h 98"/>
                    <a:gd name="T32" fmla="*/ 42 w 83"/>
                    <a:gd name="T33" fmla="*/ 66 h 98"/>
                    <a:gd name="T34" fmla="*/ 50 w 83"/>
                    <a:gd name="T35" fmla="*/ 66 h 98"/>
                    <a:gd name="T36" fmla="*/ 34 w 83"/>
                    <a:gd name="T37" fmla="*/ 50 h 98"/>
                    <a:gd name="T38" fmla="*/ 50 w 83"/>
                    <a:gd name="T39" fmla="*/ 34 h 98"/>
                    <a:gd name="T40" fmla="*/ 57 w 83"/>
                    <a:gd name="T41" fmla="*/ 34 h 98"/>
                    <a:gd name="T42" fmla="*/ 25 w 83"/>
                    <a:gd name="T43" fmla="*/ 41 h 98"/>
                    <a:gd name="T44" fmla="*/ 17 w 83"/>
                    <a:gd name="T45" fmla="*/ 34 h 98"/>
                    <a:gd name="T46" fmla="*/ 17 w 83"/>
                    <a:gd name="T47" fmla="*/ 25 h 98"/>
                    <a:gd name="T48" fmla="*/ 25 w 83"/>
                    <a:gd name="T49" fmla="*/ 17 h 98"/>
                    <a:gd name="T50" fmla="*/ 75 w 83"/>
                    <a:gd name="T51" fmla="*/ 17 h 98"/>
                    <a:gd name="T52" fmla="*/ 82 w 83"/>
                    <a:gd name="T53" fmla="*/ 0 h 98"/>
                    <a:gd name="T54" fmla="*/ 66 w 83"/>
                    <a:gd name="T55" fmla="*/ 9 h 98"/>
                    <a:gd name="T56" fmla="*/ 50 w 83"/>
                    <a:gd name="T57" fmla="*/ 17 h 98"/>
                    <a:gd name="T58" fmla="*/ 25 w 83"/>
                    <a:gd name="T59" fmla="*/ 9 h 98"/>
                    <a:gd name="T60" fmla="*/ 25 w 83"/>
                    <a:gd name="T61" fmla="*/ 17 h 98"/>
                    <a:gd name="T62" fmla="*/ 17 w 83"/>
                    <a:gd name="T63" fmla="*/ 17 h 98"/>
                    <a:gd name="T64" fmla="*/ 17 w 83"/>
                    <a:gd name="T65" fmla="*/ 34 h 98"/>
                    <a:gd name="T66" fmla="*/ 0 w 83"/>
                    <a:gd name="T67" fmla="*/ 5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1" name="Freeform 296">
                  <a:extLst>
                    <a:ext uri="{FF2B5EF4-FFF2-40B4-BE49-F238E27FC236}">
                      <a16:creationId xmlns:a16="http://schemas.microsoft.com/office/drawing/2014/main" id="{2815F7D2-E6CF-4752-DCEF-77FD38B738E6}"/>
                    </a:ext>
                  </a:extLst>
                </p:cNvPr>
                <p:cNvSpPr>
                  <a:spLocks/>
                </p:cNvSpPr>
                <p:nvPr/>
              </p:nvSpPr>
              <p:spPr bwMode="gray">
                <a:xfrm>
                  <a:off x="7318608" y="4998946"/>
                  <a:ext cx="27031" cy="62071"/>
                </a:xfrm>
                <a:custGeom>
                  <a:avLst/>
                  <a:gdLst>
                    <a:gd name="T0" fmla="*/ 0 w 17"/>
                    <a:gd name="T1" fmla="*/ 15 h 41"/>
                    <a:gd name="T2" fmla="*/ 8 w 17"/>
                    <a:gd name="T3" fmla="*/ 31 h 41"/>
                    <a:gd name="T4" fmla="*/ 16 w 17"/>
                    <a:gd name="T5" fmla="*/ 40 h 41"/>
                    <a:gd name="T6" fmla="*/ 8 w 17"/>
                    <a:gd name="T7" fmla="*/ 31 h 41"/>
                    <a:gd name="T8" fmla="*/ 8 w 17"/>
                    <a:gd name="T9" fmla="*/ 23 h 41"/>
                    <a:gd name="T10" fmla="*/ 16 w 17"/>
                    <a:gd name="T11" fmla="*/ 23 h 41"/>
                    <a:gd name="T12" fmla="*/ 16 w 17"/>
                    <a:gd name="T13" fmla="*/ 15 h 41"/>
                    <a:gd name="T14" fmla="*/ 16 w 17"/>
                    <a:gd name="T15" fmla="*/ 6 h 41"/>
                    <a:gd name="T16" fmla="*/ 16 w 17"/>
                    <a:gd name="T17" fmla="*/ 15 h 41"/>
                    <a:gd name="T18" fmla="*/ 8 w 17"/>
                    <a:gd name="T19" fmla="*/ 0 h 41"/>
                    <a:gd name="T20" fmla="*/ 0 w 17"/>
                    <a:gd name="T21"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2" name="Freeform 297">
                  <a:extLst>
                    <a:ext uri="{FF2B5EF4-FFF2-40B4-BE49-F238E27FC236}">
                      <a16:creationId xmlns:a16="http://schemas.microsoft.com/office/drawing/2014/main" id="{C12BF966-5A25-863E-555A-4A39B7103CFB}"/>
                    </a:ext>
                  </a:extLst>
                </p:cNvPr>
                <p:cNvSpPr>
                  <a:spLocks/>
                </p:cNvSpPr>
                <p:nvPr/>
              </p:nvSpPr>
              <p:spPr bwMode="gray">
                <a:xfrm>
                  <a:off x="7294152" y="5107887"/>
                  <a:ext cx="27031" cy="25335"/>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3" name="Freeform 298">
                  <a:extLst>
                    <a:ext uri="{FF2B5EF4-FFF2-40B4-BE49-F238E27FC236}">
                      <a16:creationId xmlns:a16="http://schemas.microsoft.com/office/drawing/2014/main" id="{2F2634CA-594D-E31E-AC1C-261D1D33819D}"/>
                    </a:ext>
                  </a:extLst>
                </p:cNvPr>
                <p:cNvSpPr>
                  <a:spLocks/>
                </p:cNvSpPr>
                <p:nvPr/>
              </p:nvSpPr>
              <p:spPr bwMode="gray">
                <a:xfrm>
                  <a:off x="7331480" y="5093952"/>
                  <a:ext cx="64359" cy="27868"/>
                </a:xfrm>
                <a:custGeom>
                  <a:avLst/>
                  <a:gdLst>
                    <a:gd name="T0" fmla="*/ 0 w 42"/>
                    <a:gd name="T1" fmla="*/ 9 h 18"/>
                    <a:gd name="T2" fmla="*/ 41 w 42"/>
                    <a:gd name="T3" fmla="*/ 17 h 18"/>
                    <a:gd name="T4" fmla="*/ 32 w 42"/>
                    <a:gd name="T5" fmla="*/ 9 h 18"/>
                    <a:gd name="T6" fmla="*/ 25 w 42"/>
                    <a:gd name="T7" fmla="*/ 0 h 18"/>
                    <a:gd name="T8" fmla="*/ 7 w 42"/>
                    <a:gd name="T9" fmla="*/ 0 h 18"/>
                    <a:gd name="T10" fmla="*/ 0 w 42"/>
                    <a:gd name="T11" fmla="*/ 9 h 18"/>
                  </a:gdLst>
                  <a:ahLst/>
                  <a:cxnLst>
                    <a:cxn ang="0">
                      <a:pos x="T0" y="T1"/>
                    </a:cxn>
                    <a:cxn ang="0">
                      <a:pos x="T2" y="T3"/>
                    </a:cxn>
                    <a:cxn ang="0">
                      <a:pos x="T4" y="T5"/>
                    </a:cxn>
                    <a:cxn ang="0">
                      <a:pos x="T6" y="T7"/>
                    </a:cxn>
                    <a:cxn ang="0">
                      <a:pos x="T8" y="T9"/>
                    </a:cxn>
                    <a:cxn ang="0">
                      <a:pos x="T10" y="T11"/>
                    </a:cxn>
                  </a:cxnLst>
                  <a:rect l="0" t="0" r="r" b="b"/>
                  <a:pathLst>
                    <a:path w="42" h="18">
                      <a:moveTo>
                        <a:pt x="0" y="9"/>
                      </a:moveTo>
                      <a:lnTo>
                        <a:pt x="41" y="17"/>
                      </a:lnTo>
                      <a:lnTo>
                        <a:pt x="32" y="9"/>
                      </a:lnTo>
                      <a:lnTo>
                        <a:pt x="25" y="0"/>
                      </a:lnTo>
                      <a:lnTo>
                        <a:pt x="7" y="0"/>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4" name="Freeform 299">
                  <a:extLst>
                    <a:ext uri="{FF2B5EF4-FFF2-40B4-BE49-F238E27FC236}">
                      <a16:creationId xmlns:a16="http://schemas.microsoft.com/office/drawing/2014/main" id="{3D65042A-C621-DD6F-09CA-4F3B4795E8A8}"/>
                    </a:ext>
                  </a:extLst>
                </p:cNvPr>
                <p:cNvSpPr>
                  <a:spLocks/>
                </p:cNvSpPr>
                <p:nvPr/>
              </p:nvSpPr>
              <p:spPr bwMode="gray">
                <a:xfrm>
                  <a:off x="7180881" y="4679722"/>
                  <a:ext cx="77230" cy="110208"/>
                </a:xfrm>
                <a:custGeom>
                  <a:avLst/>
                  <a:gdLst>
                    <a:gd name="T0" fmla="*/ 0 w 50"/>
                    <a:gd name="T1" fmla="*/ 31 h 73"/>
                    <a:gd name="T2" fmla="*/ 0 w 50"/>
                    <a:gd name="T3" fmla="*/ 47 h 73"/>
                    <a:gd name="T4" fmla="*/ 8 w 50"/>
                    <a:gd name="T5" fmla="*/ 55 h 73"/>
                    <a:gd name="T6" fmla="*/ 8 w 50"/>
                    <a:gd name="T7" fmla="*/ 65 h 73"/>
                    <a:gd name="T8" fmla="*/ 17 w 50"/>
                    <a:gd name="T9" fmla="*/ 65 h 73"/>
                    <a:gd name="T10" fmla="*/ 25 w 50"/>
                    <a:gd name="T11" fmla="*/ 65 h 73"/>
                    <a:gd name="T12" fmla="*/ 33 w 50"/>
                    <a:gd name="T13" fmla="*/ 72 h 73"/>
                    <a:gd name="T14" fmla="*/ 33 w 50"/>
                    <a:gd name="T15" fmla="*/ 65 h 73"/>
                    <a:gd name="T16" fmla="*/ 40 w 50"/>
                    <a:gd name="T17" fmla="*/ 72 h 73"/>
                    <a:gd name="T18" fmla="*/ 49 w 50"/>
                    <a:gd name="T19" fmla="*/ 72 h 73"/>
                    <a:gd name="T20" fmla="*/ 40 w 50"/>
                    <a:gd name="T21" fmla="*/ 65 h 73"/>
                    <a:gd name="T22" fmla="*/ 49 w 50"/>
                    <a:gd name="T23" fmla="*/ 65 h 73"/>
                    <a:gd name="T24" fmla="*/ 33 w 50"/>
                    <a:gd name="T25" fmla="*/ 55 h 73"/>
                    <a:gd name="T26" fmla="*/ 25 w 50"/>
                    <a:gd name="T27" fmla="*/ 65 h 73"/>
                    <a:gd name="T28" fmla="*/ 17 w 50"/>
                    <a:gd name="T29" fmla="*/ 47 h 73"/>
                    <a:gd name="T30" fmla="*/ 33 w 50"/>
                    <a:gd name="T31" fmla="*/ 24 h 73"/>
                    <a:gd name="T32" fmla="*/ 25 w 50"/>
                    <a:gd name="T33" fmla="*/ 15 h 73"/>
                    <a:gd name="T34" fmla="*/ 33 w 50"/>
                    <a:gd name="T35" fmla="*/ 0 h 73"/>
                    <a:gd name="T36" fmla="*/ 25 w 50"/>
                    <a:gd name="T37" fmla="*/ 7 h 73"/>
                    <a:gd name="T38" fmla="*/ 8 w 50"/>
                    <a:gd name="T39" fmla="*/ 0 h 73"/>
                    <a:gd name="T40" fmla="*/ 0 w 50"/>
                    <a:gd name="T41"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5" name="Freeform 300">
                  <a:extLst>
                    <a:ext uri="{FF2B5EF4-FFF2-40B4-BE49-F238E27FC236}">
                      <a16:creationId xmlns:a16="http://schemas.microsoft.com/office/drawing/2014/main" id="{4A8982DC-EFE3-ED58-0E3C-802185038536}"/>
                    </a:ext>
                  </a:extLst>
                </p:cNvPr>
                <p:cNvSpPr>
                  <a:spLocks/>
                </p:cNvSpPr>
                <p:nvPr/>
              </p:nvSpPr>
              <p:spPr bwMode="gray">
                <a:xfrm>
                  <a:off x="7117809" y="4826667"/>
                  <a:ext cx="54061" cy="62071"/>
                </a:xfrm>
                <a:custGeom>
                  <a:avLst/>
                  <a:gdLst>
                    <a:gd name="T0" fmla="*/ 0 w 35"/>
                    <a:gd name="T1" fmla="*/ 40 h 41"/>
                    <a:gd name="T2" fmla="*/ 34 w 35"/>
                    <a:gd name="T3" fmla="*/ 8 h 41"/>
                    <a:gd name="T4" fmla="*/ 34 w 35"/>
                    <a:gd name="T5" fmla="*/ 0 h 41"/>
                    <a:gd name="T6" fmla="*/ 0 w 35"/>
                    <a:gd name="T7" fmla="*/ 40 h 41"/>
                  </a:gdLst>
                  <a:ahLst/>
                  <a:cxnLst>
                    <a:cxn ang="0">
                      <a:pos x="T0" y="T1"/>
                    </a:cxn>
                    <a:cxn ang="0">
                      <a:pos x="T2" y="T3"/>
                    </a:cxn>
                    <a:cxn ang="0">
                      <a:pos x="T4" y="T5"/>
                    </a:cxn>
                    <a:cxn ang="0">
                      <a:pos x="T6" y="T7"/>
                    </a:cxn>
                  </a:cxnLst>
                  <a:rect l="0" t="0" r="r" b="b"/>
                  <a:pathLst>
                    <a:path w="35" h="41">
                      <a:moveTo>
                        <a:pt x="0" y="40"/>
                      </a:moveTo>
                      <a:lnTo>
                        <a:pt x="34" y="8"/>
                      </a:lnTo>
                      <a:lnTo>
                        <a:pt x="34" y="0"/>
                      </a:lnTo>
                      <a:lnTo>
                        <a:pt x="0" y="4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6" name="Freeform 301">
                  <a:extLst>
                    <a:ext uri="{FF2B5EF4-FFF2-40B4-BE49-F238E27FC236}">
                      <a16:creationId xmlns:a16="http://schemas.microsoft.com/office/drawing/2014/main" id="{4476EE10-2C78-F6EF-FADB-B1901D085C42}"/>
                    </a:ext>
                  </a:extLst>
                </p:cNvPr>
                <p:cNvSpPr>
                  <a:spLocks/>
                </p:cNvSpPr>
                <p:nvPr/>
              </p:nvSpPr>
              <p:spPr bwMode="gray">
                <a:xfrm>
                  <a:off x="7180881" y="4788663"/>
                  <a:ext cx="27031" cy="25335"/>
                </a:xfrm>
                <a:custGeom>
                  <a:avLst/>
                  <a:gdLst>
                    <a:gd name="T0" fmla="*/ 0 w 18"/>
                    <a:gd name="T1" fmla="*/ 0 h 17"/>
                    <a:gd name="T2" fmla="*/ 17 w 18"/>
                    <a:gd name="T3" fmla="*/ 16 h 17"/>
                    <a:gd name="T4" fmla="*/ 17 w 18"/>
                    <a:gd name="T5" fmla="*/ 8 h 17"/>
                    <a:gd name="T6" fmla="*/ 17 w 18"/>
                    <a:gd name="T7" fmla="*/ 0 h 17"/>
                    <a:gd name="T8" fmla="*/ 0 w 18"/>
                    <a:gd name="T9" fmla="*/ 0 h 17"/>
                  </a:gdLst>
                  <a:ahLst/>
                  <a:cxnLst>
                    <a:cxn ang="0">
                      <a:pos x="T0" y="T1"/>
                    </a:cxn>
                    <a:cxn ang="0">
                      <a:pos x="T2" y="T3"/>
                    </a:cxn>
                    <a:cxn ang="0">
                      <a:pos x="T4" y="T5"/>
                    </a:cxn>
                    <a:cxn ang="0">
                      <a:pos x="T6" y="T7"/>
                    </a:cxn>
                    <a:cxn ang="0">
                      <a:pos x="T8" y="T9"/>
                    </a:cxn>
                  </a:cxnLst>
                  <a:rect l="0" t="0" r="r" b="b"/>
                  <a:pathLst>
                    <a:path w="18" h="17">
                      <a:moveTo>
                        <a:pt x="0" y="0"/>
                      </a:moveTo>
                      <a:lnTo>
                        <a:pt x="17" y="16"/>
                      </a:lnTo>
                      <a:lnTo>
                        <a:pt x="17" y="8"/>
                      </a:lnTo>
                      <a:lnTo>
                        <a:pt x="17"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7" name="Freeform 302">
                  <a:extLst>
                    <a:ext uri="{FF2B5EF4-FFF2-40B4-BE49-F238E27FC236}">
                      <a16:creationId xmlns:a16="http://schemas.microsoft.com/office/drawing/2014/main" id="{DE041407-1B71-8CD9-8321-3A2D66F061DB}"/>
                    </a:ext>
                  </a:extLst>
                </p:cNvPr>
                <p:cNvSpPr>
                  <a:spLocks/>
                </p:cNvSpPr>
                <p:nvPr/>
              </p:nvSpPr>
              <p:spPr bwMode="gray">
                <a:xfrm>
                  <a:off x="7269696" y="4800065"/>
                  <a:ext cx="25743" cy="50670"/>
                </a:xfrm>
                <a:custGeom>
                  <a:avLst/>
                  <a:gdLst>
                    <a:gd name="T0" fmla="*/ 0 w 17"/>
                    <a:gd name="T1" fmla="*/ 0 h 33"/>
                    <a:gd name="T2" fmla="*/ 7 w 17"/>
                    <a:gd name="T3" fmla="*/ 7 h 33"/>
                    <a:gd name="T4" fmla="*/ 0 w 17"/>
                    <a:gd name="T5" fmla="*/ 17 h 33"/>
                    <a:gd name="T6" fmla="*/ 0 w 17"/>
                    <a:gd name="T7" fmla="*/ 25 h 33"/>
                    <a:gd name="T8" fmla="*/ 0 w 17"/>
                    <a:gd name="T9" fmla="*/ 32 h 33"/>
                    <a:gd name="T10" fmla="*/ 7 w 17"/>
                    <a:gd name="T11" fmla="*/ 32 h 33"/>
                    <a:gd name="T12" fmla="*/ 7 w 17"/>
                    <a:gd name="T13" fmla="*/ 17 h 33"/>
                    <a:gd name="T14" fmla="*/ 16 w 17"/>
                    <a:gd name="T15" fmla="*/ 17 h 33"/>
                    <a:gd name="T16" fmla="*/ 7 w 17"/>
                    <a:gd name="T17" fmla="*/ 7 h 33"/>
                    <a:gd name="T18" fmla="*/ 7 w 17"/>
                    <a:gd name="T19" fmla="*/ 0 h 33"/>
                    <a:gd name="T20" fmla="*/ 0 w 17"/>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8" name="Freeform 303">
                  <a:extLst>
                    <a:ext uri="{FF2B5EF4-FFF2-40B4-BE49-F238E27FC236}">
                      <a16:creationId xmlns:a16="http://schemas.microsoft.com/office/drawing/2014/main" id="{F9CD7E80-9AFE-79A4-4807-7C3BC4BB5C9C}"/>
                    </a:ext>
                  </a:extLst>
                </p:cNvPr>
                <p:cNvSpPr>
                  <a:spLocks/>
                </p:cNvSpPr>
                <p:nvPr/>
              </p:nvSpPr>
              <p:spPr bwMode="gray">
                <a:xfrm>
                  <a:off x="7219496" y="4811465"/>
                  <a:ext cx="51487" cy="63338"/>
                </a:xfrm>
                <a:custGeom>
                  <a:avLst/>
                  <a:gdLst>
                    <a:gd name="T0" fmla="*/ 0 w 34"/>
                    <a:gd name="T1" fmla="*/ 18 h 42"/>
                    <a:gd name="T2" fmla="*/ 8 w 34"/>
                    <a:gd name="T3" fmla="*/ 18 h 42"/>
                    <a:gd name="T4" fmla="*/ 8 w 34"/>
                    <a:gd name="T5" fmla="*/ 25 h 42"/>
                    <a:gd name="T6" fmla="*/ 15 w 34"/>
                    <a:gd name="T7" fmla="*/ 41 h 42"/>
                    <a:gd name="T8" fmla="*/ 15 w 34"/>
                    <a:gd name="T9" fmla="*/ 34 h 42"/>
                    <a:gd name="T10" fmla="*/ 15 w 34"/>
                    <a:gd name="T11" fmla="*/ 25 h 42"/>
                    <a:gd name="T12" fmla="*/ 33 w 34"/>
                    <a:gd name="T13" fmla="*/ 34 h 42"/>
                    <a:gd name="T14" fmla="*/ 33 w 34"/>
                    <a:gd name="T15" fmla="*/ 25 h 42"/>
                    <a:gd name="T16" fmla="*/ 24 w 34"/>
                    <a:gd name="T17" fmla="*/ 25 h 42"/>
                    <a:gd name="T18" fmla="*/ 24 w 34"/>
                    <a:gd name="T19" fmla="*/ 10 h 42"/>
                    <a:gd name="T20" fmla="*/ 15 w 34"/>
                    <a:gd name="T21" fmla="*/ 18 h 42"/>
                    <a:gd name="T22" fmla="*/ 15 w 34"/>
                    <a:gd name="T23" fmla="*/ 10 h 42"/>
                    <a:gd name="T24" fmla="*/ 8 w 34"/>
                    <a:gd name="T25" fmla="*/ 0 h 42"/>
                    <a:gd name="T26" fmla="*/ 0 w 34"/>
                    <a:gd name="T27" fmla="*/ 0 h 42"/>
                    <a:gd name="T28" fmla="*/ 0 w 34"/>
                    <a:gd name="T29"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49" name="Freeform 304">
                  <a:extLst>
                    <a:ext uri="{FF2B5EF4-FFF2-40B4-BE49-F238E27FC236}">
                      <a16:creationId xmlns:a16="http://schemas.microsoft.com/office/drawing/2014/main" id="{5ADCCED8-2E21-21AE-9797-E9304E4ED8E7}"/>
                    </a:ext>
                  </a:extLst>
                </p:cNvPr>
                <p:cNvSpPr>
                  <a:spLocks/>
                </p:cNvSpPr>
                <p:nvPr/>
              </p:nvSpPr>
              <p:spPr bwMode="gray">
                <a:xfrm>
                  <a:off x="7219496" y="4849468"/>
                  <a:ext cx="86241" cy="88673"/>
                </a:xfrm>
                <a:custGeom>
                  <a:avLst/>
                  <a:gdLst>
                    <a:gd name="T0" fmla="*/ 0 w 56"/>
                    <a:gd name="T1" fmla="*/ 40 h 59"/>
                    <a:gd name="T2" fmla="*/ 8 w 56"/>
                    <a:gd name="T3" fmla="*/ 34 h 59"/>
                    <a:gd name="T4" fmla="*/ 15 w 56"/>
                    <a:gd name="T5" fmla="*/ 34 h 59"/>
                    <a:gd name="T6" fmla="*/ 24 w 56"/>
                    <a:gd name="T7" fmla="*/ 34 h 59"/>
                    <a:gd name="T8" fmla="*/ 33 w 56"/>
                    <a:gd name="T9" fmla="*/ 34 h 59"/>
                    <a:gd name="T10" fmla="*/ 24 w 56"/>
                    <a:gd name="T11" fmla="*/ 49 h 59"/>
                    <a:gd name="T12" fmla="*/ 40 w 56"/>
                    <a:gd name="T13" fmla="*/ 58 h 59"/>
                    <a:gd name="T14" fmla="*/ 49 w 56"/>
                    <a:gd name="T15" fmla="*/ 49 h 59"/>
                    <a:gd name="T16" fmla="*/ 40 w 56"/>
                    <a:gd name="T17" fmla="*/ 40 h 59"/>
                    <a:gd name="T18" fmla="*/ 49 w 56"/>
                    <a:gd name="T19" fmla="*/ 34 h 59"/>
                    <a:gd name="T20" fmla="*/ 55 w 56"/>
                    <a:gd name="T21" fmla="*/ 49 h 59"/>
                    <a:gd name="T22" fmla="*/ 55 w 56"/>
                    <a:gd name="T23" fmla="*/ 34 h 59"/>
                    <a:gd name="T24" fmla="*/ 55 w 56"/>
                    <a:gd name="T25" fmla="*/ 16 h 59"/>
                    <a:gd name="T26" fmla="*/ 40 w 56"/>
                    <a:gd name="T27" fmla="*/ 0 h 59"/>
                    <a:gd name="T28" fmla="*/ 40 w 56"/>
                    <a:gd name="T29" fmla="*/ 16 h 59"/>
                    <a:gd name="T30" fmla="*/ 33 w 56"/>
                    <a:gd name="T31" fmla="*/ 16 h 59"/>
                    <a:gd name="T32" fmla="*/ 24 w 56"/>
                    <a:gd name="T33" fmla="*/ 25 h 59"/>
                    <a:gd name="T34" fmla="*/ 15 w 56"/>
                    <a:gd name="T35" fmla="*/ 16 h 59"/>
                    <a:gd name="T36" fmla="*/ 0 w 56"/>
                    <a:gd name="T37" fmla="*/ 34 h 59"/>
                    <a:gd name="T38" fmla="*/ 0 w 56"/>
                    <a:gd name="T39"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0" name="Freeform 305">
                  <a:extLst>
                    <a:ext uri="{FF2B5EF4-FFF2-40B4-BE49-F238E27FC236}">
                      <a16:creationId xmlns:a16="http://schemas.microsoft.com/office/drawing/2014/main" id="{03437CF8-53C9-ACC3-EA62-FB63340F7CC3}"/>
                    </a:ext>
                  </a:extLst>
                </p:cNvPr>
                <p:cNvSpPr>
                  <a:spLocks/>
                </p:cNvSpPr>
                <p:nvPr/>
              </p:nvSpPr>
              <p:spPr bwMode="gray">
                <a:xfrm>
                  <a:off x="7730503" y="5120554"/>
                  <a:ext cx="87528" cy="49404"/>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1" name="Freeform 306">
                  <a:extLst>
                    <a:ext uri="{FF2B5EF4-FFF2-40B4-BE49-F238E27FC236}">
                      <a16:creationId xmlns:a16="http://schemas.microsoft.com/office/drawing/2014/main" id="{F51BE4DE-C44D-0D20-35D9-1A15AC986DCD}"/>
                    </a:ext>
                  </a:extLst>
                </p:cNvPr>
                <p:cNvSpPr>
                  <a:spLocks/>
                </p:cNvSpPr>
                <p:nvPr/>
              </p:nvSpPr>
              <p:spPr bwMode="gray">
                <a:xfrm>
                  <a:off x="7793575" y="5107887"/>
                  <a:ext cx="37328" cy="25335"/>
                </a:xfrm>
                <a:custGeom>
                  <a:avLst/>
                  <a:gdLst>
                    <a:gd name="T0" fmla="*/ 0 w 25"/>
                    <a:gd name="T1" fmla="*/ 0 h 17"/>
                    <a:gd name="T2" fmla="*/ 15 w 25"/>
                    <a:gd name="T3" fmla="*/ 8 h 17"/>
                    <a:gd name="T4" fmla="*/ 24 w 25"/>
                    <a:gd name="T5" fmla="*/ 16 h 17"/>
                    <a:gd name="T6" fmla="*/ 24 w 25"/>
                    <a:gd name="T7" fmla="*/ 8 h 17"/>
                    <a:gd name="T8" fmla="*/ 0 w 25"/>
                    <a:gd name="T9" fmla="*/ 0 h 17"/>
                  </a:gdLst>
                  <a:ahLst/>
                  <a:cxnLst>
                    <a:cxn ang="0">
                      <a:pos x="T0" y="T1"/>
                    </a:cxn>
                    <a:cxn ang="0">
                      <a:pos x="T2" y="T3"/>
                    </a:cxn>
                    <a:cxn ang="0">
                      <a:pos x="T4" y="T5"/>
                    </a:cxn>
                    <a:cxn ang="0">
                      <a:pos x="T6" y="T7"/>
                    </a:cxn>
                    <a:cxn ang="0">
                      <a:pos x="T8" y="T9"/>
                    </a:cxn>
                  </a:cxnLst>
                  <a:rect l="0" t="0" r="r" b="b"/>
                  <a:pathLst>
                    <a:path w="25" h="17">
                      <a:moveTo>
                        <a:pt x="0" y="0"/>
                      </a:moveTo>
                      <a:lnTo>
                        <a:pt x="15" y="8"/>
                      </a:lnTo>
                      <a:lnTo>
                        <a:pt x="24" y="16"/>
                      </a:lnTo>
                      <a:lnTo>
                        <a:pt x="24" y="8"/>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2" name="Freeform 307">
                  <a:extLst>
                    <a:ext uri="{FF2B5EF4-FFF2-40B4-BE49-F238E27FC236}">
                      <a16:creationId xmlns:a16="http://schemas.microsoft.com/office/drawing/2014/main" id="{5EC40228-F9DE-F66F-1094-CCDB441FF162}"/>
                    </a:ext>
                  </a:extLst>
                </p:cNvPr>
                <p:cNvSpPr>
                  <a:spLocks/>
                </p:cNvSpPr>
                <p:nvPr/>
              </p:nvSpPr>
              <p:spPr bwMode="gray">
                <a:xfrm>
                  <a:off x="7866944" y="5144623"/>
                  <a:ext cx="27031" cy="38002"/>
                </a:xfrm>
                <a:custGeom>
                  <a:avLst/>
                  <a:gdLst>
                    <a:gd name="T0" fmla="*/ 0 w 18"/>
                    <a:gd name="T1" fmla="*/ 0 h 25"/>
                    <a:gd name="T2" fmla="*/ 8 w 18"/>
                    <a:gd name="T3" fmla="*/ 24 h 25"/>
                    <a:gd name="T4" fmla="*/ 17 w 18"/>
                    <a:gd name="T5" fmla="*/ 16 h 25"/>
                    <a:gd name="T6" fmla="*/ 0 w 18"/>
                    <a:gd name="T7" fmla="*/ 0 h 25"/>
                  </a:gdLst>
                  <a:ahLst/>
                  <a:cxnLst>
                    <a:cxn ang="0">
                      <a:pos x="T0" y="T1"/>
                    </a:cxn>
                    <a:cxn ang="0">
                      <a:pos x="T2" y="T3"/>
                    </a:cxn>
                    <a:cxn ang="0">
                      <a:pos x="T4" y="T5"/>
                    </a:cxn>
                    <a:cxn ang="0">
                      <a:pos x="T6" y="T7"/>
                    </a:cxn>
                  </a:cxnLst>
                  <a:rect l="0" t="0" r="r" b="b"/>
                  <a:pathLst>
                    <a:path w="18" h="25">
                      <a:moveTo>
                        <a:pt x="0" y="0"/>
                      </a:moveTo>
                      <a:lnTo>
                        <a:pt x="8" y="24"/>
                      </a:lnTo>
                      <a:lnTo>
                        <a:pt x="17" y="16"/>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3" name="Freeform 308">
                  <a:extLst>
                    <a:ext uri="{FF2B5EF4-FFF2-40B4-BE49-F238E27FC236}">
                      <a16:creationId xmlns:a16="http://schemas.microsoft.com/office/drawing/2014/main" id="{CE1D238A-DE08-4370-D00D-266B493D0590}"/>
                    </a:ext>
                  </a:extLst>
                </p:cNvPr>
                <p:cNvSpPr>
                  <a:spLocks/>
                </p:cNvSpPr>
                <p:nvPr/>
              </p:nvSpPr>
              <p:spPr bwMode="gray">
                <a:xfrm>
                  <a:off x="7954472" y="5215561"/>
                  <a:ext cx="25743" cy="25335"/>
                </a:xfrm>
                <a:custGeom>
                  <a:avLst/>
                  <a:gdLst>
                    <a:gd name="T0" fmla="*/ 0 w 17"/>
                    <a:gd name="T1" fmla="*/ 0 h 17"/>
                    <a:gd name="T2" fmla="*/ 0 w 17"/>
                    <a:gd name="T3" fmla="*/ 16 h 17"/>
                    <a:gd name="T4" fmla="*/ 16 w 17"/>
                    <a:gd name="T5" fmla="*/ 16 h 17"/>
                    <a:gd name="T6" fmla="*/ 0 w 17"/>
                    <a:gd name="T7" fmla="*/ 0 h 17"/>
                  </a:gdLst>
                  <a:ahLst/>
                  <a:cxnLst>
                    <a:cxn ang="0">
                      <a:pos x="T0" y="T1"/>
                    </a:cxn>
                    <a:cxn ang="0">
                      <a:pos x="T2" y="T3"/>
                    </a:cxn>
                    <a:cxn ang="0">
                      <a:pos x="T4" y="T5"/>
                    </a:cxn>
                    <a:cxn ang="0">
                      <a:pos x="T6" y="T7"/>
                    </a:cxn>
                  </a:cxnLst>
                  <a:rect l="0" t="0" r="r" b="b"/>
                  <a:pathLst>
                    <a:path w="17" h="17">
                      <a:moveTo>
                        <a:pt x="0" y="0"/>
                      </a:moveTo>
                      <a:lnTo>
                        <a:pt x="0" y="16"/>
                      </a:lnTo>
                      <a:lnTo>
                        <a:pt x="16" y="16"/>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4" name="Line 314">
                  <a:extLst>
                    <a:ext uri="{FF2B5EF4-FFF2-40B4-BE49-F238E27FC236}">
                      <a16:creationId xmlns:a16="http://schemas.microsoft.com/office/drawing/2014/main" id="{3280F12D-208C-1665-B0AE-F0CD435D542D}"/>
                    </a:ext>
                  </a:extLst>
                </p:cNvPr>
                <p:cNvSpPr>
                  <a:spLocks noChangeShapeType="1"/>
                </p:cNvSpPr>
                <p:nvPr/>
              </p:nvSpPr>
              <p:spPr bwMode="gray">
                <a:xfrm>
                  <a:off x="7056025" y="4603717"/>
                  <a:ext cx="14159" cy="0"/>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255" name="Freeform 16">
                  <a:extLst>
                    <a:ext uri="{FF2B5EF4-FFF2-40B4-BE49-F238E27FC236}">
                      <a16:creationId xmlns:a16="http://schemas.microsoft.com/office/drawing/2014/main" id="{9535BEDE-4560-66EB-CCE8-9CB692B9391F}"/>
                    </a:ext>
                  </a:extLst>
                </p:cNvPr>
                <p:cNvSpPr>
                  <a:spLocks/>
                </p:cNvSpPr>
                <p:nvPr/>
              </p:nvSpPr>
              <p:spPr bwMode="gray">
                <a:xfrm>
                  <a:off x="5293884" y="4395968"/>
                  <a:ext cx="227830" cy="222950"/>
                </a:xfrm>
                <a:custGeom>
                  <a:avLst/>
                  <a:gdLst>
                    <a:gd name="T0" fmla="*/ 147 w 148"/>
                    <a:gd name="T1" fmla="*/ 130 h 147"/>
                    <a:gd name="T2" fmla="*/ 122 w 148"/>
                    <a:gd name="T3" fmla="*/ 146 h 147"/>
                    <a:gd name="T4" fmla="*/ 115 w 148"/>
                    <a:gd name="T5" fmla="*/ 137 h 147"/>
                    <a:gd name="T6" fmla="*/ 10 w 148"/>
                    <a:gd name="T7" fmla="*/ 137 h 147"/>
                    <a:gd name="T8" fmla="*/ 10 w 148"/>
                    <a:gd name="T9" fmla="*/ 48 h 147"/>
                    <a:gd name="T10" fmla="*/ 0 w 148"/>
                    <a:gd name="T11" fmla="*/ 32 h 147"/>
                    <a:gd name="T12" fmla="*/ 10 w 148"/>
                    <a:gd name="T13" fmla="*/ 0 h 147"/>
                    <a:gd name="T14" fmla="*/ 10 w 148"/>
                    <a:gd name="T15" fmla="*/ 9 h 147"/>
                    <a:gd name="T16" fmla="*/ 34 w 148"/>
                    <a:gd name="T17" fmla="*/ 9 h 147"/>
                    <a:gd name="T18" fmla="*/ 57 w 148"/>
                    <a:gd name="T19" fmla="*/ 16 h 147"/>
                    <a:gd name="T20" fmla="*/ 91 w 148"/>
                    <a:gd name="T21" fmla="*/ 9 h 147"/>
                    <a:gd name="T22" fmla="*/ 97 w 148"/>
                    <a:gd name="T23" fmla="*/ 9 h 147"/>
                    <a:gd name="T24" fmla="*/ 97 w 148"/>
                    <a:gd name="T25" fmla="*/ 16 h 147"/>
                    <a:gd name="T26" fmla="*/ 107 w 148"/>
                    <a:gd name="T27" fmla="*/ 9 h 147"/>
                    <a:gd name="T28" fmla="*/ 107 w 148"/>
                    <a:gd name="T29" fmla="*/ 16 h 147"/>
                    <a:gd name="T30" fmla="*/ 122 w 148"/>
                    <a:gd name="T31" fmla="*/ 9 h 147"/>
                    <a:gd name="T32" fmla="*/ 131 w 148"/>
                    <a:gd name="T33" fmla="*/ 40 h 147"/>
                    <a:gd name="T34" fmla="*/ 122 w 148"/>
                    <a:gd name="T35" fmla="*/ 65 h 147"/>
                    <a:gd name="T36" fmla="*/ 115 w 148"/>
                    <a:gd name="T37" fmla="*/ 48 h 147"/>
                    <a:gd name="T38" fmla="*/ 107 w 148"/>
                    <a:gd name="T39" fmla="*/ 25 h 147"/>
                    <a:gd name="T40" fmla="*/ 107 w 148"/>
                    <a:gd name="T41" fmla="*/ 32 h 147"/>
                    <a:gd name="T42" fmla="*/ 107 w 148"/>
                    <a:gd name="T43" fmla="*/ 40 h 147"/>
                    <a:gd name="T44" fmla="*/ 147 w 148"/>
                    <a:gd name="T45" fmla="*/ 13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6" name="Freeform 17">
                  <a:extLst>
                    <a:ext uri="{FF2B5EF4-FFF2-40B4-BE49-F238E27FC236}">
                      <a16:creationId xmlns:a16="http://schemas.microsoft.com/office/drawing/2014/main" id="{884B304A-13D3-F3F0-4DC0-CC1CA14679DC}"/>
                    </a:ext>
                  </a:extLst>
                </p:cNvPr>
                <p:cNvSpPr>
                  <a:spLocks/>
                </p:cNvSpPr>
                <p:nvPr/>
              </p:nvSpPr>
              <p:spPr bwMode="gray">
                <a:xfrm>
                  <a:off x="4999122" y="4373166"/>
                  <a:ext cx="311497" cy="292621"/>
                </a:xfrm>
                <a:custGeom>
                  <a:avLst/>
                  <a:gdLst>
                    <a:gd name="T0" fmla="*/ 31 w 203"/>
                    <a:gd name="T1" fmla="*/ 137 h 193"/>
                    <a:gd name="T2" fmla="*/ 22 w 203"/>
                    <a:gd name="T3" fmla="*/ 120 h 193"/>
                    <a:gd name="T4" fmla="*/ 15 w 203"/>
                    <a:gd name="T5" fmla="*/ 120 h 193"/>
                    <a:gd name="T6" fmla="*/ 0 w 203"/>
                    <a:gd name="T7" fmla="*/ 96 h 193"/>
                    <a:gd name="T8" fmla="*/ 6 w 203"/>
                    <a:gd name="T9" fmla="*/ 87 h 193"/>
                    <a:gd name="T10" fmla="*/ 6 w 203"/>
                    <a:gd name="T11" fmla="*/ 71 h 193"/>
                    <a:gd name="T12" fmla="*/ 6 w 203"/>
                    <a:gd name="T13" fmla="*/ 55 h 193"/>
                    <a:gd name="T14" fmla="*/ 0 w 203"/>
                    <a:gd name="T15" fmla="*/ 47 h 193"/>
                    <a:gd name="T16" fmla="*/ 0 w 203"/>
                    <a:gd name="T17" fmla="*/ 40 h 193"/>
                    <a:gd name="T18" fmla="*/ 6 w 203"/>
                    <a:gd name="T19" fmla="*/ 31 h 193"/>
                    <a:gd name="T20" fmla="*/ 6 w 203"/>
                    <a:gd name="T21" fmla="*/ 24 h 193"/>
                    <a:gd name="T22" fmla="*/ 22 w 203"/>
                    <a:gd name="T23" fmla="*/ 6 h 193"/>
                    <a:gd name="T24" fmla="*/ 22 w 203"/>
                    <a:gd name="T25" fmla="*/ 0 h 193"/>
                    <a:gd name="T26" fmla="*/ 40 w 203"/>
                    <a:gd name="T27" fmla="*/ 0 h 193"/>
                    <a:gd name="T28" fmla="*/ 63 w 203"/>
                    <a:gd name="T29" fmla="*/ 6 h 193"/>
                    <a:gd name="T30" fmla="*/ 80 w 203"/>
                    <a:gd name="T31" fmla="*/ 6 h 193"/>
                    <a:gd name="T32" fmla="*/ 80 w 203"/>
                    <a:gd name="T33" fmla="*/ 24 h 193"/>
                    <a:gd name="T34" fmla="*/ 128 w 203"/>
                    <a:gd name="T35" fmla="*/ 40 h 193"/>
                    <a:gd name="T36" fmla="*/ 137 w 203"/>
                    <a:gd name="T37" fmla="*/ 31 h 193"/>
                    <a:gd name="T38" fmla="*/ 137 w 203"/>
                    <a:gd name="T39" fmla="*/ 15 h 193"/>
                    <a:gd name="T40" fmla="*/ 161 w 203"/>
                    <a:gd name="T41" fmla="*/ 0 h 193"/>
                    <a:gd name="T42" fmla="*/ 177 w 203"/>
                    <a:gd name="T43" fmla="*/ 6 h 193"/>
                    <a:gd name="T44" fmla="*/ 177 w 203"/>
                    <a:gd name="T45" fmla="*/ 15 h 193"/>
                    <a:gd name="T46" fmla="*/ 202 w 203"/>
                    <a:gd name="T47" fmla="*/ 15 h 193"/>
                    <a:gd name="T48" fmla="*/ 192 w 203"/>
                    <a:gd name="T49" fmla="*/ 47 h 193"/>
                    <a:gd name="T50" fmla="*/ 202 w 203"/>
                    <a:gd name="T51" fmla="*/ 63 h 193"/>
                    <a:gd name="T52" fmla="*/ 202 w 203"/>
                    <a:gd name="T53" fmla="*/ 152 h 193"/>
                    <a:gd name="T54" fmla="*/ 202 w 203"/>
                    <a:gd name="T55" fmla="*/ 177 h 193"/>
                    <a:gd name="T56" fmla="*/ 192 w 203"/>
                    <a:gd name="T57" fmla="*/ 186 h 193"/>
                    <a:gd name="T58" fmla="*/ 184 w 203"/>
                    <a:gd name="T59" fmla="*/ 192 h 193"/>
                    <a:gd name="T60" fmla="*/ 87 w 203"/>
                    <a:gd name="T61" fmla="*/ 137 h 193"/>
                    <a:gd name="T62" fmla="*/ 72 w 203"/>
                    <a:gd name="T63" fmla="*/ 145 h 193"/>
                    <a:gd name="T64" fmla="*/ 63 w 203"/>
                    <a:gd name="T65" fmla="*/ 137 h 193"/>
                    <a:gd name="T66" fmla="*/ 31 w 203"/>
                    <a:gd name="T67" fmla="*/ 13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7" name="Freeform 19">
                  <a:extLst>
                    <a:ext uri="{FF2B5EF4-FFF2-40B4-BE49-F238E27FC236}">
                      <a16:creationId xmlns:a16="http://schemas.microsoft.com/office/drawing/2014/main" id="{86939261-C75D-49EA-15AF-1989C04B2244}"/>
                    </a:ext>
                  </a:extLst>
                </p:cNvPr>
                <p:cNvSpPr>
                  <a:spLocks/>
                </p:cNvSpPr>
                <p:nvPr/>
              </p:nvSpPr>
              <p:spPr bwMode="gray">
                <a:xfrm>
                  <a:off x="4573068" y="4542912"/>
                  <a:ext cx="325655" cy="307822"/>
                </a:xfrm>
                <a:custGeom>
                  <a:avLst/>
                  <a:gdLst>
                    <a:gd name="T0" fmla="*/ 96 w 212"/>
                    <a:gd name="T1" fmla="*/ 0 h 203"/>
                    <a:gd name="T2" fmla="*/ 170 w 212"/>
                    <a:gd name="T3" fmla="*/ 56 h 203"/>
                    <a:gd name="T4" fmla="*/ 178 w 212"/>
                    <a:gd name="T5" fmla="*/ 65 h 203"/>
                    <a:gd name="T6" fmla="*/ 193 w 212"/>
                    <a:gd name="T7" fmla="*/ 74 h 203"/>
                    <a:gd name="T8" fmla="*/ 202 w 212"/>
                    <a:gd name="T9" fmla="*/ 80 h 203"/>
                    <a:gd name="T10" fmla="*/ 211 w 212"/>
                    <a:gd name="T11" fmla="*/ 80 h 203"/>
                    <a:gd name="T12" fmla="*/ 211 w 212"/>
                    <a:gd name="T13" fmla="*/ 121 h 203"/>
                    <a:gd name="T14" fmla="*/ 202 w 212"/>
                    <a:gd name="T15" fmla="*/ 130 h 203"/>
                    <a:gd name="T16" fmla="*/ 162 w 212"/>
                    <a:gd name="T17" fmla="*/ 137 h 203"/>
                    <a:gd name="T18" fmla="*/ 146 w 212"/>
                    <a:gd name="T19" fmla="*/ 137 h 203"/>
                    <a:gd name="T20" fmla="*/ 130 w 212"/>
                    <a:gd name="T21" fmla="*/ 155 h 203"/>
                    <a:gd name="T22" fmla="*/ 113 w 212"/>
                    <a:gd name="T23" fmla="*/ 162 h 203"/>
                    <a:gd name="T24" fmla="*/ 96 w 212"/>
                    <a:gd name="T25" fmla="*/ 187 h 203"/>
                    <a:gd name="T26" fmla="*/ 90 w 212"/>
                    <a:gd name="T27" fmla="*/ 195 h 203"/>
                    <a:gd name="T28" fmla="*/ 81 w 212"/>
                    <a:gd name="T29" fmla="*/ 202 h 203"/>
                    <a:gd name="T30" fmla="*/ 72 w 212"/>
                    <a:gd name="T31" fmla="*/ 195 h 203"/>
                    <a:gd name="T32" fmla="*/ 65 w 212"/>
                    <a:gd name="T33" fmla="*/ 202 h 203"/>
                    <a:gd name="T34" fmla="*/ 56 w 212"/>
                    <a:gd name="T35" fmla="*/ 202 h 203"/>
                    <a:gd name="T36" fmla="*/ 41 w 212"/>
                    <a:gd name="T37" fmla="*/ 170 h 203"/>
                    <a:gd name="T38" fmla="*/ 23 w 212"/>
                    <a:gd name="T39" fmla="*/ 177 h 203"/>
                    <a:gd name="T40" fmla="*/ 7 w 212"/>
                    <a:gd name="T41" fmla="*/ 177 h 203"/>
                    <a:gd name="T42" fmla="*/ 16 w 212"/>
                    <a:gd name="T43" fmla="*/ 170 h 203"/>
                    <a:gd name="T44" fmla="*/ 0 w 212"/>
                    <a:gd name="T45" fmla="*/ 137 h 203"/>
                    <a:gd name="T46" fmla="*/ 16 w 212"/>
                    <a:gd name="T47" fmla="*/ 130 h 203"/>
                    <a:gd name="T48" fmla="*/ 23 w 212"/>
                    <a:gd name="T49" fmla="*/ 137 h 203"/>
                    <a:gd name="T50" fmla="*/ 31 w 212"/>
                    <a:gd name="T51" fmla="*/ 130 h 203"/>
                    <a:gd name="T52" fmla="*/ 90 w 212"/>
                    <a:gd name="T53" fmla="*/ 130 h 203"/>
                    <a:gd name="T54" fmla="*/ 72 w 212"/>
                    <a:gd name="T55" fmla="*/ 0 h 203"/>
                    <a:gd name="T56" fmla="*/ 96 w 212"/>
                    <a:gd name="T5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8" name="Freeform 20">
                  <a:extLst>
                    <a:ext uri="{FF2B5EF4-FFF2-40B4-BE49-F238E27FC236}">
                      <a16:creationId xmlns:a16="http://schemas.microsoft.com/office/drawing/2014/main" id="{95036818-DC72-FAAF-6FF8-EF8B2DABADDD}"/>
                    </a:ext>
                  </a:extLst>
                </p:cNvPr>
                <p:cNvSpPr>
                  <a:spLocks/>
                </p:cNvSpPr>
                <p:nvPr/>
              </p:nvSpPr>
              <p:spPr bwMode="gray">
                <a:xfrm>
                  <a:off x="4646437" y="4838067"/>
                  <a:ext cx="127430" cy="124142"/>
                </a:xfrm>
                <a:custGeom>
                  <a:avLst/>
                  <a:gdLst>
                    <a:gd name="T0" fmla="*/ 73 w 83"/>
                    <a:gd name="T1" fmla="*/ 72 h 82"/>
                    <a:gd name="T2" fmla="*/ 73 w 83"/>
                    <a:gd name="T3" fmla="*/ 47 h 82"/>
                    <a:gd name="T4" fmla="*/ 82 w 83"/>
                    <a:gd name="T5" fmla="*/ 32 h 82"/>
                    <a:gd name="T6" fmla="*/ 73 w 83"/>
                    <a:gd name="T7" fmla="*/ 16 h 82"/>
                    <a:gd name="T8" fmla="*/ 65 w 83"/>
                    <a:gd name="T9" fmla="*/ 7 h 82"/>
                    <a:gd name="T10" fmla="*/ 48 w 83"/>
                    <a:gd name="T11" fmla="*/ 7 h 82"/>
                    <a:gd name="T12" fmla="*/ 42 w 83"/>
                    <a:gd name="T13" fmla="*/ 0 h 82"/>
                    <a:gd name="T14" fmla="*/ 33 w 83"/>
                    <a:gd name="T15" fmla="*/ 7 h 82"/>
                    <a:gd name="T16" fmla="*/ 24 w 83"/>
                    <a:gd name="T17" fmla="*/ 0 h 82"/>
                    <a:gd name="T18" fmla="*/ 17 w 83"/>
                    <a:gd name="T19" fmla="*/ 7 h 82"/>
                    <a:gd name="T20" fmla="*/ 8 w 83"/>
                    <a:gd name="T21" fmla="*/ 7 h 82"/>
                    <a:gd name="T22" fmla="*/ 8 w 83"/>
                    <a:gd name="T23" fmla="*/ 16 h 82"/>
                    <a:gd name="T24" fmla="*/ 8 w 83"/>
                    <a:gd name="T25" fmla="*/ 23 h 82"/>
                    <a:gd name="T26" fmla="*/ 8 w 83"/>
                    <a:gd name="T27" fmla="*/ 32 h 82"/>
                    <a:gd name="T28" fmla="*/ 8 w 83"/>
                    <a:gd name="T29" fmla="*/ 41 h 82"/>
                    <a:gd name="T30" fmla="*/ 0 w 83"/>
                    <a:gd name="T31" fmla="*/ 41 h 82"/>
                    <a:gd name="T32" fmla="*/ 0 w 83"/>
                    <a:gd name="T33" fmla="*/ 56 h 82"/>
                    <a:gd name="T34" fmla="*/ 17 w 83"/>
                    <a:gd name="T35" fmla="*/ 65 h 82"/>
                    <a:gd name="T36" fmla="*/ 17 w 83"/>
                    <a:gd name="T37" fmla="*/ 81 h 82"/>
                    <a:gd name="T38" fmla="*/ 33 w 83"/>
                    <a:gd name="T39" fmla="*/ 72 h 82"/>
                    <a:gd name="T40" fmla="*/ 57 w 83"/>
                    <a:gd name="T41" fmla="*/ 72 h 82"/>
                    <a:gd name="T42" fmla="*/ 73 w 83"/>
                    <a:gd name="T43"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59" name="Freeform 21">
                  <a:extLst>
                    <a:ext uri="{FF2B5EF4-FFF2-40B4-BE49-F238E27FC236}">
                      <a16:creationId xmlns:a16="http://schemas.microsoft.com/office/drawing/2014/main" id="{CA452B0C-F4FB-8F7B-C113-89932E8EBBE1}"/>
                    </a:ext>
                  </a:extLst>
                </p:cNvPr>
                <p:cNvSpPr>
                  <a:spLocks/>
                </p:cNvSpPr>
                <p:nvPr/>
              </p:nvSpPr>
              <p:spPr bwMode="gray">
                <a:xfrm>
                  <a:off x="4758420" y="4826666"/>
                  <a:ext cx="77230" cy="122876"/>
                </a:xfrm>
                <a:custGeom>
                  <a:avLst/>
                  <a:gdLst>
                    <a:gd name="T0" fmla="*/ 0 w 50"/>
                    <a:gd name="T1" fmla="*/ 24 h 81"/>
                    <a:gd name="T2" fmla="*/ 0 w 50"/>
                    <a:gd name="T3" fmla="*/ 8 h 81"/>
                    <a:gd name="T4" fmla="*/ 0 w 50"/>
                    <a:gd name="T5" fmla="*/ 0 h 81"/>
                    <a:gd name="T6" fmla="*/ 32 w 50"/>
                    <a:gd name="T7" fmla="*/ 0 h 81"/>
                    <a:gd name="T8" fmla="*/ 41 w 50"/>
                    <a:gd name="T9" fmla="*/ 31 h 81"/>
                    <a:gd name="T10" fmla="*/ 49 w 50"/>
                    <a:gd name="T11" fmla="*/ 55 h 81"/>
                    <a:gd name="T12" fmla="*/ 49 w 50"/>
                    <a:gd name="T13" fmla="*/ 64 h 81"/>
                    <a:gd name="T14" fmla="*/ 9 w 50"/>
                    <a:gd name="T15" fmla="*/ 80 h 81"/>
                    <a:gd name="T16" fmla="*/ 0 w 50"/>
                    <a:gd name="T17" fmla="*/ 80 h 81"/>
                    <a:gd name="T18" fmla="*/ 0 w 50"/>
                    <a:gd name="T19" fmla="*/ 55 h 81"/>
                    <a:gd name="T20" fmla="*/ 9 w 50"/>
                    <a:gd name="T21" fmla="*/ 40 h 81"/>
                    <a:gd name="T22" fmla="*/ 0 w 50"/>
                    <a:gd name="T23"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0" name="Freeform 22">
                  <a:extLst>
                    <a:ext uri="{FF2B5EF4-FFF2-40B4-BE49-F238E27FC236}">
                      <a16:creationId xmlns:a16="http://schemas.microsoft.com/office/drawing/2014/main" id="{79B9F7F7-672A-0CC6-2A6B-8FB95897DCD6}"/>
                    </a:ext>
                  </a:extLst>
                </p:cNvPr>
                <p:cNvSpPr>
                  <a:spLocks/>
                </p:cNvSpPr>
                <p:nvPr/>
              </p:nvSpPr>
              <p:spPr bwMode="gray">
                <a:xfrm>
                  <a:off x="4983676" y="4998946"/>
                  <a:ext cx="113271" cy="122876"/>
                </a:xfrm>
                <a:custGeom>
                  <a:avLst/>
                  <a:gdLst>
                    <a:gd name="T0" fmla="*/ 16 w 74"/>
                    <a:gd name="T1" fmla="*/ 15 h 81"/>
                    <a:gd name="T2" fmla="*/ 32 w 74"/>
                    <a:gd name="T3" fmla="*/ 15 h 81"/>
                    <a:gd name="T4" fmla="*/ 32 w 74"/>
                    <a:gd name="T5" fmla="*/ 0 h 81"/>
                    <a:gd name="T6" fmla="*/ 57 w 74"/>
                    <a:gd name="T7" fmla="*/ 0 h 81"/>
                    <a:gd name="T8" fmla="*/ 57 w 74"/>
                    <a:gd name="T9" fmla="*/ 15 h 81"/>
                    <a:gd name="T10" fmla="*/ 65 w 74"/>
                    <a:gd name="T11" fmla="*/ 6 h 81"/>
                    <a:gd name="T12" fmla="*/ 73 w 74"/>
                    <a:gd name="T13" fmla="*/ 15 h 81"/>
                    <a:gd name="T14" fmla="*/ 73 w 74"/>
                    <a:gd name="T15" fmla="*/ 23 h 81"/>
                    <a:gd name="T16" fmla="*/ 73 w 74"/>
                    <a:gd name="T17" fmla="*/ 56 h 81"/>
                    <a:gd name="T18" fmla="*/ 50 w 74"/>
                    <a:gd name="T19" fmla="*/ 56 h 81"/>
                    <a:gd name="T20" fmla="*/ 41 w 74"/>
                    <a:gd name="T21" fmla="*/ 63 h 81"/>
                    <a:gd name="T22" fmla="*/ 41 w 74"/>
                    <a:gd name="T23" fmla="*/ 72 h 81"/>
                    <a:gd name="T24" fmla="*/ 32 w 74"/>
                    <a:gd name="T25" fmla="*/ 72 h 81"/>
                    <a:gd name="T26" fmla="*/ 32 w 74"/>
                    <a:gd name="T27" fmla="*/ 80 h 81"/>
                    <a:gd name="T28" fmla="*/ 16 w 74"/>
                    <a:gd name="T29" fmla="*/ 63 h 81"/>
                    <a:gd name="T30" fmla="*/ 0 w 74"/>
                    <a:gd name="T31" fmla="*/ 40 h 81"/>
                    <a:gd name="T32" fmla="*/ 10 w 74"/>
                    <a:gd name="T33" fmla="*/ 31 h 81"/>
                    <a:gd name="T34" fmla="*/ 10 w 74"/>
                    <a:gd name="T35" fmla="*/ 23 h 81"/>
                    <a:gd name="T36" fmla="*/ 16 w 74"/>
                    <a:gd name="T37"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1" name="Freeform 23">
                  <a:extLst>
                    <a:ext uri="{FF2B5EF4-FFF2-40B4-BE49-F238E27FC236}">
                      <a16:creationId xmlns:a16="http://schemas.microsoft.com/office/drawing/2014/main" id="{9A5E4A3E-7265-9356-C56D-D4CEA30A3866}"/>
                    </a:ext>
                  </a:extLst>
                </p:cNvPr>
                <p:cNvSpPr>
                  <a:spLocks/>
                </p:cNvSpPr>
                <p:nvPr/>
              </p:nvSpPr>
              <p:spPr bwMode="gray">
                <a:xfrm>
                  <a:off x="4983676" y="4788663"/>
                  <a:ext cx="150599" cy="220416"/>
                </a:xfrm>
                <a:custGeom>
                  <a:avLst/>
                  <a:gdLst>
                    <a:gd name="T0" fmla="*/ 0 w 98"/>
                    <a:gd name="T1" fmla="*/ 105 h 146"/>
                    <a:gd name="T2" fmla="*/ 16 w 98"/>
                    <a:gd name="T3" fmla="*/ 80 h 146"/>
                    <a:gd name="T4" fmla="*/ 25 w 98"/>
                    <a:gd name="T5" fmla="*/ 80 h 146"/>
                    <a:gd name="T6" fmla="*/ 32 w 98"/>
                    <a:gd name="T7" fmla="*/ 89 h 146"/>
                    <a:gd name="T8" fmla="*/ 41 w 98"/>
                    <a:gd name="T9" fmla="*/ 80 h 146"/>
                    <a:gd name="T10" fmla="*/ 57 w 98"/>
                    <a:gd name="T11" fmla="*/ 56 h 146"/>
                    <a:gd name="T12" fmla="*/ 65 w 98"/>
                    <a:gd name="T13" fmla="*/ 33 h 146"/>
                    <a:gd name="T14" fmla="*/ 73 w 98"/>
                    <a:gd name="T15" fmla="*/ 15 h 146"/>
                    <a:gd name="T16" fmla="*/ 73 w 98"/>
                    <a:gd name="T17" fmla="*/ 8 h 146"/>
                    <a:gd name="T18" fmla="*/ 73 w 98"/>
                    <a:gd name="T19" fmla="*/ 0 h 146"/>
                    <a:gd name="T20" fmla="*/ 73 w 98"/>
                    <a:gd name="T21" fmla="*/ 8 h 146"/>
                    <a:gd name="T22" fmla="*/ 90 w 98"/>
                    <a:gd name="T23" fmla="*/ 40 h 146"/>
                    <a:gd name="T24" fmla="*/ 73 w 98"/>
                    <a:gd name="T25" fmla="*/ 40 h 146"/>
                    <a:gd name="T26" fmla="*/ 73 w 98"/>
                    <a:gd name="T27" fmla="*/ 49 h 146"/>
                    <a:gd name="T28" fmla="*/ 82 w 98"/>
                    <a:gd name="T29" fmla="*/ 56 h 146"/>
                    <a:gd name="T30" fmla="*/ 90 w 98"/>
                    <a:gd name="T31" fmla="*/ 74 h 146"/>
                    <a:gd name="T32" fmla="*/ 73 w 98"/>
                    <a:gd name="T33" fmla="*/ 98 h 146"/>
                    <a:gd name="T34" fmla="*/ 82 w 98"/>
                    <a:gd name="T35" fmla="*/ 105 h 146"/>
                    <a:gd name="T36" fmla="*/ 97 w 98"/>
                    <a:gd name="T37" fmla="*/ 130 h 146"/>
                    <a:gd name="T38" fmla="*/ 97 w 98"/>
                    <a:gd name="T39" fmla="*/ 145 h 146"/>
                    <a:gd name="T40" fmla="*/ 57 w 98"/>
                    <a:gd name="T41" fmla="*/ 139 h 146"/>
                    <a:gd name="T42" fmla="*/ 32 w 98"/>
                    <a:gd name="T43" fmla="*/ 139 h 146"/>
                    <a:gd name="T44" fmla="*/ 16 w 98"/>
                    <a:gd name="T45" fmla="*/ 139 h 146"/>
                    <a:gd name="T46" fmla="*/ 16 w 98"/>
                    <a:gd name="T47" fmla="*/ 130 h 146"/>
                    <a:gd name="T48" fmla="*/ 10 w 98"/>
                    <a:gd name="T49" fmla="*/ 121 h 146"/>
                    <a:gd name="T50" fmla="*/ 0 w 98"/>
                    <a:gd name="T51" fmla="*/ 114 h 146"/>
                    <a:gd name="T52" fmla="*/ 0 w 98"/>
                    <a:gd name="T53" fmla="*/ 10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2" name="Freeform 24">
                  <a:extLst>
                    <a:ext uri="{FF2B5EF4-FFF2-40B4-BE49-F238E27FC236}">
                      <a16:creationId xmlns:a16="http://schemas.microsoft.com/office/drawing/2014/main" id="{E5341E57-EA30-23A8-4783-AEAC6DD182F3}"/>
                    </a:ext>
                  </a:extLst>
                </p:cNvPr>
                <p:cNvSpPr>
                  <a:spLocks/>
                </p:cNvSpPr>
                <p:nvPr/>
              </p:nvSpPr>
              <p:spPr bwMode="gray">
                <a:xfrm>
                  <a:off x="4869117" y="4778529"/>
                  <a:ext cx="227830" cy="183680"/>
                </a:xfrm>
                <a:custGeom>
                  <a:avLst/>
                  <a:gdLst>
                    <a:gd name="T0" fmla="*/ 74 w 148"/>
                    <a:gd name="T1" fmla="*/ 112 h 122"/>
                    <a:gd name="T2" fmla="*/ 90 w 148"/>
                    <a:gd name="T3" fmla="*/ 87 h 122"/>
                    <a:gd name="T4" fmla="*/ 99 w 148"/>
                    <a:gd name="T5" fmla="*/ 87 h 122"/>
                    <a:gd name="T6" fmla="*/ 106 w 148"/>
                    <a:gd name="T7" fmla="*/ 96 h 122"/>
                    <a:gd name="T8" fmla="*/ 115 w 148"/>
                    <a:gd name="T9" fmla="*/ 87 h 122"/>
                    <a:gd name="T10" fmla="*/ 131 w 148"/>
                    <a:gd name="T11" fmla="*/ 63 h 122"/>
                    <a:gd name="T12" fmla="*/ 139 w 148"/>
                    <a:gd name="T13" fmla="*/ 40 h 122"/>
                    <a:gd name="T14" fmla="*/ 147 w 148"/>
                    <a:gd name="T15" fmla="*/ 22 h 122"/>
                    <a:gd name="T16" fmla="*/ 147 w 148"/>
                    <a:gd name="T17" fmla="*/ 15 h 122"/>
                    <a:gd name="T18" fmla="*/ 147 w 148"/>
                    <a:gd name="T19" fmla="*/ 7 h 122"/>
                    <a:gd name="T20" fmla="*/ 139 w 148"/>
                    <a:gd name="T21" fmla="*/ 0 h 122"/>
                    <a:gd name="T22" fmla="*/ 131 w 148"/>
                    <a:gd name="T23" fmla="*/ 0 h 122"/>
                    <a:gd name="T24" fmla="*/ 124 w 148"/>
                    <a:gd name="T25" fmla="*/ 7 h 122"/>
                    <a:gd name="T26" fmla="*/ 99 w 148"/>
                    <a:gd name="T27" fmla="*/ 7 h 122"/>
                    <a:gd name="T28" fmla="*/ 84 w 148"/>
                    <a:gd name="T29" fmla="*/ 15 h 122"/>
                    <a:gd name="T30" fmla="*/ 65 w 148"/>
                    <a:gd name="T31" fmla="*/ 7 h 122"/>
                    <a:gd name="T32" fmla="*/ 59 w 148"/>
                    <a:gd name="T33" fmla="*/ 7 h 122"/>
                    <a:gd name="T34" fmla="*/ 34 w 148"/>
                    <a:gd name="T35" fmla="*/ 0 h 122"/>
                    <a:gd name="T36" fmla="*/ 25 w 148"/>
                    <a:gd name="T37" fmla="*/ 0 h 122"/>
                    <a:gd name="T38" fmla="*/ 9 w 148"/>
                    <a:gd name="T39" fmla="*/ 15 h 122"/>
                    <a:gd name="T40" fmla="*/ 9 w 148"/>
                    <a:gd name="T41" fmla="*/ 22 h 122"/>
                    <a:gd name="T42" fmla="*/ 9 w 148"/>
                    <a:gd name="T43" fmla="*/ 40 h 122"/>
                    <a:gd name="T44" fmla="*/ 0 w 148"/>
                    <a:gd name="T45" fmla="*/ 72 h 122"/>
                    <a:gd name="T46" fmla="*/ 0 w 148"/>
                    <a:gd name="T47" fmla="*/ 96 h 122"/>
                    <a:gd name="T48" fmla="*/ 25 w 148"/>
                    <a:gd name="T49" fmla="*/ 96 h 122"/>
                    <a:gd name="T50" fmla="*/ 25 w 148"/>
                    <a:gd name="T51" fmla="*/ 105 h 122"/>
                    <a:gd name="T52" fmla="*/ 34 w 148"/>
                    <a:gd name="T53" fmla="*/ 121 h 122"/>
                    <a:gd name="T54" fmla="*/ 42 w 148"/>
                    <a:gd name="T55" fmla="*/ 121 h 122"/>
                    <a:gd name="T56" fmla="*/ 74 w 148"/>
                    <a:gd name="T57" fmla="*/ 121 h 122"/>
                    <a:gd name="T58" fmla="*/ 74 w 148"/>
                    <a:gd name="T59" fmla="*/ 1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3" name="Freeform 25">
                  <a:extLst>
                    <a:ext uri="{FF2B5EF4-FFF2-40B4-BE49-F238E27FC236}">
                      <a16:creationId xmlns:a16="http://schemas.microsoft.com/office/drawing/2014/main" id="{B0DE19CB-D68B-0849-7BB9-C6B073926C1B}"/>
                    </a:ext>
                  </a:extLst>
                </p:cNvPr>
                <p:cNvSpPr>
                  <a:spLocks/>
                </p:cNvSpPr>
                <p:nvPr/>
              </p:nvSpPr>
              <p:spPr bwMode="gray">
                <a:xfrm>
                  <a:off x="4821492" y="4580915"/>
                  <a:ext cx="312784" cy="231816"/>
                </a:xfrm>
                <a:custGeom>
                  <a:avLst/>
                  <a:gdLst>
                    <a:gd name="T0" fmla="*/ 170 w 203"/>
                    <a:gd name="T1" fmla="*/ 130 h 153"/>
                    <a:gd name="T2" fmla="*/ 170 w 203"/>
                    <a:gd name="T3" fmla="*/ 120 h 153"/>
                    <a:gd name="T4" fmla="*/ 195 w 203"/>
                    <a:gd name="T5" fmla="*/ 89 h 153"/>
                    <a:gd name="T6" fmla="*/ 202 w 203"/>
                    <a:gd name="T7" fmla="*/ 40 h 153"/>
                    <a:gd name="T8" fmla="*/ 187 w 203"/>
                    <a:gd name="T9" fmla="*/ 24 h 153"/>
                    <a:gd name="T10" fmla="*/ 187 w 203"/>
                    <a:gd name="T11" fmla="*/ 8 h 153"/>
                    <a:gd name="T12" fmla="*/ 178 w 203"/>
                    <a:gd name="T13" fmla="*/ 0 h 153"/>
                    <a:gd name="T14" fmla="*/ 146 w 203"/>
                    <a:gd name="T15" fmla="*/ 0 h 153"/>
                    <a:gd name="T16" fmla="*/ 65 w 203"/>
                    <a:gd name="T17" fmla="*/ 55 h 153"/>
                    <a:gd name="T18" fmla="*/ 49 w 203"/>
                    <a:gd name="T19" fmla="*/ 55 h 153"/>
                    <a:gd name="T20" fmla="*/ 49 w 203"/>
                    <a:gd name="T21" fmla="*/ 96 h 153"/>
                    <a:gd name="T22" fmla="*/ 40 w 203"/>
                    <a:gd name="T23" fmla="*/ 105 h 153"/>
                    <a:gd name="T24" fmla="*/ 0 w 203"/>
                    <a:gd name="T25" fmla="*/ 112 h 153"/>
                    <a:gd name="T26" fmla="*/ 0 w 203"/>
                    <a:gd name="T27" fmla="*/ 130 h 153"/>
                    <a:gd name="T28" fmla="*/ 16 w 203"/>
                    <a:gd name="T29" fmla="*/ 145 h 153"/>
                    <a:gd name="T30" fmla="*/ 25 w 203"/>
                    <a:gd name="T31" fmla="*/ 145 h 153"/>
                    <a:gd name="T32" fmla="*/ 25 w 203"/>
                    <a:gd name="T33" fmla="*/ 152 h 153"/>
                    <a:gd name="T34" fmla="*/ 25 w 203"/>
                    <a:gd name="T35" fmla="*/ 145 h 153"/>
                    <a:gd name="T36" fmla="*/ 31 w 203"/>
                    <a:gd name="T37" fmla="*/ 145 h 153"/>
                    <a:gd name="T38" fmla="*/ 40 w 203"/>
                    <a:gd name="T39" fmla="*/ 152 h 153"/>
                    <a:gd name="T40" fmla="*/ 40 w 203"/>
                    <a:gd name="T41" fmla="*/ 145 h 153"/>
                    <a:gd name="T42" fmla="*/ 56 w 203"/>
                    <a:gd name="T43" fmla="*/ 130 h 153"/>
                    <a:gd name="T44" fmla="*/ 65 w 203"/>
                    <a:gd name="T45" fmla="*/ 130 h 153"/>
                    <a:gd name="T46" fmla="*/ 90 w 203"/>
                    <a:gd name="T47" fmla="*/ 137 h 153"/>
                    <a:gd name="T48" fmla="*/ 96 w 203"/>
                    <a:gd name="T49" fmla="*/ 137 h 153"/>
                    <a:gd name="T50" fmla="*/ 115 w 203"/>
                    <a:gd name="T51" fmla="*/ 145 h 153"/>
                    <a:gd name="T52" fmla="*/ 130 w 203"/>
                    <a:gd name="T53" fmla="*/ 137 h 153"/>
                    <a:gd name="T54" fmla="*/ 155 w 203"/>
                    <a:gd name="T55" fmla="*/ 137 h 153"/>
                    <a:gd name="T56" fmla="*/ 162 w 203"/>
                    <a:gd name="T57" fmla="*/ 130 h 153"/>
                    <a:gd name="T58" fmla="*/ 170 w 203"/>
                    <a:gd name="T59" fmla="*/ 13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4" name="Freeform 26">
                  <a:extLst>
                    <a:ext uri="{FF2B5EF4-FFF2-40B4-BE49-F238E27FC236}">
                      <a16:creationId xmlns:a16="http://schemas.microsoft.com/office/drawing/2014/main" id="{2B6F9EEB-C6E7-2C96-E8D3-0FAB08AD4A12}"/>
                    </a:ext>
                  </a:extLst>
                </p:cNvPr>
                <p:cNvSpPr>
                  <a:spLocks/>
                </p:cNvSpPr>
                <p:nvPr/>
              </p:nvSpPr>
              <p:spPr bwMode="gray">
                <a:xfrm>
                  <a:off x="5246260" y="4593582"/>
                  <a:ext cx="328229" cy="380028"/>
                </a:xfrm>
                <a:custGeom>
                  <a:avLst/>
                  <a:gdLst>
                    <a:gd name="T0" fmla="*/ 7 w 213"/>
                    <a:gd name="T1" fmla="*/ 154 h 251"/>
                    <a:gd name="T2" fmla="*/ 23 w 213"/>
                    <a:gd name="T3" fmla="*/ 169 h 251"/>
                    <a:gd name="T4" fmla="*/ 23 w 213"/>
                    <a:gd name="T5" fmla="*/ 185 h 251"/>
                    <a:gd name="T6" fmla="*/ 41 w 213"/>
                    <a:gd name="T7" fmla="*/ 194 h 251"/>
                    <a:gd name="T8" fmla="*/ 73 w 213"/>
                    <a:gd name="T9" fmla="*/ 234 h 251"/>
                    <a:gd name="T10" fmla="*/ 81 w 213"/>
                    <a:gd name="T11" fmla="*/ 243 h 251"/>
                    <a:gd name="T12" fmla="*/ 106 w 213"/>
                    <a:gd name="T13" fmla="*/ 243 h 251"/>
                    <a:gd name="T14" fmla="*/ 113 w 213"/>
                    <a:gd name="T15" fmla="*/ 250 h 251"/>
                    <a:gd name="T16" fmla="*/ 128 w 213"/>
                    <a:gd name="T17" fmla="*/ 250 h 251"/>
                    <a:gd name="T18" fmla="*/ 153 w 213"/>
                    <a:gd name="T19" fmla="*/ 243 h 251"/>
                    <a:gd name="T20" fmla="*/ 162 w 213"/>
                    <a:gd name="T21" fmla="*/ 243 h 251"/>
                    <a:gd name="T22" fmla="*/ 178 w 213"/>
                    <a:gd name="T23" fmla="*/ 243 h 251"/>
                    <a:gd name="T24" fmla="*/ 178 w 213"/>
                    <a:gd name="T25" fmla="*/ 227 h 251"/>
                    <a:gd name="T26" fmla="*/ 170 w 213"/>
                    <a:gd name="T27" fmla="*/ 227 h 251"/>
                    <a:gd name="T28" fmla="*/ 153 w 213"/>
                    <a:gd name="T29" fmla="*/ 203 h 251"/>
                    <a:gd name="T30" fmla="*/ 146 w 213"/>
                    <a:gd name="T31" fmla="*/ 194 h 251"/>
                    <a:gd name="T32" fmla="*/ 153 w 213"/>
                    <a:gd name="T33" fmla="*/ 185 h 251"/>
                    <a:gd name="T34" fmla="*/ 162 w 213"/>
                    <a:gd name="T35" fmla="*/ 162 h 251"/>
                    <a:gd name="T36" fmla="*/ 187 w 213"/>
                    <a:gd name="T37" fmla="*/ 129 h 251"/>
                    <a:gd name="T38" fmla="*/ 193 w 213"/>
                    <a:gd name="T39" fmla="*/ 81 h 251"/>
                    <a:gd name="T40" fmla="*/ 212 w 213"/>
                    <a:gd name="T41" fmla="*/ 72 h 251"/>
                    <a:gd name="T42" fmla="*/ 212 w 213"/>
                    <a:gd name="T43" fmla="*/ 64 h 251"/>
                    <a:gd name="T44" fmla="*/ 203 w 213"/>
                    <a:gd name="T45" fmla="*/ 57 h 251"/>
                    <a:gd name="T46" fmla="*/ 193 w 213"/>
                    <a:gd name="T47" fmla="*/ 7 h 251"/>
                    <a:gd name="T48" fmla="*/ 178 w 213"/>
                    <a:gd name="T49" fmla="*/ 0 h 251"/>
                    <a:gd name="T50" fmla="*/ 153 w 213"/>
                    <a:gd name="T51" fmla="*/ 16 h 251"/>
                    <a:gd name="T52" fmla="*/ 146 w 213"/>
                    <a:gd name="T53" fmla="*/ 7 h 251"/>
                    <a:gd name="T54" fmla="*/ 41 w 213"/>
                    <a:gd name="T55" fmla="*/ 7 h 251"/>
                    <a:gd name="T56" fmla="*/ 41 w 213"/>
                    <a:gd name="T57" fmla="*/ 32 h 251"/>
                    <a:gd name="T58" fmla="*/ 31 w 213"/>
                    <a:gd name="T59" fmla="*/ 41 h 251"/>
                    <a:gd name="T60" fmla="*/ 23 w 213"/>
                    <a:gd name="T61" fmla="*/ 47 h 251"/>
                    <a:gd name="T62" fmla="*/ 23 w 213"/>
                    <a:gd name="T63" fmla="*/ 88 h 251"/>
                    <a:gd name="T64" fmla="*/ 23 w 213"/>
                    <a:gd name="T65" fmla="*/ 97 h 251"/>
                    <a:gd name="T66" fmla="*/ 16 w 213"/>
                    <a:gd name="T67" fmla="*/ 97 h 251"/>
                    <a:gd name="T68" fmla="*/ 0 w 213"/>
                    <a:gd name="T69" fmla="*/ 129 h 251"/>
                    <a:gd name="T70" fmla="*/ 16 w 213"/>
                    <a:gd name="T71" fmla="*/ 154 h 251"/>
                    <a:gd name="T72" fmla="*/ 7 w 213"/>
                    <a:gd name="T73" fmla="*/ 15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5" name="Freeform 27">
                  <a:extLst>
                    <a:ext uri="{FF2B5EF4-FFF2-40B4-BE49-F238E27FC236}">
                      <a16:creationId xmlns:a16="http://schemas.microsoft.com/office/drawing/2014/main" id="{4FDEE205-E9FF-4DCE-3FF5-33B527A37201}"/>
                    </a:ext>
                  </a:extLst>
                </p:cNvPr>
                <p:cNvSpPr>
                  <a:spLocks/>
                </p:cNvSpPr>
                <p:nvPr/>
              </p:nvSpPr>
              <p:spPr bwMode="gray">
                <a:xfrm>
                  <a:off x="5095660" y="4826666"/>
                  <a:ext cx="265158" cy="160879"/>
                </a:xfrm>
                <a:custGeom>
                  <a:avLst/>
                  <a:gdLst>
                    <a:gd name="T0" fmla="*/ 105 w 172"/>
                    <a:gd name="T1" fmla="*/ 0 h 106"/>
                    <a:gd name="T2" fmla="*/ 121 w 172"/>
                    <a:gd name="T3" fmla="*/ 15 h 106"/>
                    <a:gd name="T4" fmla="*/ 121 w 172"/>
                    <a:gd name="T5" fmla="*/ 31 h 106"/>
                    <a:gd name="T6" fmla="*/ 139 w 172"/>
                    <a:gd name="T7" fmla="*/ 40 h 106"/>
                    <a:gd name="T8" fmla="*/ 171 w 172"/>
                    <a:gd name="T9" fmla="*/ 80 h 106"/>
                    <a:gd name="T10" fmla="*/ 114 w 172"/>
                    <a:gd name="T11" fmla="*/ 80 h 106"/>
                    <a:gd name="T12" fmla="*/ 105 w 172"/>
                    <a:gd name="T13" fmla="*/ 89 h 106"/>
                    <a:gd name="T14" fmla="*/ 80 w 172"/>
                    <a:gd name="T15" fmla="*/ 89 h 106"/>
                    <a:gd name="T16" fmla="*/ 74 w 172"/>
                    <a:gd name="T17" fmla="*/ 80 h 106"/>
                    <a:gd name="T18" fmla="*/ 65 w 172"/>
                    <a:gd name="T19" fmla="*/ 80 h 106"/>
                    <a:gd name="T20" fmla="*/ 57 w 172"/>
                    <a:gd name="T21" fmla="*/ 96 h 106"/>
                    <a:gd name="T22" fmla="*/ 34 w 172"/>
                    <a:gd name="T23" fmla="*/ 105 h 106"/>
                    <a:gd name="T24" fmla="*/ 24 w 172"/>
                    <a:gd name="T25" fmla="*/ 105 h 106"/>
                    <a:gd name="T26" fmla="*/ 9 w 172"/>
                    <a:gd name="T27" fmla="*/ 80 h 106"/>
                    <a:gd name="T28" fmla="*/ 0 w 172"/>
                    <a:gd name="T29" fmla="*/ 73 h 106"/>
                    <a:gd name="T30" fmla="*/ 17 w 172"/>
                    <a:gd name="T31" fmla="*/ 49 h 106"/>
                    <a:gd name="T32" fmla="*/ 57 w 172"/>
                    <a:gd name="T33" fmla="*/ 40 h 106"/>
                    <a:gd name="T34" fmla="*/ 65 w 172"/>
                    <a:gd name="T35" fmla="*/ 31 h 106"/>
                    <a:gd name="T36" fmla="*/ 57 w 172"/>
                    <a:gd name="T37" fmla="*/ 31 h 106"/>
                    <a:gd name="T38" fmla="*/ 80 w 172"/>
                    <a:gd name="T39" fmla="*/ 24 h 106"/>
                    <a:gd name="T40" fmla="*/ 98 w 172"/>
                    <a:gd name="T41" fmla="*/ 8 h 106"/>
                    <a:gd name="T42" fmla="*/ 105 w 172"/>
                    <a:gd name="T4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6" name="Freeform 28">
                  <a:extLst>
                    <a:ext uri="{FF2B5EF4-FFF2-40B4-BE49-F238E27FC236}">
                      <a16:creationId xmlns:a16="http://schemas.microsoft.com/office/drawing/2014/main" id="{EC52B384-D9DC-216D-3726-B57D5D365C53}"/>
                    </a:ext>
                  </a:extLst>
                </p:cNvPr>
                <p:cNvSpPr>
                  <a:spLocks/>
                </p:cNvSpPr>
                <p:nvPr/>
              </p:nvSpPr>
              <p:spPr bwMode="gray">
                <a:xfrm>
                  <a:off x="5481812" y="4960942"/>
                  <a:ext cx="164758" cy="172279"/>
                </a:xfrm>
                <a:custGeom>
                  <a:avLst/>
                  <a:gdLst>
                    <a:gd name="T0" fmla="*/ 106 w 107"/>
                    <a:gd name="T1" fmla="*/ 7 h 114"/>
                    <a:gd name="T2" fmla="*/ 90 w 107"/>
                    <a:gd name="T3" fmla="*/ 0 h 114"/>
                    <a:gd name="T4" fmla="*/ 65 w 107"/>
                    <a:gd name="T5" fmla="*/ 7 h 114"/>
                    <a:gd name="T6" fmla="*/ 25 w 107"/>
                    <a:gd name="T7" fmla="*/ 0 h 114"/>
                    <a:gd name="T8" fmla="*/ 9 w 107"/>
                    <a:gd name="T9" fmla="*/ 0 h 114"/>
                    <a:gd name="T10" fmla="*/ 0 w 107"/>
                    <a:gd name="T11" fmla="*/ 0 h 114"/>
                    <a:gd name="T12" fmla="*/ 9 w 107"/>
                    <a:gd name="T13" fmla="*/ 7 h 114"/>
                    <a:gd name="T14" fmla="*/ 17 w 107"/>
                    <a:gd name="T15" fmla="*/ 31 h 114"/>
                    <a:gd name="T16" fmla="*/ 0 w 107"/>
                    <a:gd name="T17" fmla="*/ 56 h 114"/>
                    <a:gd name="T18" fmla="*/ 0 w 107"/>
                    <a:gd name="T19" fmla="*/ 65 h 114"/>
                    <a:gd name="T20" fmla="*/ 9 w 107"/>
                    <a:gd name="T21" fmla="*/ 65 h 114"/>
                    <a:gd name="T22" fmla="*/ 50 w 107"/>
                    <a:gd name="T23" fmla="*/ 88 h 114"/>
                    <a:gd name="T24" fmla="*/ 50 w 107"/>
                    <a:gd name="T25" fmla="*/ 105 h 114"/>
                    <a:gd name="T26" fmla="*/ 74 w 107"/>
                    <a:gd name="T27" fmla="*/ 113 h 114"/>
                    <a:gd name="T28" fmla="*/ 82 w 107"/>
                    <a:gd name="T29" fmla="*/ 88 h 114"/>
                    <a:gd name="T30" fmla="*/ 90 w 107"/>
                    <a:gd name="T31" fmla="*/ 88 h 114"/>
                    <a:gd name="T32" fmla="*/ 99 w 107"/>
                    <a:gd name="T33" fmla="*/ 72 h 114"/>
                    <a:gd name="T34" fmla="*/ 90 w 107"/>
                    <a:gd name="T35" fmla="*/ 65 h 114"/>
                    <a:gd name="T36" fmla="*/ 90 w 107"/>
                    <a:gd name="T37" fmla="*/ 25 h 114"/>
                    <a:gd name="T38" fmla="*/ 106 w 107"/>
                    <a:gd name="T39"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7" name="Freeform 29">
                  <a:extLst>
                    <a:ext uri="{FF2B5EF4-FFF2-40B4-BE49-F238E27FC236}">
                      <a16:creationId xmlns:a16="http://schemas.microsoft.com/office/drawing/2014/main" id="{4A5AB21D-FCCE-B216-9BB9-4226E68B346C}"/>
                    </a:ext>
                  </a:extLst>
                </p:cNvPr>
                <p:cNvSpPr>
                  <a:spLocks/>
                </p:cNvSpPr>
                <p:nvPr/>
              </p:nvSpPr>
              <p:spPr bwMode="gray">
                <a:xfrm>
                  <a:off x="5395571" y="4960942"/>
                  <a:ext cx="114558" cy="110208"/>
                </a:xfrm>
                <a:custGeom>
                  <a:avLst/>
                  <a:gdLst>
                    <a:gd name="T0" fmla="*/ 56 w 74"/>
                    <a:gd name="T1" fmla="*/ 0 h 73"/>
                    <a:gd name="T2" fmla="*/ 65 w 74"/>
                    <a:gd name="T3" fmla="*/ 7 h 73"/>
                    <a:gd name="T4" fmla="*/ 73 w 74"/>
                    <a:gd name="T5" fmla="*/ 31 h 73"/>
                    <a:gd name="T6" fmla="*/ 56 w 74"/>
                    <a:gd name="T7" fmla="*/ 56 h 73"/>
                    <a:gd name="T8" fmla="*/ 56 w 74"/>
                    <a:gd name="T9" fmla="*/ 65 h 73"/>
                    <a:gd name="T10" fmla="*/ 31 w 74"/>
                    <a:gd name="T11" fmla="*/ 65 h 73"/>
                    <a:gd name="T12" fmla="*/ 16 w 74"/>
                    <a:gd name="T13" fmla="*/ 65 h 73"/>
                    <a:gd name="T14" fmla="*/ 0 w 74"/>
                    <a:gd name="T15" fmla="*/ 72 h 73"/>
                    <a:gd name="T16" fmla="*/ 9 w 74"/>
                    <a:gd name="T17" fmla="*/ 48 h 73"/>
                    <a:gd name="T18" fmla="*/ 16 w 74"/>
                    <a:gd name="T19" fmla="*/ 40 h 73"/>
                    <a:gd name="T20" fmla="*/ 25 w 74"/>
                    <a:gd name="T21" fmla="*/ 25 h 73"/>
                    <a:gd name="T22" fmla="*/ 16 w 74"/>
                    <a:gd name="T23" fmla="*/ 25 h 73"/>
                    <a:gd name="T24" fmla="*/ 16 w 74"/>
                    <a:gd name="T25" fmla="*/ 7 h 73"/>
                    <a:gd name="T26" fmla="*/ 31 w 74"/>
                    <a:gd name="T27" fmla="*/ 7 h 73"/>
                    <a:gd name="T28" fmla="*/ 56 w 74"/>
                    <a:gd name="T2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8" name="Freeform 30">
                  <a:extLst>
                    <a:ext uri="{FF2B5EF4-FFF2-40B4-BE49-F238E27FC236}">
                      <a16:creationId xmlns:a16="http://schemas.microsoft.com/office/drawing/2014/main" id="{B94E5AB1-C879-EE75-82B7-3BCECEF9EBE1}"/>
                    </a:ext>
                  </a:extLst>
                </p:cNvPr>
                <p:cNvSpPr>
                  <a:spLocks/>
                </p:cNvSpPr>
                <p:nvPr/>
              </p:nvSpPr>
              <p:spPr bwMode="gray">
                <a:xfrm>
                  <a:off x="5395571" y="5059750"/>
                  <a:ext cx="213671" cy="209015"/>
                </a:xfrm>
                <a:custGeom>
                  <a:avLst/>
                  <a:gdLst>
                    <a:gd name="T0" fmla="*/ 49 w 139"/>
                    <a:gd name="T1" fmla="*/ 113 h 138"/>
                    <a:gd name="T2" fmla="*/ 25 w 139"/>
                    <a:gd name="T3" fmla="*/ 97 h 138"/>
                    <a:gd name="T4" fmla="*/ 16 w 139"/>
                    <a:gd name="T5" fmla="*/ 97 h 138"/>
                    <a:gd name="T6" fmla="*/ 0 w 139"/>
                    <a:gd name="T7" fmla="*/ 72 h 138"/>
                    <a:gd name="T8" fmla="*/ 0 w 139"/>
                    <a:gd name="T9" fmla="*/ 48 h 138"/>
                    <a:gd name="T10" fmla="*/ 16 w 139"/>
                    <a:gd name="T11" fmla="*/ 32 h 138"/>
                    <a:gd name="T12" fmla="*/ 16 w 139"/>
                    <a:gd name="T13" fmla="*/ 23 h 138"/>
                    <a:gd name="T14" fmla="*/ 16 w 139"/>
                    <a:gd name="T15" fmla="*/ 16 h 138"/>
                    <a:gd name="T16" fmla="*/ 16 w 139"/>
                    <a:gd name="T17" fmla="*/ 0 h 138"/>
                    <a:gd name="T18" fmla="*/ 31 w 139"/>
                    <a:gd name="T19" fmla="*/ 0 h 138"/>
                    <a:gd name="T20" fmla="*/ 56 w 139"/>
                    <a:gd name="T21" fmla="*/ 0 h 138"/>
                    <a:gd name="T22" fmla="*/ 65 w 139"/>
                    <a:gd name="T23" fmla="*/ 0 h 138"/>
                    <a:gd name="T24" fmla="*/ 106 w 139"/>
                    <a:gd name="T25" fmla="*/ 23 h 138"/>
                    <a:gd name="T26" fmla="*/ 106 w 139"/>
                    <a:gd name="T27" fmla="*/ 40 h 138"/>
                    <a:gd name="T28" fmla="*/ 130 w 139"/>
                    <a:gd name="T29" fmla="*/ 48 h 138"/>
                    <a:gd name="T30" fmla="*/ 121 w 139"/>
                    <a:gd name="T31" fmla="*/ 63 h 138"/>
                    <a:gd name="T32" fmla="*/ 130 w 139"/>
                    <a:gd name="T33" fmla="*/ 80 h 138"/>
                    <a:gd name="T34" fmla="*/ 130 w 139"/>
                    <a:gd name="T35" fmla="*/ 103 h 138"/>
                    <a:gd name="T36" fmla="*/ 130 w 139"/>
                    <a:gd name="T37" fmla="*/ 113 h 138"/>
                    <a:gd name="T38" fmla="*/ 138 w 139"/>
                    <a:gd name="T39" fmla="*/ 122 h 138"/>
                    <a:gd name="T40" fmla="*/ 121 w 139"/>
                    <a:gd name="T41" fmla="*/ 137 h 138"/>
                    <a:gd name="T42" fmla="*/ 90 w 139"/>
                    <a:gd name="T43" fmla="*/ 137 h 138"/>
                    <a:gd name="T44" fmla="*/ 73 w 139"/>
                    <a:gd name="T45" fmla="*/ 137 h 138"/>
                    <a:gd name="T46" fmla="*/ 65 w 139"/>
                    <a:gd name="T47" fmla="*/ 113 h 138"/>
                    <a:gd name="T48" fmla="*/ 56 w 139"/>
                    <a:gd name="T49" fmla="*/ 113 h 138"/>
                    <a:gd name="T50" fmla="*/ 49 w 139"/>
                    <a:gd name="T51" fmla="*/ 11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69" name="Freeform 31">
                  <a:extLst>
                    <a:ext uri="{FF2B5EF4-FFF2-40B4-BE49-F238E27FC236}">
                      <a16:creationId xmlns:a16="http://schemas.microsoft.com/office/drawing/2014/main" id="{356203DE-58B3-EF1A-C7DE-A36E6C6CE3AB}"/>
                    </a:ext>
                  </a:extLst>
                </p:cNvPr>
                <p:cNvSpPr>
                  <a:spLocks/>
                </p:cNvSpPr>
                <p:nvPr/>
              </p:nvSpPr>
              <p:spPr bwMode="gray">
                <a:xfrm>
                  <a:off x="5060906" y="4947008"/>
                  <a:ext cx="374567" cy="359760"/>
                </a:xfrm>
                <a:custGeom>
                  <a:avLst/>
                  <a:gdLst>
                    <a:gd name="T0" fmla="*/ 194 w 244"/>
                    <a:gd name="T1" fmla="*/ 0 h 237"/>
                    <a:gd name="T2" fmla="*/ 137 w 244"/>
                    <a:gd name="T3" fmla="*/ 0 h 237"/>
                    <a:gd name="T4" fmla="*/ 128 w 244"/>
                    <a:gd name="T5" fmla="*/ 9 h 237"/>
                    <a:gd name="T6" fmla="*/ 103 w 244"/>
                    <a:gd name="T7" fmla="*/ 9 h 237"/>
                    <a:gd name="T8" fmla="*/ 97 w 244"/>
                    <a:gd name="T9" fmla="*/ 0 h 237"/>
                    <a:gd name="T10" fmla="*/ 88 w 244"/>
                    <a:gd name="T11" fmla="*/ 0 h 237"/>
                    <a:gd name="T12" fmla="*/ 80 w 244"/>
                    <a:gd name="T13" fmla="*/ 16 h 237"/>
                    <a:gd name="T14" fmla="*/ 63 w 244"/>
                    <a:gd name="T15" fmla="*/ 74 h 237"/>
                    <a:gd name="T16" fmla="*/ 47 w 244"/>
                    <a:gd name="T17" fmla="*/ 90 h 237"/>
                    <a:gd name="T18" fmla="*/ 40 w 244"/>
                    <a:gd name="T19" fmla="*/ 114 h 237"/>
                    <a:gd name="T20" fmla="*/ 23 w 244"/>
                    <a:gd name="T21" fmla="*/ 122 h 237"/>
                    <a:gd name="T22" fmla="*/ 7 w 244"/>
                    <a:gd name="T23" fmla="*/ 122 h 237"/>
                    <a:gd name="T24" fmla="*/ 0 w 244"/>
                    <a:gd name="T25" fmla="*/ 137 h 237"/>
                    <a:gd name="T26" fmla="*/ 0 w 244"/>
                    <a:gd name="T27" fmla="*/ 146 h 237"/>
                    <a:gd name="T28" fmla="*/ 15 w 244"/>
                    <a:gd name="T29" fmla="*/ 137 h 237"/>
                    <a:gd name="T30" fmla="*/ 47 w 244"/>
                    <a:gd name="T31" fmla="*/ 137 h 237"/>
                    <a:gd name="T32" fmla="*/ 57 w 244"/>
                    <a:gd name="T33" fmla="*/ 137 h 237"/>
                    <a:gd name="T34" fmla="*/ 57 w 244"/>
                    <a:gd name="T35" fmla="*/ 154 h 237"/>
                    <a:gd name="T36" fmla="*/ 72 w 244"/>
                    <a:gd name="T37" fmla="*/ 171 h 237"/>
                    <a:gd name="T38" fmla="*/ 88 w 244"/>
                    <a:gd name="T39" fmla="*/ 162 h 237"/>
                    <a:gd name="T40" fmla="*/ 88 w 244"/>
                    <a:gd name="T41" fmla="*/ 154 h 237"/>
                    <a:gd name="T42" fmla="*/ 103 w 244"/>
                    <a:gd name="T43" fmla="*/ 154 h 237"/>
                    <a:gd name="T44" fmla="*/ 121 w 244"/>
                    <a:gd name="T45" fmla="*/ 162 h 237"/>
                    <a:gd name="T46" fmla="*/ 121 w 244"/>
                    <a:gd name="T47" fmla="*/ 187 h 237"/>
                    <a:gd name="T48" fmla="*/ 128 w 244"/>
                    <a:gd name="T49" fmla="*/ 196 h 237"/>
                    <a:gd name="T50" fmla="*/ 121 w 244"/>
                    <a:gd name="T51" fmla="*/ 202 h 237"/>
                    <a:gd name="T52" fmla="*/ 121 w 244"/>
                    <a:gd name="T53" fmla="*/ 211 h 237"/>
                    <a:gd name="T54" fmla="*/ 144 w 244"/>
                    <a:gd name="T55" fmla="*/ 202 h 237"/>
                    <a:gd name="T56" fmla="*/ 177 w 244"/>
                    <a:gd name="T57" fmla="*/ 219 h 237"/>
                    <a:gd name="T58" fmla="*/ 186 w 244"/>
                    <a:gd name="T59" fmla="*/ 211 h 237"/>
                    <a:gd name="T60" fmla="*/ 209 w 244"/>
                    <a:gd name="T61" fmla="*/ 227 h 237"/>
                    <a:gd name="T62" fmla="*/ 218 w 244"/>
                    <a:gd name="T63" fmla="*/ 236 h 237"/>
                    <a:gd name="T64" fmla="*/ 218 w 244"/>
                    <a:gd name="T65" fmla="*/ 219 h 237"/>
                    <a:gd name="T66" fmla="*/ 209 w 244"/>
                    <a:gd name="T67" fmla="*/ 219 h 237"/>
                    <a:gd name="T68" fmla="*/ 209 w 244"/>
                    <a:gd name="T69" fmla="*/ 211 h 237"/>
                    <a:gd name="T70" fmla="*/ 209 w 244"/>
                    <a:gd name="T71" fmla="*/ 177 h 237"/>
                    <a:gd name="T72" fmla="*/ 209 w 244"/>
                    <a:gd name="T73" fmla="*/ 171 h 237"/>
                    <a:gd name="T74" fmla="*/ 234 w 244"/>
                    <a:gd name="T75" fmla="*/ 171 h 237"/>
                    <a:gd name="T76" fmla="*/ 218 w 244"/>
                    <a:gd name="T77" fmla="*/ 146 h 237"/>
                    <a:gd name="T78" fmla="*/ 218 w 244"/>
                    <a:gd name="T79" fmla="*/ 122 h 237"/>
                    <a:gd name="T80" fmla="*/ 218 w 244"/>
                    <a:gd name="T81" fmla="*/ 106 h 237"/>
                    <a:gd name="T82" fmla="*/ 218 w 244"/>
                    <a:gd name="T83" fmla="*/ 97 h 237"/>
                    <a:gd name="T84" fmla="*/ 209 w 244"/>
                    <a:gd name="T85" fmla="*/ 97 h 237"/>
                    <a:gd name="T86" fmla="*/ 218 w 244"/>
                    <a:gd name="T87" fmla="*/ 81 h 237"/>
                    <a:gd name="T88" fmla="*/ 227 w 244"/>
                    <a:gd name="T89" fmla="*/ 57 h 237"/>
                    <a:gd name="T90" fmla="*/ 234 w 244"/>
                    <a:gd name="T91" fmla="*/ 49 h 237"/>
                    <a:gd name="T92" fmla="*/ 243 w 244"/>
                    <a:gd name="T93" fmla="*/ 34 h 237"/>
                    <a:gd name="T94" fmla="*/ 234 w 244"/>
                    <a:gd name="T95" fmla="*/ 34 h 237"/>
                    <a:gd name="T96" fmla="*/ 234 w 244"/>
                    <a:gd name="T97" fmla="*/ 16 h 237"/>
                    <a:gd name="T98" fmla="*/ 227 w 244"/>
                    <a:gd name="T99" fmla="*/ 9 h 237"/>
                    <a:gd name="T100" fmla="*/ 202 w 244"/>
                    <a:gd name="T101" fmla="*/ 9 h 237"/>
                    <a:gd name="T102" fmla="*/ 194 w 244"/>
                    <a:gd name="T103"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0" name="Freeform 32">
                  <a:extLst>
                    <a:ext uri="{FF2B5EF4-FFF2-40B4-BE49-F238E27FC236}">
                      <a16:creationId xmlns:a16="http://schemas.microsoft.com/office/drawing/2014/main" id="{8960A15F-E0AD-B034-5FAC-6FAE1008B718}"/>
                    </a:ext>
                  </a:extLst>
                </p:cNvPr>
                <p:cNvSpPr>
                  <a:spLocks/>
                </p:cNvSpPr>
                <p:nvPr/>
              </p:nvSpPr>
              <p:spPr bwMode="gray">
                <a:xfrm>
                  <a:off x="5246260" y="5206693"/>
                  <a:ext cx="236840" cy="184947"/>
                </a:xfrm>
                <a:custGeom>
                  <a:avLst/>
                  <a:gdLst>
                    <a:gd name="T0" fmla="*/ 23 w 154"/>
                    <a:gd name="T1" fmla="*/ 31 h 122"/>
                    <a:gd name="T2" fmla="*/ 56 w 154"/>
                    <a:gd name="T3" fmla="*/ 48 h 122"/>
                    <a:gd name="T4" fmla="*/ 65 w 154"/>
                    <a:gd name="T5" fmla="*/ 40 h 122"/>
                    <a:gd name="T6" fmla="*/ 88 w 154"/>
                    <a:gd name="T7" fmla="*/ 56 h 122"/>
                    <a:gd name="T8" fmla="*/ 97 w 154"/>
                    <a:gd name="T9" fmla="*/ 65 h 122"/>
                    <a:gd name="T10" fmla="*/ 97 w 154"/>
                    <a:gd name="T11" fmla="*/ 48 h 122"/>
                    <a:gd name="T12" fmla="*/ 88 w 154"/>
                    <a:gd name="T13" fmla="*/ 48 h 122"/>
                    <a:gd name="T14" fmla="*/ 88 w 154"/>
                    <a:gd name="T15" fmla="*/ 40 h 122"/>
                    <a:gd name="T16" fmla="*/ 88 w 154"/>
                    <a:gd name="T17" fmla="*/ 6 h 122"/>
                    <a:gd name="T18" fmla="*/ 88 w 154"/>
                    <a:gd name="T19" fmla="*/ 0 h 122"/>
                    <a:gd name="T20" fmla="*/ 113 w 154"/>
                    <a:gd name="T21" fmla="*/ 0 h 122"/>
                    <a:gd name="T22" fmla="*/ 122 w 154"/>
                    <a:gd name="T23" fmla="*/ 0 h 122"/>
                    <a:gd name="T24" fmla="*/ 146 w 154"/>
                    <a:gd name="T25" fmla="*/ 16 h 122"/>
                    <a:gd name="T26" fmla="*/ 153 w 154"/>
                    <a:gd name="T27" fmla="*/ 31 h 122"/>
                    <a:gd name="T28" fmla="*/ 146 w 154"/>
                    <a:gd name="T29" fmla="*/ 40 h 122"/>
                    <a:gd name="T30" fmla="*/ 146 w 154"/>
                    <a:gd name="T31" fmla="*/ 48 h 122"/>
                    <a:gd name="T32" fmla="*/ 138 w 154"/>
                    <a:gd name="T33" fmla="*/ 65 h 122"/>
                    <a:gd name="T34" fmla="*/ 146 w 154"/>
                    <a:gd name="T35" fmla="*/ 72 h 122"/>
                    <a:gd name="T36" fmla="*/ 106 w 154"/>
                    <a:gd name="T37" fmla="*/ 88 h 122"/>
                    <a:gd name="T38" fmla="*/ 106 w 154"/>
                    <a:gd name="T39" fmla="*/ 97 h 122"/>
                    <a:gd name="T40" fmla="*/ 88 w 154"/>
                    <a:gd name="T41" fmla="*/ 97 h 122"/>
                    <a:gd name="T42" fmla="*/ 88 w 154"/>
                    <a:gd name="T43" fmla="*/ 105 h 122"/>
                    <a:gd name="T44" fmla="*/ 65 w 154"/>
                    <a:gd name="T45" fmla="*/ 121 h 122"/>
                    <a:gd name="T46" fmla="*/ 41 w 154"/>
                    <a:gd name="T47" fmla="*/ 121 h 122"/>
                    <a:gd name="T48" fmla="*/ 23 w 154"/>
                    <a:gd name="T49" fmla="*/ 112 h 122"/>
                    <a:gd name="T50" fmla="*/ 16 w 154"/>
                    <a:gd name="T51" fmla="*/ 121 h 122"/>
                    <a:gd name="T52" fmla="*/ 0 w 154"/>
                    <a:gd name="T53" fmla="*/ 105 h 122"/>
                    <a:gd name="T54" fmla="*/ 0 w 154"/>
                    <a:gd name="T55" fmla="*/ 65 h 122"/>
                    <a:gd name="T56" fmla="*/ 31 w 154"/>
                    <a:gd name="T57" fmla="*/ 56 h 122"/>
                    <a:gd name="T58" fmla="*/ 23 w 154"/>
                    <a:gd name="T59" fmla="*/ 3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1" name="Freeform 33">
                  <a:extLst>
                    <a:ext uri="{FF2B5EF4-FFF2-40B4-BE49-F238E27FC236}">
                      <a16:creationId xmlns:a16="http://schemas.microsoft.com/office/drawing/2014/main" id="{8DD6401A-C4AE-E296-C9B7-D7FA647DA098}"/>
                    </a:ext>
                  </a:extLst>
                </p:cNvPr>
                <p:cNvSpPr>
                  <a:spLocks/>
                </p:cNvSpPr>
                <p:nvPr/>
              </p:nvSpPr>
              <p:spPr bwMode="gray">
                <a:xfrm>
                  <a:off x="5458643" y="5230762"/>
                  <a:ext cx="63072" cy="146944"/>
                </a:xfrm>
                <a:custGeom>
                  <a:avLst/>
                  <a:gdLst>
                    <a:gd name="T0" fmla="*/ 8 w 41"/>
                    <a:gd name="T1" fmla="*/ 56 h 97"/>
                    <a:gd name="T2" fmla="*/ 0 w 41"/>
                    <a:gd name="T3" fmla="*/ 49 h 97"/>
                    <a:gd name="T4" fmla="*/ 8 w 41"/>
                    <a:gd name="T5" fmla="*/ 32 h 97"/>
                    <a:gd name="T6" fmla="*/ 8 w 41"/>
                    <a:gd name="T7" fmla="*/ 24 h 97"/>
                    <a:gd name="T8" fmla="*/ 15 w 41"/>
                    <a:gd name="T9" fmla="*/ 15 h 97"/>
                    <a:gd name="T10" fmla="*/ 8 w 41"/>
                    <a:gd name="T11" fmla="*/ 0 h 97"/>
                    <a:gd name="T12" fmla="*/ 15 w 41"/>
                    <a:gd name="T13" fmla="*/ 0 h 97"/>
                    <a:gd name="T14" fmla="*/ 24 w 41"/>
                    <a:gd name="T15" fmla="*/ 0 h 97"/>
                    <a:gd name="T16" fmla="*/ 32 w 41"/>
                    <a:gd name="T17" fmla="*/ 24 h 97"/>
                    <a:gd name="T18" fmla="*/ 24 w 41"/>
                    <a:gd name="T19" fmla="*/ 32 h 97"/>
                    <a:gd name="T20" fmla="*/ 32 w 41"/>
                    <a:gd name="T21" fmla="*/ 49 h 97"/>
                    <a:gd name="T22" fmla="*/ 40 w 41"/>
                    <a:gd name="T23" fmla="*/ 64 h 97"/>
                    <a:gd name="T24" fmla="*/ 40 w 41"/>
                    <a:gd name="T25" fmla="*/ 81 h 97"/>
                    <a:gd name="T26" fmla="*/ 32 w 41"/>
                    <a:gd name="T27" fmla="*/ 96 h 97"/>
                    <a:gd name="T28" fmla="*/ 24 w 41"/>
                    <a:gd name="T29" fmla="*/ 81 h 97"/>
                    <a:gd name="T30" fmla="*/ 24 w 41"/>
                    <a:gd name="T31" fmla="*/ 64 h 97"/>
                    <a:gd name="T32" fmla="*/ 15 w 41"/>
                    <a:gd name="T33" fmla="*/ 64 h 97"/>
                    <a:gd name="T34" fmla="*/ 8 w 41"/>
                    <a:gd name="T35" fmla="*/ 5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2" name="Freeform 34">
                  <a:extLst>
                    <a:ext uri="{FF2B5EF4-FFF2-40B4-BE49-F238E27FC236}">
                      <a16:creationId xmlns:a16="http://schemas.microsoft.com/office/drawing/2014/main" id="{A02A36B3-0BED-79F2-4B02-7C4B946BD63F}"/>
                    </a:ext>
                  </a:extLst>
                </p:cNvPr>
                <p:cNvSpPr>
                  <a:spLocks/>
                </p:cNvSpPr>
                <p:nvPr/>
              </p:nvSpPr>
              <p:spPr bwMode="gray">
                <a:xfrm>
                  <a:off x="5071204" y="4763328"/>
                  <a:ext cx="52774" cy="39270"/>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0" y="10"/>
                      </a:moveTo>
                      <a:lnTo>
                        <a:pt x="16" y="25"/>
                      </a:lnTo>
                      <a:lnTo>
                        <a:pt x="25" y="17"/>
                      </a:lnTo>
                      <a:lnTo>
                        <a:pt x="33" y="17"/>
                      </a:lnTo>
                      <a:lnTo>
                        <a:pt x="16" y="10"/>
                      </a:lnTo>
                      <a:lnTo>
                        <a:pt x="8" y="0"/>
                      </a:lnTo>
                      <a:lnTo>
                        <a:pt x="0" y="1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3" name="Freeform 35">
                  <a:extLst>
                    <a:ext uri="{FF2B5EF4-FFF2-40B4-BE49-F238E27FC236}">
                      <a16:creationId xmlns:a16="http://schemas.microsoft.com/office/drawing/2014/main" id="{F2A254A2-6751-1594-213A-3A904EBD563D}"/>
                    </a:ext>
                  </a:extLst>
                </p:cNvPr>
                <p:cNvSpPr>
                  <a:spLocks/>
                </p:cNvSpPr>
                <p:nvPr/>
              </p:nvSpPr>
              <p:spPr bwMode="gray">
                <a:xfrm>
                  <a:off x="5071204" y="4763328"/>
                  <a:ext cx="52774" cy="39270"/>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0" y="10"/>
                      </a:moveTo>
                      <a:lnTo>
                        <a:pt x="16" y="25"/>
                      </a:lnTo>
                      <a:lnTo>
                        <a:pt x="25" y="17"/>
                      </a:lnTo>
                      <a:lnTo>
                        <a:pt x="33" y="17"/>
                      </a:lnTo>
                      <a:lnTo>
                        <a:pt x="16" y="10"/>
                      </a:lnTo>
                      <a:lnTo>
                        <a:pt x="8" y="0"/>
                      </a:lnTo>
                      <a:lnTo>
                        <a:pt x="0" y="1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4" name="Freeform 135">
                  <a:extLst>
                    <a:ext uri="{FF2B5EF4-FFF2-40B4-BE49-F238E27FC236}">
                      <a16:creationId xmlns:a16="http://schemas.microsoft.com/office/drawing/2014/main" id="{FD3E4AFE-A8F1-596D-CA2C-16D896F77534}"/>
                    </a:ext>
                  </a:extLst>
                </p:cNvPr>
                <p:cNvSpPr>
                  <a:spLocks/>
                </p:cNvSpPr>
                <p:nvPr/>
              </p:nvSpPr>
              <p:spPr bwMode="gray">
                <a:xfrm>
                  <a:off x="5507555" y="4273092"/>
                  <a:ext cx="151887" cy="111475"/>
                </a:xfrm>
                <a:custGeom>
                  <a:avLst/>
                  <a:gdLst>
                    <a:gd name="T0" fmla="*/ 0 w 98"/>
                    <a:gd name="T1" fmla="*/ 72 h 73"/>
                    <a:gd name="T2" fmla="*/ 8 w 98"/>
                    <a:gd name="T3" fmla="*/ 66 h 73"/>
                    <a:gd name="T4" fmla="*/ 17 w 98"/>
                    <a:gd name="T5" fmla="*/ 49 h 73"/>
                    <a:gd name="T6" fmla="*/ 8 w 98"/>
                    <a:gd name="T7" fmla="*/ 41 h 73"/>
                    <a:gd name="T8" fmla="*/ 8 w 98"/>
                    <a:gd name="T9" fmla="*/ 16 h 73"/>
                    <a:gd name="T10" fmla="*/ 17 w 98"/>
                    <a:gd name="T11" fmla="*/ 16 h 73"/>
                    <a:gd name="T12" fmla="*/ 17 w 98"/>
                    <a:gd name="T13" fmla="*/ 9 h 73"/>
                    <a:gd name="T14" fmla="*/ 42 w 98"/>
                    <a:gd name="T15" fmla="*/ 0 h 73"/>
                    <a:gd name="T16" fmla="*/ 48 w 98"/>
                    <a:gd name="T17" fmla="*/ 9 h 73"/>
                    <a:gd name="T18" fmla="*/ 73 w 98"/>
                    <a:gd name="T19" fmla="*/ 0 h 73"/>
                    <a:gd name="T20" fmla="*/ 97 w 98"/>
                    <a:gd name="T21" fmla="*/ 0 h 73"/>
                    <a:gd name="T22" fmla="*/ 82 w 98"/>
                    <a:gd name="T23" fmla="*/ 9 h 73"/>
                    <a:gd name="T24" fmla="*/ 73 w 98"/>
                    <a:gd name="T25" fmla="*/ 41 h 73"/>
                    <a:gd name="T26" fmla="*/ 48 w 98"/>
                    <a:gd name="T27" fmla="*/ 56 h 73"/>
                    <a:gd name="T28" fmla="*/ 42 w 98"/>
                    <a:gd name="T29" fmla="*/ 56 h 73"/>
                    <a:gd name="T30" fmla="*/ 17 w 98"/>
                    <a:gd name="T31" fmla="*/ 72 h 73"/>
                    <a:gd name="T32" fmla="*/ 0 w 98"/>
                    <a:gd name="T33"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5" name="Freeform 136">
                  <a:extLst>
                    <a:ext uri="{FF2B5EF4-FFF2-40B4-BE49-F238E27FC236}">
                      <a16:creationId xmlns:a16="http://schemas.microsoft.com/office/drawing/2014/main" id="{56FA7D16-7EFD-9277-C59C-C7AF4925FE55}"/>
                    </a:ext>
                  </a:extLst>
                </p:cNvPr>
                <p:cNvSpPr>
                  <a:spLocks/>
                </p:cNvSpPr>
                <p:nvPr/>
              </p:nvSpPr>
              <p:spPr bwMode="gray">
                <a:xfrm>
                  <a:off x="5495971" y="4357965"/>
                  <a:ext cx="87528" cy="100074"/>
                </a:xfrm>
                <a:custGeom>
                  <a:avLst/>
                  <a:gdLst>
                    <a:gd name="T0" fmla="*/ 56 w 57"/>
                    <a:gd name="T1" fmla="*/ 16 h 66"/>
                    <a:gd name="T2" fmla="*/ 56 w 57"/>
                    <a:gd name="T3" fmla="*/ 0 h 66"/>
                    <a:gd name="T4" fmla="*/ 50 w 57"/>
                    <a:gd name="T5" fmla="*/ 0 h 66"/>
                    <a:gd name="T6" fmla="*/ 25 w 57"/>
                    <a:gd name="T7" fmla="*/ 16 h 66"/>
                    <a:gd name="T8" fmla="*/ 8 w 57"/>
                    <a:gd name="T9" fmla="*/ 16 h 66"/>
                    <a:gd name="T10" fmla="*/ 8 w 57"/>
                    <a:gd name="T11" fmla="*/ 25 h 66"/>
                    <a:gd name="T12" fmla="*/ 8 w 57"/>
                    <a:gd name="T13" fmla="*/ 41 h 66"/>
                    <a:gd name="T14" fmla="*/ 0 w 57"/>
                    <a:gd name="T15" fmla="*/ 65 h 66"/>
                    <a:gd name="T16" fmla="*/ 16 w 57"/>
                    <a:gd name="T17" fmla="*/ 65 h 66"/>
                    <a:gd name="T18" fmla="*/ 25 w 57"/>
                    <a:gd name="T19" fmla="*/ 57 h 66"/>
                    <a:gd name="T20" fmla="*/ 31 w 57"/>
                    <a:gd name="T21" fmla="*/ 57 h 66"/>
                    <a:gd name="T22" fmla="*/ 41 w 57"/>
                    <a:gd name="T23" fmla="*/ 41 h 66"/>
                    <a:gd name="T24" fmla="*/ 31 w 57"/>
                    <a:gd name="T25" fmla="*/ 34 h 66"/>
                    <a:gd name="T26" fmla="*/ 56 w 57"/>
                    <a:gd name="T2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6" name="Freeform 137">
                  <a:extLst>
                    <a:ext uri="{FF2B5EF4-FFF2-40B4-BE49-F238E27FC236}">
                      <a16:creationId xmlns:a16="http://schemas.microsoft.com/office/drawing/2014/main" id="{73F9A6B7-7C8A-0086-71EC-6F2AEC42AA3C}"/>
                    </a:ext>
                  </a:extLst>
                </p:cNvPr>
                <p:cNvSpPr>
                  <a:spLocks/>
                </p:cNvSpPr>
                <p:nvPr/>
              </p:nvSpPr>
              <p:spPr bwMode="gray">
                <a:xfrm>
                  <a:off x="5507555" y="4335163"/>
                  <a:ext cx="28318" cy="40536"/>
                </a:xfrm>
                <a:custGeom>
                  <a:avLst/>
                  <a:gdLst>
                    <a:gd name="T0" fmla="*/ 8 w 18"/>
                    <a:gd name="T1" fmla="*/ 25 h 26"/>
                    <a:gd name="T2" fmla="*/ 0 w 18"/>
                    <a:gd name="T3" fmla="*/ 25 h 26"/>
                    <a:gd name="T4" fmla="*/ 8 w 18"/>
                    <a:gd name="T5" fmla="*/ 0 h 26"/>
                    <a:gd name="T6" fmla="*/ 17 w 18"/>
                    <a:gd name="T7" fmla="*/ 8 h 26"/>
                    <a:gd name="T8" fmla="*/ 8 w 18"/>
                    <a:gd name="T9" fmla="*/ 25 h 26"/>
                  </a:gdLst>
                  <a:ahLst/>
                  <a:cxnLst>
                    <a:cxn ang="0">
                      <a:pos x="T0" y="T1"/>
                    </a:cxn>
                    <a:cxn ang="0">
                      <a:pos x="T2" y="T3"/>
                    </a:cxn>
                    <a:cxn ang="0">
                      <a:pos x="T4" y="T5"/>
                    </a:cxn>
                    <a:cxn ang="0">
                      <a:pos x="T6" y="T7"/>
                    </a:cxn>
                    <a:cxn ang="0">
                      <a:pos x="T8" y="T9"/>
                    </a:cxn>
                  </a:cxnLst>
                  <a:rect l="0" t="0" r="r" b="b"/>
                  <a:pathLst>
                    <a:path w="18" h="26">
                      <a:moveTo>
                        <a:pt x="8" y="25"/>
                      </a:moveTo>
                      <a:lnTo>
                        <a:pt x="0" y="25"/>
                      </a:lnTo>
                      <a:lnTo>
                        <a:pt x="8" y="0"/>
                      </a:lnTo>
                      <a:lnTo>
                        <a:pt x="17" y="8"/>
                      </a:lnTo>
                      <a:lnTo>
                        <a:pt x="8"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7" name="Freeform 138">
                  <a:extLst>
                    <a:ext uri="{FF2B5EF4-FFF2-40B4-BE49-F238E27FC236}">
                      <a16:creationId xmlns:a16="http://schemas.microsoft.com/office/drawing/2014/main" id="{1A7F9C82-2EEF-0D04-F1AF-7F7D65BE19E8}"/>
                    </a:ext>
                  </a:extLst>
                </p:cNvPr>
                <p:cNvSpPr>
                  <a:spLocks/>
                </p:cNvSpPr>
                <p:nvPr/>
              </p:nvSpPr>
              <p:spPr bwMode="gray">
                <a:xfrm>
                  <a:off x="5507555" y="4335163"/>
                  <a:ext cx="28318" cy="40536"/>
                </a:xfrm>
                <a:custGeom>
                  <a:avLst/>
                  <a:gdLst>
                    <a:gd name="T0" fmla="*/ 8 w 18"/>
                    <a:gd name="T1" fmla="*/ 25 h 26"/>
                    <a:gd name="T2" fmla="*/ 0 w 18"/>
                    <a:gd name="T3" fmla="*/ 25 h 26"/>
                    <a:gd name="T4" fmla="*/ 8 w 18"/>
                    <a:gd name="T5" fmla="*/ 0 h 26"/>
                    <a:gd name="T6" fmla="*/ 17 w 18"/>
                    <a:gd name="T7" fmla="*/ 8 h 26"/>
                    <a:gd name="T8" fmla="*/ 8 w 18"/>
                    <a:gd name="T9" fmla="*/ 25 h 26"/>
                  </a:gdLst>
                  <a:ahLst/>
                  <a:cxnLst>
                    <a:cxn ang="0">
                      <a:pos x="T0" y="T1"/>
                    </a:cxn>
                    <a:cxn ang="0">
                      <a:pos x="T2" y="T3"/>
                    </a:cxn>
                    <a:cxn ang="0">
                      <a:pos x="T4" y="T5"/>
                    </a:cxn>
                    <a:cxn ang="0">
                      <a:pos x="T6" y="T7"/>
                    </a:cxn>
                    <a:cxn ang="0">
                      <a:pos x="T8" y="T9"/>
                    </a:cxn>
                  </a:cxnLst>
                  <a:rect l="0" t="0" r="r" b="b"/>
                  <a:pathLst>
                    <a:path w="18" h="26">
                      <a:moveTo>
                        <a:pt x="8" y="25"/>
                      </a:moveTo>
                      <a:lnTo>
                        <a:pt x="0" y="25"/>
                      </a:lnTo>
                      <a:lnTo>
                        <a:pt x="8" y="0"/>
                      </a:lnTo>
                      <a:lnTo>
                        <a:pt x="17" y="8"/>
                      </a:lnTo>
                      <a:lnTo>
                        <a:pt x="8" y="2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8" name="Freeform 139">
                  <a:extLst>
                    <a:ext uri="{FF2B5EF4-FFF2-40B4-BE49-F238E27FC236}">
                      <a16:creationId xmlns:a16="http://schemas.microsoft.com/office/drawing/2014/main" id="{C7239C47-2324-4793-EB19-BF84BA0A9068}"/>
                    </a:ext>
                  </a:extLst>
                </p:cNvPr>
                <p:cNvSpPr>
                  <a:spLocks/>
                </p:cNvSpPr>
                <p:nvPr/>
              </p:nvSpPr>
              <p:spPr bwMode="gray">
                <a:xfrm>
                  <a:off x="5481812" y="4373166"/>
                  <a:ext cx="39902" cy="84873"/>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79" name="Freeform 140">
                  <a:extLst>
                    <a:ext uri="{FF2B5EF4-FFF2-40B4-BE49-F238E27FC236}">
                      <a16:creationId xmlns:a16="http://schemas.microsoft.com/office/drawing/2014/main" id="{3C462024-65E8-C10B-F50C-1E6428E55E80}"/>
                    </a:ext>
                  </a:extLst>
                </p:cNvPr>
                <p:cNvSpPr>
                  <a:spLocks/>
                </p:cNvSpPr>
                <p:nvPr/>
              </p:nvSpPr>
              <p:spPr bwMode="gray">
                <a:xfrm>
                  <a:off x="5481812" y="4373166"/>
                  <a:ext cx="39902" cy="84873"/>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0" name="Freeform 142">
                  <a:extLst>
                    <a:ext uri="{FF2B5EF4-FFF2-40B4-BE49-F238E27FC236}">
                      <a16:creationId xmlns:a16="http://schemas.microsoft.com/office/drawing/2014/main" id="{B6A43BC4-B4B3-AE35-8482-D628AFA3D7E9}"/>
                    </a:ext>
                  </a:extLst>
                </p:cNvPr>
                <p:cNvSpPr>
                  <a:spLocks/>
                </p:cNvSpPr>
                <p:nvPr/>
              </p:nvSpPr>
              <p:spPr bwMode="gray">
                <a:xfrm>
                  <a:off x="5695483" y="4445371"/>
                  <a:ext cx="37328" cy="25335"/>
                </a:xfrm>
                <a:custGeom>
                  <a:avLst/>
                  <a:gdLst>
                    <a:gd name="T0" fmla="*/ 0 w 24"/>
                    <a:gd name="T1" fmla="*/ 8 h 17"/>
                    <a:gd name="T2" fmla="*/ 7 w 24"/>
                    <a:gd name="T3" fmla="*/ 0 h 17"/>
                    <a:gd name="T4" fmla="*/ 23 w 24"/>
                    <a:gd name="T5" fmla="*/ 8 h 17"/>
                    <a:gd name="T6" fmla="*/ 7 w 24"/>
                    <a:gd name="T7" fmla="*/ 16 h 17"/>
                    <a:gd name="T8" fmla="*/ 0 w 24"/>
                    <a:gd name="T9" fmla="*/ 8 h 17"/>
                  </a:gdLst>
                  <a:ahLst/>
                  <a:cxnLst>
                    <a:cxn ang="0">
                      <a:pos x="T0" y="T1"/>
                    </a:cxn>
                    <a:cxn ang="0">
                      <a:pos x="T2" y="T3"/>
                    </a:cxn>
                    <a:cxn ang="0">
                      <a:pos x="T4" y="T5"/>
                    </a:cxn>
                    <a:cxn ang="0">
                      <a:pos x="T6" y="T7"/>
                    </a:cxn>
                    <a:cxn ang="0">
                      <a:pos x="T8" y="T9"/>
                    </a:cxn>
                  </a:cxnLst>
                  <a:rect l="0" t="0" r="r" b="b"/>
                  <a:pathLst>
                    <a:path w="24" h="17">
                      <a:moveTo>
                        <a:pt x="0" y="8"/>
                      </a:moveTo>
                      <a:lnTo>
                        <a:pt x="7" y="0"/>
                      </a:lnTo>
                      <a:lnTo>
                        <a:pt x="23" y="8"/>
                      </a:lnTo>
                      <a:lnTo>
                        <a:pt x="7" y="16"/>
                      </a:lnTo>
                      <a:lnTo>
                        <a:pt x="0"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1" name="Freeform 143">
                  <a:extLst>
                    <a:ext uri="{FF2B5EF4-FFF2-40B4-BE49-F238E27FC236}">
                      <a16:creationId xmlns:a16="http://schemas.microsoft.com/office/drawing/2014/main" id="{DF44A39F-788D-8784-6E11-A2241821079E}"/>
                    </a:ext>
                  </a:extLst>
                </p:cNvPr>
                <p:cNvSpPr>
                  <a:spLocks/>
                </p:cNvSpPr>
                <p:nvPr/>
              </p:nvSpPr>
              <p:spPr bwMode="gray">
                <a:xfrm>
                  <a:off x="5695483" y="4445371"/>
                  <a:ext cx="37328" cy="25335"/>
                </a:xfrm>
                <a:custGeom>
                  <a:avLst/>
                  <a:gdLst>
                    <a:gd name="T0" fmla="*/ 0 w 24"/>
                    <a:gd name="T1" fmla="*/ 8 h 17"/>
                    <a:gd name="T2" fmla="*/ 7 w 24"/>
                    <a:gd name="T3" fmla="*/ 0 h 17"/>
                    <a:gd name="T4" fmla="*/ 23 w 24"/>
                    <a:gd name="T5" fmla="*/ 8 h 17"/>
                    <a:gd name="T6" fmla="*/ 7 w 24"/>
                    <a:gd name="T7" fmla="*/ 16 h 17"/>
                    <a:gd name="T8" fmla="*/ 0 w 24"/>
                    <a:gd name="T9" fmla="*/ 8 h 17"/>
                  </a:gdLst>
                  <a:ahLst/>
                  <a:cxnLst>
                    <a:cxn ang="0">
                      <a:pos x="T0" y="T1"/>
                    </a:cxn>
                    <a:cxn ang="0">
                      <a:pos x="T2" y="T3"/>
                    </a:cxn>
                    <a:cxn ang="0">
                      <a:pos x="T4" y="T5"/>
                    </a:cxn>
                    <a:cxn ang="0">
                      <a:pos x="T6" y="T7"/>
                    </a:cxn>
                    <a:cxn ang="0">
                      <a:pos x="T8" y="T9"/>
                    </a:cxn>
                  </a:cxnLst>
                  <a:rect l="0" t="0" r="r" b="b"/>
                  <a:pathLst>
                    <a:path w="24" h="17">
                      <a:moveTo>
                        <a:pt x="0" y="8"/>
                      </a:moveTo>
                      <a:lnTo>
                        <a:pt x="7" y="0"/>
                      </a:lnTo>
                      <a:lnTo>
                        <a:pt x="23" y="8"/>
                      </a:lnTo>
                      <a:lnTo>
                        <a:pt x="7" y="16"/>
                      </a:lnTo>
                      <a:lnTo>
                        <a:pt x="0"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2" name="Freeform 144">
                  <a:extLst>
                    <a:ext uri="{FF2B5EF4-FFF2-40B4-BE49-F238E27FC236}">
                      <a16:creationId xmlns:a16="http://schemas.microsoft.com/office/drawing/2014/main" id="{A81FFEA2-DC65-8BE8-6719-B68A5DE1BAEA}"/>
                    </a:ext>
                  </a:extLst>
                </p:cNvPr>
                <p:cNvSpPr>
                  <a:spLocks/>
                </p:cNvSpPr>
                <p:nvPr/>
              </p:nvSpPr>
              <p:spPr bwMode="gray">
                <a:xfrm>
                  <a:off x="5731524" y="4445371"/>
                  <a:ext cx="39902" cy="25335"/>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Lst>
                  <a:ahLst/>
                  <a:cxnLst>
                    <a:cxn ang="0">
                      <a:pos x="T0" y="T1"/>
                    </a:cxn>
                    <a:cxn ang="0">
                      <a:pos x="T2" y="T3"/>
                    </a:cxn>
                    <a:cxn ang="0">
                      <a:pos x="T4" y="T5"/>
                    </a:cxn>
                    <a:cxn ang="0">
                      <a:pos x="T6" y="T7"/>
                    </a:cxn>
                    <a:cxn ang="0">
                      <a:pos x="T8" y="T9"/>
                    </a:cxn>
                    <a:cxn ang="0">
                      <a:pos x="T10" y="T11"/>
                    </a:cxn>
                  </a:cxnLst>
                  <a:rect l="0" t="0" r="r" b="b"/>
                  <a:pathLst>
                    <a:path w="26" h="17">
                      <a:moveTo>
                        <a:pt x="0" y="8"/>
                      </a:moveTo>
                      <a:lnTo>
                        <a:pt x="9" y="0"/>
                      </a:lnTo>
                      <a:lnTo>
                        <a:pt x="25" y="0"/>
                      </a:lnTo>
                      <a:lnTo>
                        <a:pt x="17" y="8"/>
                      </a:lnTo>
                      <a:lnTo>
                        <a:pt x="25" y="16"/>
                      </a:lnTo>
                      <a:lnTo>
                        <a:pt x="0"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3" name="Freeform 145">
                  <a:extLst>
                    <a:ext uri="{FF2B5EF4-FFF2-40B4-BE49-F238E27FC236}">
                      <a16:creationId xmlns:a16="http://schemas.microsoft.com/office/drawing/2014/main" id="{5635A712-BD64-4FD5-D830-66C9F02F3105}"/>
                    </a:ext>
                  </a:extLst>
                </p:cNvPr>
                <p:cNvSpPr>
                  <a:spLocks/>
                </p:cNvSpPr>
                <p:nvPr/>
              </p:nvSpPr>
              <p:spPr bwMode="gray">
                <a:xfrm>
                  <a:off x="5731524" y="4445371"/>
                  <a:ext cx="39902" cy="25335"/>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Lst>
                  <a:ahLst/>
                  <a:cxnLst>
                    <a:cxn ang="0">
                      <a:pos x="T0" y="T1"/>
                    </a:cxn>
                    <a:cxn ang="0">
                      <a:pos x="T2" y="T3"/>
                    </a:cxn>
                    <a:cxn ang="0">
                      <a:pos x="T4" y="T5"/>
                    </a:cxn>
                    <a:cxn ang="0">
                      <a:pos x="T6" y="T7"/>
                    </a:cxn>
                    <a:cxn ang="0">
                      <a:pos x="T8" y="T9"/>
                    </a:cxn>
                    <a:cxn ang="0">
                      <a:pos x="T10" y="T11"/>
                    </a:cxn>
                  </a:cxnLst>
                  <a:rect l="0" t="0" r="r" b="b"/>
                  <a:pathLst>
                    <a:path w="26" h="17">
                      <a:moveTo>
                        <a:pt x="0" y="8"/>
                      </a:moveTo>
                      <a:lnTo>
                        <a:pt x="9" y="0"/>
                      </a:lnTo>
                      <a:lnTo>
                        <a:pt x="25" y="0"/>
                      </a:lnTo>
                      <a:lnTo>
                        <a:pt x="17" y="8"/>
                      </a:lnTo>
                      <a:lnTo>
                        <a:pt x="25" y="16"/>
                      </a:lnTo>
                      <a:lnTo>
                        <a:pt x="0"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4" name="Freeform 146">
                  <a:extLst>
                    <a:ext uri="{FF2B5EF4-FFF2-40B4-BE49-F238E27FC236}">
                      <a16:creationId xmlns:a16="http://schemas.microsoft.com/office/drawing/2014/main" id="{45F3FF33-D36B-922F-0B29-790E6E1DE413}"/>
                    </a:ext>
                  </a:extLst>
                </p:cNvPr>
                <p:cNvSpPr>
                  <a:spLocks/>
                </p:cNvSpPr>
                <p:nvPr/>
              </p:nvSpPr>
              <p:spPr bwMode="gray">
                <a:xfrm>
                  <a:off x="5495971" y="4383300"/>
                  <a:ext cx="438927" cy="396496"/>
                </a:xfrm>
                <a:custGeom>
                  <a:avLst/>
                  <a:gdLst>
                    <a:gd name="T0" fmla="*/ 236 w 285"/>
                    <a:gd name="T1" fmla="*/ 211 h 262"/>
                    <a:gd name="T2" fmla="*/ 243 w 285"/>
                    <a:gd name="T3" fmla="*/ 203 h 262"/>
                    <a:gd name="T4" fmla="*/ 252 w 285"/>
                    <a:gd name="T5" fmla="*/ 196 h 262"/>
                    <a:gd name="T6" fmla="*/ 259 w 285"/>
                    <a:gd name="T7" fmla="*/ 186 h 262"/>
                    <a:gd name="T8" fmla="*/ 267 w 285"/>
                    <a:gd name="T9" fmla="*/ 180 h 262"/>
                    <a:gd name="T10" fmla="*/ 276 w 285"/>
                    <a:gd name="T11" fmla="*/ 171 h 262"/>
                    <a:gd name="T12" fmla="*/ 284 w 285"/>
                    <a:gd name="T13" fmla="*/ 171 h 262"/>
                    <a:gd name="T14" fmla="*/ 284 w 285"/>
                    <a:gd name="T15" fmla="*/ 162 h 262"/>
                    <a:gd name="T16" fmla="*/ 284 w 285"/>
                    <a:gd name="T17" fmla="*/ 155 h 262"/>
                    <a:gd name="T18" fmla="*/ 284 w 285"/>
                    <a:gd name="T19" fmla="*/ 146 h 262"/>
                    <a:gd name="T20" fmla="*/ 276 w 285"/>
                    <a:gd name="T21" fmla="*/ 139 h 262"/>
                    <a:gd name="T22" fmla="*/ 267 w 285"/>
                    <a:gd name="T23" fmla="*/ 131 h 262"/>
                    <a:gd name="T24" fmla="*/ 259 w 285"/>
                    <a:gd name="T25" fmla="*/ 131 h 262"/>
                    <a:gd name="T26" fmla="*/ 252 w 285"/>
                    <a:gd name="T27" fmla="*/ 131 h 262"/>
                    <a:gd name="T28" fmla="*/ 252 w 285"/>
                    <a:gd name="T29" fmla="*/ 139 h 262"/>
                    <a:gd name="T30" fmla="*/ 243 w 285"/>
                    <a:gd name="T31" fmla="*/ 139 h 262"/>
                    <a:gd name="T32" fmla="*/ 236 w 285"/>
                    <a:gd name="T33" fmla="*/ 139 h 262"/>
                    <a:gd name="T34" fmla="*/ 227 w 285"/>
                    <a:gd name="T35" fmla="*/ 139 h 262"/>
                    <a:gd name="T36" fmla="*/ 218 w 285"/>
                    <a:gd name="T37" fmla="*/ 139 h 262"/>
                    <a:gd name="T38" fmla="*/ 212 w 285"/>
                    <a:gd name="T39" fmla="*/ 139 h 262"/>
                    <a:gd name="T40" fmla="*/ 202 w 285"/>
                    <a:gd name="T41" fmla="*/ 131 h 262"/>
                    <a:gd name="T42" fmla="*/ 212 w 285"/>
                    <a:gd name="T43" fmla="*/ 122 h 262"/>
                    <a:gd name="T44" fmla="*/ 202 w 285"/>
                    <a:gd name="T45" fmla="*/ 106 h 262"/>
                    <a:gd name="T46" fmla="*/ 202 w 285"/>
                    <a:gd name="T47" fmla="*/ 81 h 262"/>
                    <a:gd name="T48" fmla="*/ 178 w 285"/>
                    <a:gd name="T49" fmla="*/ 57 h 262"/>
                    <a:gd name="T50" fmla="*/ 153 w 285"/>
                    <a:gd name="T51" fmla="*/ 49 h 262"/>
                    <a:gd name="T52" fmla="*/ 137 w 285"/>
                    <a:gd name="T53" fmla="*/ 57 h 262"/>
                    <a:gd name="T54" fmla="*/ 130 w 285"/>
                    <a:gd name="T55" fmla="*/ 49 h 262"/>
                    <a:gd name="T56" fmla="*/ 113 w 285"/>
                    <a:gd name="T57" fmla="*/ 41 h 262"/>
                    <a:gd name="T58" fmla="*/ 113 w 285"/>
                    <a:gd name="T59" fmla="*/ 34 h 262"/>
                    <a:gd name="T60" fmla="*/ 105 w 285"/>
                    <a:gd name="T61" fmla="*/ 25 h 262"/>
                    <a:gd name="T62" fmla="*/ 81 w 285"/>
                    <a:gd name="T63" fmla="*/ 9 h 262"/>
                    <a:gd name="T64" fmla="*/ 56 w 285"/>
                    <a:gd name="T65" fmla="*/ 0 h 262"/>
                    <a:gd name="T66" fmla="*/ 31 w 285"/>
                    <a:gd name="T67" fmla="*/ 18 h 262"/>
                    <a:gd name="T68" fmla="*/ 41 w 285"/>
                    <a:gd name="T69" fmla="*/ 25 h 262"/>
                    <a:gd name="T70" fmla="*/ 31 w 285"/>
                    <a:gd name="T71" fmla="*/ 41 h 262"/>
                    <a:gd name="T72" fmla="*/ 25 w 285"/>
                    <a:gd name="T73" fmla="*/ 41 h 262"/>
                    <a:gd name="T74" fmla="*/ 16 w 285"/>
                    <a:gd name="T75" fmla="*/ 49 h 262"/>
                    <a:gd name="T76" fmla="*/ 0 w 285"/>
                    <a:gd name="T77" fmla="*/ 49 h 262"/>
                    <a:gd name="T78" fmla="*/ 0 w 285"/>
                    <a:gd name="T79" fmla="*/ 65 h 262"/>
                    <a:gd name="T80" fmla="*/ 8 w 285"/>
                    <a:gd name="T81" fmla="*/ 65 h 262"/>
                    <a:gd name="T82" fmla="*/ 41 w 285"/>
                    <a:gd name="T83" fmla="*/ 114 h 262"/>
                    <a:gd name="T84" fmla="*/ 50 w 285"/>
                    <a:gd name="T85" fmla="*/ 122 h 262"/>
                    <a:gd name="T86" fmla="*/ 56 w 285"/>
                    <a:gd name="T87" fmla="*/ 139 h 262"/>
                    <a:gd name="T88" fmla="*/ 56 w 285"/>
                    <a:gd name="T89" fmla="*/ 162 h 262"/>
                    <a:gd name="T90" fmla="*/ 81 w 285"/>
                    <a:gd name="T91" fmla="*/ 180 h 262"/>
                    <a:gd name="T92" fmla="*/ 97 w 285"/>
                    <a:gd name="T93" fmla="*/ 220 h 262"/>
                    <a:gd name="T94" fmla="*/ 105 w 285"/>
                    <a:gd name="T95" fmla="*/ 227 h 262"/>
                    <a:gd name="T96" fmla="*/ 113 w 285"/>
                    <a:gd name="T97" fmla="*/ 220 h 262"/>
                    <a:gd name="T98" fmla="*/ 137 w 285"/>
                    <a:gd name="T99" fmla="*/ 243 h 262"/>
                    <a:gd name="T100" fmla="*/ 146 w 285"/>
                    <a:gd name="T101" fmla="*/ 261 h 262"/>
                    <a:gd name="T102" fmla="*/ 202 w 285"/>
                    <a:gd name="T103" fmla="*/ 220 h 262"/>
                    <a:gd name="T104" fmla="*/ 236 w 285"/>
                    <a:gd name="T105" fmla="*/ 2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5" name="Freeform 147">
                  <a:extLst>
                    <a:ext uri="{FF2B5EF4-FFF2-40B4-BE49-F238E27FC236}">
                      <a16:creationId xmlns:a16="http://schemas.microsoft.com/office/drawing/2014/main" id="{F21331C3-99CE-2611-4F16-9C214C905EFB}"/>
                    </a:ext>
                  </a:extLst>
                </p:cNvPr>
                <p:cNvSpPr>
                  <a:spLocks/>
                </p:cNvSpPr>
                <p:nvPr/>
              </p:nvSpPr>
              <p:spPr bwMode="gray">
                <a:xfrm>
                  <a:off x="5806180" y="4528977"/>
                  <a:ext cx="27031" cy="40536"/>
                </a:xfrm>
                <a:custGeom>
                  <a:avLst/>
                  <a:gdLst>
                    <a:gd name="T0" fmla="*/ 10 w 17"/>
                    <a:gd name="T1" fmla="*/ 25 h 26"/>
                    <a:gd name="T2" fmla="*/ 0 w 17"/>
                    <a:gd name="T3" fmla="*/ 9 h 26"/>
                    <a:gd name="T4" fmla="*/ 10 w 17"/>
                    <a:gd name="T5" fmla="*/ 0 h 26"/>
                    <a:gd name="T6" fmla="*/ 16 w 17"/>
                    <a:gd name="T7" fmla="*/ 0 h 26"/>
                    <a:gd name="T8" fmla="*/ 10 w 17"/>
                    <a:gd name="T9" fmla="*/ 25 h 26"/>
                  </a:gdLst>
                  <a:ahLst/>
                  <a:cxnLst>
                    <a:cxn ang="0">
                      <a:pos x="T0" y="T1"/>
                    </a:cxn>
                    <a:cxn ang="0">
                      <a:pos x="T2" y="T3"/>
                    </a:cxn>
                    <a:cxn ang="0">
                      <a:pos x="T4" y="T5"/>
                    </a:cxn>
                    <a:cxn ang="0">
                      <a:pos x="T6" y="T7"/>
                    </a:cxn>
                    <a:cxn ang="0">
                      <a:pos x="T8" y="T9"/>
                    </a:cxn>
                  </a:cxnLst>
                  <a:rect l="0" t="0" r="r" b="b"/>
                  <a:pathLst>
                    <a:path w="17" h="26">
                      <a:moveTo>
                        <a:pt x="10" y="25"/>
                      </a:moveTo>
                      <a:lnTo>
                        <a:pt x="0" y="9"/>
                      </a:lnTo>
                      <a:lnTo>
                        <a:pt x="10" y="0"/>
                      </a:lnTo>
                      <a:lnTo>
                        <a:pt x="16" y="0"/>
                      </a:lnTo>
                      <a:lnTo>
                        <a:pt x="10"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6" name="Freeform 148">
                  <a:extLst>
                    <a:ext uri="{FF2B5EF4-FFF2-40B4-BE49-F238E27FC236}">
                      <a16:creationId xmlns:a16="http://schemas.microsoft.com/office/drawing/2014/main" id="{5AF9EDA0-B562-4043-7ECD-C049A407507D}"/>
                    </a:ext>
                  </a:extLst>
                </p:cNvPr>
                <p:cNvSpPr>
                  <a:spLocks/>
                </p:cNvSpPr>
                <p:nvPr/>
              </p:nvSpPr>
              <p:spPr bwMode="gray">
                <a:xfrm>
                  <a:off x="5806180" y="4528977"/>
                  <a:ext cx="128717" cy="65872"/>
                </a:xfrm>
                <a:custGeom>
                  <a:avLst/>
                  <a:gdLst>
                    <a:gd name="T0" fmla="*/ 65 w 83"/>
                    <a:gd name="T1" fmla="*/ 34 h 43"/>
                    <a:gd name="T2" fmla="*/ 82 w 83"/>
                    <a:gd name="T3" fmla="*/ 17 h 43"/>
                    <a:gd name="T4" fmla="*/ 82 w 83"/>
                    <a:gd name="T5" fmla="*/ 9 h 43"/>
                    <a:gd name="T6" fmla="*/ 74 w 83"/>
                    <a:gd name="T7" fmla="*/ 0 h 43"/>
                    <a:gd name="T8" fmla="*/ 50 w 83"/>
                    <a:gd name="T9" fmla="*/ 25 h 43"/>
                    <a:gd name="T10" fmla="*/ 25 w 83"/>
                    <a:gd name="T11" fmla="*/ 25 h 43"/>
                    <a:gd name="T12" fmla="*/ 10 w 83"/>
                    <a:gd name="T13" fmla="*/ 25 h 43"/>
                    <a:gd name="T14" fmla="*/ 0 w 83"/>
                    <a:gd name="T15" fmla="*/ 34 h 43"/>
                    <a:gd name="T16" fmla="*/ 10 w 83"/>
                    <a:gd name="T17" fmla="*/ 42 h 43"/>
                    <a:gd name="T18" fmla="*/ 16 w 83"/>
                    <a:gd name="T19" fmla="*/ 42 h 43"/>
                    <a:gd name="T20" fmla="*/ 25 w 83"/>
                    <a:gd name="T21" fmla="*/ 42 h 43"/>
                    <a:gd name="T22" fmla="*/ 34 w 83"/>
                    <a:gd name="T23" fmla="*/ 42 h 43"/>
                    <a:gd name="T24" fmla="*/ 41 w 83"/>
                    <a:gd name="T25" fmla="*/ 42 h 43"/>
                    <a:gd name="T26" fmla="*/ 50 w 83"/>
                    <a:gd name="T27" fmla="*/ 42 h 43"/>
                    <a:gd name="T28" fmla="*/ 50 w 83"/>
                    <a:gd name="T29" fmla="*/ 34 h 43"/>
                    <a:gd name="T30" fmla="*/ 57 w 83"/>
                    <a:gd name="T31" fmla="*/ 34 h 43"/>
                    <a:gd name="T32" fmla="*/ 65 w 83"/>
                    <a:gd name="T33" fmla="*/ 3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7" name="Freeform 149">
                  <a:extLst>
                    <a:ext uri="{FF2B5EF4-FFF2-40B4-BE49-F238E27FC236}">
                      <a16:creationId xmlns:a16="http://schemas.microsoft.com/office/drawing/2014/main" id="{C80FC20F-00B5-5D9B-351F-17F00AFACC94}"/>
                    </a:ext>
                  </a:extLst>
                </p:cNvPr>
                <p:cNvSpPr>
                  <a:spLocks/>
                </p:cNvSpPr>
                <p:nvPr/>
              </p:nvSpPr>
              <p:spPr bwMode="gray">
                <a:xfrm>
                  <a:off x="5920739" y="4518843"/>
                  <a:ext cx="25743" cy="25335"/>
                </a:xfrm>
                <a:custGeom>
                  <a:avLst/>
                  <a:gdLst>
                    <a:gd name="T0" fmla="*/ 16 w 17"/>
                    <a:gd name="T1" fmla="*/ 16 h 17"/>
                    <a:gd name="T2" fmla="*/ 0 w 17"/>
                    <a:gd name="T3" fmla="*/ 7 h 17"/>
                    <a:gd name="T4" fmla="*/ 0 w 17"/>
                    <a:gd name="T5" fmla="*/ 0 h 17"/>
                    <a:gd name="T6" fmla="*/ 16 w 17"/>
                    <a:gd name="T7" fmla="*/ 0 h 17"/>
                    <a:gd name="T8" fmla="*/ 16 w 17"/>
                    <a:gd name="T9" fmla="*/ 16 h 17"/>
                  </a:gdLst>
                  <a:ahLst/>
                  <a:cxnLst>
                    <a:cxn ang="0">
                      <a:pos x="T0" y="T1"/>
                    </a:cxn>
                    <a:cxn ang="0">
                      <a:pos x="T2" y="T3"/>
                    </a:cxn>
                    <a:cxn ang="0">
                      <a:pos x="T4" y="T5"/>
                    </a:cxn>
                    <a:cxn ang="0">
                      <a:pos x="T6" y="T7"/>
                    </a:cxn>
                    <a:cxn ang="0">
                      <a:pos x="T8" y="T9"/>
                    </a:cxn>
                  </a:cxnLst>
                  <a:rect l="0" t="0" r="r" b="b"/>
                  <a:pathLst>
                    <a:path w="17" h="17">
                      <a:moveTo>
                        <a:pt x="16" y="16"/>
                      </a:moveTo>
                      <a:lnTo>
                        <a:pt x="0" y="7"/>
                      </a:lnTo>
                      <a:lnTo>
                        <a:pt x="0" y="0"/>
                      </a:lnTo>
                      <a:lnTo>
                        <a:pt x="16" y="0"/>
                      </a:lnTo>
                      <a:lnTo>
                        <a:pt x="16"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8" name="Freeform 151">
                  <a:extLst>
                    <a:ext uri="{FF2B5EF4-FFF2-40B4-BE49-F238E27FC236}">
                      <a16:creationId xmlns:a16="http://schemas.microsoft.com/office/drawing/2014/main" id="{664256C9-6F30-E0B6-0ADC-C2D47CB74A2A}"/>
                    </a:ext>
                  </a:extLst>
                </p:cNvPr>
                <p:cNvSpPr>
                  <a:spLocks/>
                </p:cNvSpPr>
                <p:nvPr/>
              </p:nvSpPr>
              <p:spPr bwMode="gray">
                <a:xfrm>
                  <a:off x="5656868" y="4702524"/>
                  <a:ext cx="203373" cy="100074"/>
                </a:xfrm>
                <a:custGeom>
                  <a:avLst/>
                  <a:gdLst>
                    <a:gd name="T0" fmla="*/ 0 w 132"/>
                    <a:gd name="T1" fmla="*/ 16 h 66"/>
                    <a:gd name="T2" fmla="*/ 8 w 132"/>
                    <a:gd name="T3" fmla="*/ 9 h 66"/>
                    <a:gd name="T4" fmla="*/ 32 w 132"/>
                    <a:gd name="T5" fmla="*/ 32 h 66"/>
                    <a:gd name="T6" fmla="*/ 41 w 132"/>
                    <a:gd name="T7" fmla="*/ 50 h 66"/>
                    <a:gd name="T8" fmla="*/ 97 w 132"/>
                    <a:gd name="T9" fmla="*/ 9 h 66"/>
                    <a:gd name="T10" fmla="*/ 131 w 132"/>
                    <a:gd name="T11" fmla="*/ 0 h 66"/>
                    <a:gd name="T12" fmla="*/ 131 w 132"/>
                    <a:gd name="T13" fmla="*/ 9 h 66"/>
                    <a:gd name="T14" fmla="*/ 122 w 132"/>
                    <a:gd name="T15" fmla="*/ 16 h 66"/>
                    <a:gd name="T16" fmla="*/ 122 w 132"/>
                    <a:gd name="T17" fmla="*/ 25 h 66"/>
                    <a:gd name="T18" fmla="*/ 90 w 132"/>
                    <a:gd name="T19" fmla="*/ 32 h 66"/>
                    <a:gd name="T20" fmla="*/ 57 w 132"/>
                    <a:gd name="T21" fmla="*/ 57 h 66"/>
                    <a:gd name="T22" fmla="*/ 41 w 132"/>
                    <a:gd name="T23" fmla="*/ 57 h 66"/>
                    <a:gd name="T24" fmla="*/ 25 w 132"/>
                    <a:gd name="T25" fmla="*/ 65 h 66"/>
                    <a:gd name="T26" fmla="*/ 8 w 132"/>
                    <a:gd name="T27" fmla="*/ 65 h 66"/>
                    <a:gd name="T28" fmla="*/ 0 w 132"/>
                    <a:gd name="T2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89" name="Freeform 168">
                  <a:extLst>
                    <a:ext uri="{FF2B5EF4-FFF2-40B4-BE49-F238E27FC236}">
                      <a16:creationId xmlns:a16="http://schemas.microsoft.com/office/drawing/2014/main" id="{E52EFB1C-0A7B-69FD-2E82-CF78E8FD04D3}"/>
                    </a:ext>
                  </a:extLst>
                </p:cNvPr>
                <p:cNvSpPr>
                  <a:spLocks/>
                </p:cNvSpPr>
                <p:nvPr/>
              </p:nvSpPr>
              <p:spPr bwMode="gray">
                <a:xfrm>
                  <a:off x="4558909" y="4309828"/>
                  <a:ext cx="239414" cy="186214"/>
                </a:xfrm>
                <a:custGeom>
                  <a:avLst/>
                  <a:gdLst>
                    <a:gd name="T0" fmla="*/ 139 w 156"/>
                    <a:gd name="T1" fmla="*/ 8 h 123"/>
                    <a:gd name="T2" fmla="*/ 147 w 156"/>
                    <a:gd name="T3" fmla="*/ 8 h 123"/>
                    <a:gd name="T4" fmla="*/ 155 w 156"/>
                    <a:gd name="T5" fmla="*/ 48 h 123"/>
                    <a:gd name="T6" fmla="*/ 122 w 156"/>
                    <a:gd name="T7" fmla="*/ 57 h 123"/>
                    <a:gd name="T8" fmla="*/ 122 w 156"/>
                    <a:gd name="T9" fmla="*/ 66 h 123"/>
                    <a:gd name="T10" fmla="*/ 99 w 156"/>
                    <a:gd name="T11" fmla="*/ 82 h 123"/>
                    <a:gd name="T12" fmla="*/ 65 w 156"/>
                    <a:gd name="T13" fmla="*/ 97 h 123"/>
                    <a:gd name="T14" fmla="*/ 57 w 156"/>
                    <a:gd name="T15" fmla="*/ 105 h 123"/>
                    <a:gd name="T16" fmla="*/ 57 w 156"/>
                    <a:gd name="T17" fmla="*/ 122 h 123"/>
                    <a:gd name="T18" fmla="*/ 0 w 156"/>
                    <a:gd name="T19" fmla="*/ 113 h 123"/>
                    <a:gd name="T20" fmla="*/ 16 w 156"/>
                    <a:gd name="T21" fmla="*/ 113 h 123"/>
                    <a:gd name="T22" fmla="*/ 32 w 156"/>
                    <a:gd name="T23" fmla="*/ 97 h 123"/>
                    <a:gd name="T24" fmla="*/ 40 w 156"/>
                    <a:gd name="T25" fmla="*/ 82 h 123"/>
                    <a:gd name="T26" fmla="*/ 40 w 156"/>
                    <a:gd name="T27" fmla="*/ 66 h 123"/>
                    <a:gd name="T28" fmla="*/ 50 w 156"/>
                    <a:gd name="T29" fmla="*/ 48 h 123"/>
                    <a:gd name="T30" fmla="*/ 57 w 156"/>
                    <a:gd name="T31" fmla="*/ 32 h 123"/>
                    <a:gd name="T32" fmla="*/ 81 w 156"/>
                    <a:gd name="T33" fmla="*/ 25 h 123"/>
                    <a:gd name="T34" fmla="*/ 90 w 156"/>
                    <a:gd name="T35" fmla="*/ 0 h 123"/>
                    <a:gd name="T36" fmla="*/ 99 w 156"/>
                    <a:gd name="T37" fmla="*/ 0 h 123"/>
                    <a:gd name="T38" fmla="*/ 105 w 156"/>
                    <a:gd name="T39" fmla="*/ 8 h 123"/>
                    <a:gd name="T40" fmla="*/ 130 w 156"/>
                    <a:gd name="T41" fmla="*/ 8 h 123"/>
                    <a:gd name="T42" fmla="*/ 139 w 156"/>
                    <a:gd name="T43"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0" name="Freeform 170">
                  <a:extLst>
                    <a:ext uri="{FF2B5EF4-FFF2-40B4-BE49-F238E27FC236}">
                      <a16:creationId xmlns:a16="http://schemas.microsoft.com/office/drawing/2014/main" id="{9DA61878-8D20-5472-DEDB-CCEB631B1082}"/>
                    </a:ext>
                  </a:extLst>
                </p:cNvPr>
                <p:cNvSpPr>
                  <a:spLocks/>
                </p:cNvSpPr>
                <p:nvPr/>
              </p:nvSpPr>
              <p:spPr bwMode="gray">
                <a:xfrm>
                  <a:off x="5471514" y="4689856"/>
                  <a:ext cx="287040" cy="283754"/>
                </a:xfrm>
                <a:custGeom>
                  <a:avLst/>
                  <a:gdLst>
                    <a:gd name="T0" fmla="*/ 121 w 187"/>
                    <a:gd name="T1" fmla="*/ 73 h 187"/>
                    <a:gd name="T2" fmla="*/ 113 w 187"/>
                    <a:gd name="T3" fmla="*/ 73 h 187"/>
                    <a:gd name="T4" fmla="*/ 113 w 187"/>
                    <a:gd name="T5" fmla="*/ 90 h 187"/>
                    <a:gd name="T6" fmla="*/ 113 w 187"/>
                    <a:gd name="T7" fmla="*/ 98 h 187"/>
                    <a:gd name="T8" fmla="*/ 121 w 187"/>
                    <a:gd name="T9" fmla="*/ 98 h 187"/>
                    <a:gd name="T10" fmla="*/ 121 w 187"/>
                    <a:gd name="T11" fmla="*/ 105 h 187"/>
                    <a:gd name="T12" fmla="*/ 138 w 187"/>
                    <a:gd name="T13" fmla="*/ 121 h 187"/>
                    <a:gd name="T14" fmla="*/ 178 w 187"/>
                    <a:gd name="T15" fmla="*/ 130 h 187"/>
                    <a:gd name="T16" fmla="*/ 186 w 187"/>
                    <a:gd name="T17" fmla="*/ 130 h 187"/>
                    <a:gd name="T18" fmla="*/ 153 w 187"/>
                    <a:gd name="T19" fmla="*/ 170 h 187"/>
                    <a:gd name="T20" fmla="*/ 129 w 187"/>
                    <a:gd name="T21" fmla="*/ 170 h 187"/>
                    <a:gd name="T22" fmla="*/ 113 w 187"/>
                    <a:gd name="T23" fmla="*/ 186 h 187"/>
                    <a:gd name="T24" fmla="*/ 97 w 187"/>
                    <a:gd name="T25" fmla="*/ 179 h 187"/>
                    <a:gd name="T26" fmla="*/ 72 w 187"/>
                    <a:gd name="T27" fmla="*/ 186 h 187"/>
                    <a:gd name="T28" fmla="*/ 32 w 187"/>
                    <a:gd name="T29" fmla="*/ 179 h 187"/>
                    <a:gd name="T30" fmla="*/ 32 w 187"/>
                    <a:gd name="T31" fmla="*/ 163 h 187"/>
                    <a:gd name="T32" fmla="*/ 24 w 187"/>
                    <a:gd name="T33" fmla="*/ 163 h 187"/>
                    <a:gd name="T34" fmla="*/ 7 w 187"/>
                    <a:gd name="T35" fmla="*/ 139 h 187"/>
                    <a:gd name="T36" fmla="*/ 0 w 187"/>
                    <a:gd name="T37" fmla="*/ 130 h 187"/>
                    <a:gd name="T38" fmla="*/ 7 w 187"/>
                    <a:gd name="T39" fmla="*/ 121 h 187"/>
                    <a:gd name="T40" fmla="*/ 16 w 187"/>
                    <a:gd name="T41" fmla="*/ 98 h 187"/>
                    <a:gd name="T42" fmla="*/ 41 w 187"/>
                    <a:gd name="T43" fmla="*/ 65 h 187"/>
                    <a:gd name="T44" fmla="*/ 47 w 187"/>
                    <a:gd name="T45" fmla="*/ 17 h 187"/>
                    <a:gd name="T46" fmla="*/ 66 w 187"/>
                    <a:gd name="T47" fmla="*/ 8 h 187"/>
                    <a:gd name="T48" fmla="*/ 66 w 187"/>
                    <a:gd name="T49" fmla="*/ 0 h 187"/>
                    <a:gd name="T50" fmla="*/ 81 w 187"/>
                    <a:gd name="T51" fmla="*/ 33 h 187"/>
                    <a:gd name="T52" fmla="*/ 97 w 187"/>
                    <a:gd name="T53" fmla="*/ 48 h 187"/>
                    <a:gd name="T54" fmla="*/ 121 w 187"/>
                    <a:gd name="T55" fmla="*/ 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1" name="Freeform 171">
                  <a:extLst>
                    <a:ext uri="{FF2B5EF4-FFF2-40B4-BE49-F238E27FC236}">
                      <a16:creationId xmlns:a16="http://schemas.microsoft.com/office/drawing/2014/main" id="{6BDBC83F-F9D5-2531-464E-415089C3CFC2}"/>
                    </a:ext>
                  </a:extLst>
                </p:cNvPr>
                <p:cNvSpPr>
                  <a:spLocks/>
                </p:cNvSpPr>
                <p:nvPr/>
              </p:nvSpPr>
              <p:spPr bwMode="gray">
                <a:xfrm>
                  <a:off x="5645283" y="4800064"/>
                  <a:ext cx="25743" cy="40536"/>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2" name="Freeform 172">
                  <a:extLst>
                    <a:ext uri="{FF2B5EF4-FFF2-40B4-BE49-F238E27FC236}">
                      <a16:creationId xmlns:a16="http://schemas.microsoft.com/office/drawing/2014/main" id="{CC59A93F-0C10-C39A-F1BE-611BBE8C63BF}"/>
                    </a:ext>
                  </a:extLst>
                </p:cNvPr>
                <p:cNvSpPr>
                  <a:spLocks/>
                </p:cNvSpPr>
                <p:nvPr/>
              </p:nvSpPr>
              <p:spPr bwMode="gray">
                <a:xfrm>
                  <a:off x="5645283" y="4800064"/>
                  <a:ext cx="25743" cy="40536"/>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3" name="Freeform 173">
                  <a:extLst>
                    <a:ext uri="{FF2B5EF4-FFF2-40B4-BE49-F238E27FC236}">
                      <a16:creationId xmlns:a16="http://schemas.microsoft.com/office/drawing/2014/main" id="{2262263E-0022-CF70-D218-406E68FFE3C0}"/>
                    </a:ext>
                  </a:extLst>
                </p:cNvPr>
                <p:cNvSpPr>
                  <a:spLocks/>
                </p:cNvSpPr>
                <p:nvPr/>
              </p:nvSpPr>
              <p:spPr bwMode="gray">
                <a:xfrm>
                  <a:off x="5620827" y="4811465"/>
                  <a:ext cx="202086" cy="259686"/>
                </a:xfrm>
                <a:custGeom>
                  <a:avLst/>
                  <a:gdLst>
                    <a:gd name="T0" fmla="*/ 16 w 132"/>
                    <a:gd name="T1" fmla="*/ 106 h 172"/>
                    <a:gd name="T2" fmla="*/ 0 w 132"/>
                    <a:gd name="T3" fmla="*/ 124 h 172"/>
                    <a:gd name="T4" fmla="*/ 0 w 132"/>
                    <a:gd name="T5" fmla="*/ 164 h 172"/>
                    <a:gd name="T6" fmla="*/ 9 w 132"/>
                    <a:gd name="T7" fmla="*/ 171 h 172"/>
                    <a:gd name="T8" fmla="*/ 32 w 132"/>
                    <a:gd name="T9" fmla="*/ 147 h 172"/>
                    <a:gd name="T10" fmla="*/ 65 w 132"/>
                    <a:gd name="T11" fmla="*/ 124 h 172"/>
                    <a:gd name="T12" fmla="*/ 89 w 132"/>
                    <a:gd name="T13" fmla="*/ 99 h 172"/>
                    <a:gd name="T14" fmla="*/ 106 w 132"/>
                    <a:gd name="T15" fmla="*/ 83 h 172"/>
                    <a:gd name="T16" fmla="*/ 131 w 132"/>
                    <a:gd name="T17" fmla="*/ 18 h 172"/>
                    <a:gd name="T18" fmla="*/ 131 w 132"/>
                    <a:gd name="T19" fmla="*/ 0 h 172"/>
                    <a:gd name="T20" fmla="*/ 121 w 132"/>
                    <a:gd name="T21" fmla="*/ 0 h 172"/>
                    <a:gd name="T22" fmla="*/ 106 w 132"/>
                    <a:gd name="T23" fmla="*/ 10 h 172"/>
                    <a:gd name="T24" fmla="*/ 49 w 132"/>
                    <a:gd name="T25" fmla="*/ 25 h 172"/>
                    <a:gd name="T26" fmla="*/ 41 w 132"/>
                    <a:gd name="T27" fmla="*/ 18 h 172"/>
                    <a:gd name="T28" fmla="*/ 32 w 132"/>
                    <a:gd name="T29" fmla="*/ 10 h 172"/>
                    <a:gd name="T30" fmla="*/ 24 w 132"/>
                    <a:gd name="T31" fmla="*/ 18 h 172"/>
                    <a:gd name="T32" fmla="*/ 24 w 132"/>
                    <a:gd name="T33" fmla="*/ 25 h 172"/>
                    <a:gd name="T34" fmla="*/ 41 w 132"/>
                    <a:gd name="T35" fmla="*/ 41 h 172"/>
                    <a:gd name="T36" fmla="*/ 81 w 132"/>
                    <a:gd name="T37" fmla="*/ 50 h 172"/>
                    <a:gd name="T38" fmla="*/ 89 w 132"/>
                    <a:gd name="T39" fmla="*/ 50 h 172"/>
                    <a:gd name="T40" fmla="*/ 56 w 132"/>
                    <a:gd name="T41" fmla="*/ 90 h 172"/>
                    <a:gd name="T42" fmla="*/ 32 w 132"/>
                    <a:gd name="T43" fmla="*/ 90 h 172"/>
                    <a:gd name="T44" fmla="*/ 16 w 132"/>
                    <a:gd name="T45" fmla="*/ 10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4" name="Freeform 174">
                  <a:extLst>
                    <a:ext uri="{FF2B5EF4-FFF2-40B4-BE49-F238E27FC236}">
                      <a16:creationId xmlns:a16="http://schemas.microsoft.com/office/drawing/2014/main" id="{B205F934-EFE8-BE84-5626-CFBF3089D378}"/>
                    </a:ext>
                  </a:extLst>
                </p:cNvPr>
                <p:cNvSpPr>
                  <a:spLocks/>
                </p:cNvSpPr>
                <p:nvPr/>
              </p:nvSpPr>
              <p:spPr bwMode="gray">
                <a:xfrm>
                  <a:off x="4482966" y="4494775"/>
                  <a:ext cx="239414" cy="257152"/>
                </a:xfrm>
                <a:custGeom>
                  <a:avLst/>
                  <a:gdLst>
                    <a:gd name="T0" fmla="*/ 0 w 155"/>
                    <a:gd name="T1" fmla="*/ 88 h 170"/>
                    <a:gd name="T2" fmla="*/ 9 w 155"/>
                    <a:gd name="T3" fmla="*/ 81 h 170"/>
                    <a:gd name="T4" fmla="*/ 49 w 155"/>
                    <a:gd name="T5" fmla="*/ 81 h 170"/>
                    <a:gd name="T6" fmla="*/ 49 w 155"/>
                    <a:gd name="T7" fmla="*/ 65 h 170"/>
                    <a:gd name="T8" fmla="*/ 65 w 155"/>
                    <a:gd name="T9" fmla="*/ 57 h 170"/>
                    <a:gd name="T10" fmla="*/ 65 w 155"/>
                    <a:gd name="T11" fmla="*/ 16 h 170"/>
                    <a:gd name="T12" fmla="*/ 106 w 155"/>
                    <a:gd name="T13" fmla="*/ 16 h 170"/>
                    <a:gd name="T14" fmla="*/ 106 w 155"/>
                    <a:gd name="T15" fmla="*/ 0 h 170"/>
                    <a:gd name="T16" fmla="*/ 154 w 155"/>
                    <a:gd name="T17" fmla="*/ 32 h 170"/>
                    <a:gd name="T18" fmla="*/ 130 w 155"/>
                    <a:gd name="T19" fmla="*/ 32 h 170"/>
                    <a:gd name="T20" fmla="*/ 148 w 155"/>
                    <a:gd name="T21" fmla="*/ 162 h 170"/>
                    <a:gd name="T22" fmla="*/ 89 w 155"/>
                    <a:gd name="T23" fmla="*/ 162 h 170"/>
                    <a:gd name="T24" fmla="*/ 81 w 155"/>
                    <a:gd name="T25" fmla="*/ 169 h 170"/>
                    <a:gd name="T26" fmla="*/ 74 w 155"/>
                    <a:gd name="T27" fmla="*/ 162 h 170"/>
                    <a:gd name="T28" fmla="*/ 58 w 155"/>
                    <a:gd name="T29" fmla="*/ 169 h 170"/>
                    <a:gd name="T30" fmla="*/ 49 w 155"/>
                    <a:gd name="T31" fmla="*/ 153 h 170"/>
                    <a:gd name="T32" fmla="*/ 24 w 155"/>
                    <a:gd name="T33" fmla="*/ 146 h 170"/>
                    <a:gd name="T34" fmla="*/ 9 w 155"/>
                    <a:gd name="T35" fmla="*/ 146 h 170"/>
                    <a:gd name="T36" fmla="*/ 0 w 155"/>
                    <a:gd name="T37" fmla="*/ 153 h 170"/>
                    <a:gd name="T38" fmla="*/ 9 w 155"/>
                    <a:gd name="T39" fmla="*/ 122 h 170"/>
                    <a:gd name="T40" fmla="*/ 0 w 155"/>
                    <a:gd name="T41" fmla="*/ 112 h 170"/>
                    <a:gd name="T42" fmla="*/ 9 w 155"/>
                    <a:gd name="T43" fmla="*/ 97 h 170"/>
                    <a:gd name="T44" fmla="*/ 0 w 155"/>
                    <a:gd name="T45" fmla="*/ 8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5" name="Freeform 175">
                  <a:extLst>
                    <a:ext uri="{FF2B5EF4-FFF2-40B4-BE49-F238E27FC236}">
                      <a16:creationId xmlns:a16="http://schemas.microsoft.com/office/drawing/2014/main" id="{C9AB31C3-DD04-B212-3720-74711204A071}"/>
                    </a:ext>
                  </a:extLst>
                </p:cNvPr>
                <p:cNvSpPr>
                  <a:spLocks/>
                </p:cNvSpPr>
                <p:nvPr/>
              </p:nvSpPr>
              <p:spPr bwMode="gray">
                <a:xfrm>
                  <a:off x="4482966" y="4480841"/>
                  <a:ext cx="164758" cy="148211"/>
                </a:xfrm>
                <a:custGeom>
                  <a:avLst/>
                  <a:gdLst>
                    <a:gd name="T0" fmla="*/ 0 w 107"/>
                    <a:gd name="T1" fmla="*/ 97 h 98"/>
                    <a:gd name="T2" fmla="*/ 9 w 107"/>
                    <a:gd name="T3" fmla="*/ 90 h 98"/>
                    <a:gd name="T4" fmla="*/ 49 w 107"/>
                    <a:gd name="T5" fmla="*/ 90 h 98"/>
                    <a:gd name="T6" fmla="*/ 49 w 107"/>
                    <a:gd name="T7" fmla="*/ 74 h 98"/>
                    <a:gd name="T8" fmla="*/ 65 w 107"/>
                    <a:gd name="T9" fmla="*/ 66 h 98"/>
                    <a:gd name="T10" fmla="*/ 65 w 107"/>
                    <a:gd name="T11" fmla="*/ 25 h 98"/>
                    <a:gd name="T12" fmla="*/ 106 w 107"/>
                    <a:gd name="T13" fmla="*/ 25 h 98"/>
                    <a:gd name="T14" fmla="*/ 106 w 107"/>
                    <a:gd name="T15" fmla="*/ 9 h 98"/>
                    <a:gd name="T16" fmla="*/ 49 w 107"/>
                    <a:gd name="T17" fmla="*/ 0 h 98"/>
                    <a:gd name="T18" fmla="*/ 40 w 107"/>
                    <a:gd name="T19" fmla="*/ 16 h 98"/>
                    <a:gd name="T20" fmla="*/ 34 w 107"/>
                    <a:gd name="T21" fmla="*/ 25 h 98"/>
                    <a:gd name="T22" fmla="*/ 24 w 107"/>
                    <a:gd name="T23" fmla="*/ 49 h 98"/>
                    <a:gd name="T24" fmla="*/ 0 w 107"/>
                    <a:gd name="T25" fmla="*/ 81 h 98"/>
                    <a:gd name="T26" fmla="*/ 0 w 107"/>
                    <a:gd name="T27"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6" name="Freeform 176">
                  <a:extLst>
                    <a:ext uri="{FF2B5EF4-FFF2-40B4-BE49-F238E27FC236}">
                      <a16:creationId xmlns:a16="http://schemas.microsoft.com/office/drawing/2014/main" id="{669A861E-EBEC-CDE0-712F-255037518167}"/>
                    </a:ext>
                  </a:extLst>
                </p:cNvPr>
                <p:cNvSpPr>
                  <a:spLocks/>
                </p:cNvSpPr>
                <p:nvPr/>
              </p:nvSpPr>
              <p:spPr bwMode="gray">
                <a:xfrm>
                  <a:off x="4471381" y="4716458"/>
                  <a:ext cx="127430" cy="86140"/>
                </a:xfrm>
                <a:custGeom>
                  <a:avLst/>
                  <a:gdLst>
                    <a:gd name="T0" fmla="*/ 8 w 83"/>
                    <a:gd name="T1" fmla="*/ 48 h 57"/>
                    <a:gd name="T2" fmla="*/ 17 w 83"/>
                    <a:gd name="T3" fmla="*/ 48 h 57"/>
                    <a:gd name="T4" fmla="*/ 32 w 83"/>
                    <a:gd name="T5" fmla="*/ 41 h 57"/>
                    <a:gd name="T6" fmla="*/ 42 w 83"/>
                    <a:gd name="T7" fmla="*/ 48 h 57"/>
                    <a:gd name="T8" fmla="*/ 48 w 83"/>
                    <a:gd name="T9" fmla="*/ 41 h 57"/>
                    <a:gd name="T10" fmla="*/ 32 w 83"/>
                    <a:gd name="T11" fmla="*/ 41 h 57"/>
                    <a:gd name="T12" fmla="*/ 8 w 83"/>
                    <a:gd name="T13" fmla="*/ 41 h 57"/>
                    <a:gd name="T14" fmla="*/ 0 w 83"/>
                    <a:gd name="T15" fmla="*/ 23 h 57"/>
                    <a:gd name="T16" fmla="*/ 8 w 83"/>
                    <a:gd name="T17" fmla="*/ 7 h 57"/>
                    <a:gd name="T18" fmla="*/ 17 w 83"/>
                    <a:gd name="T19" fmla="*/ 0 h 57"/>
                    <a:gd name="T20" fmla="*/ 32 w 83"/>
                    <a:gd name="T21" fmla="*/ 0 h 57"/>
                    <a:gd name="T22" fmla="*/ 57 w 83"/>
                    <a:gd name="T23" fmla="*/ 7 h 57"/>
                    <a:gd name="T24" fmla="*/ 66 w 83"/>
                    <a:gd name="T25" fmla="*/ 23 h 57"/>
                    <a:gd name="T26" fmla="*/ 82 w 83"/>
                    <a:gd name="T27" fmla="*/ 56 h 57"/>
                    <a:gd name="T28" fmla="*/ 48 w 83"/>
                    <a:gd name="T29" fmla="*/ 56 h 57"/>
                    <a:gd name="T30" fmla="*/ 8 w 83"/>
                    <a:gd name="T31" fmla="*/ 56 h 57"/>
                    <a:gd name="T32" fmla="*/ 8 w 83"/>
                    <a:gd name="T3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7" name="Freeform 177">
                  <a:extLst>
                    <a:ext uri="{FF2B5EF4-FFF2-40B4-BE49-F238E27FC236}">
                      <a16:creationId xmlns:a16="http://schemas.microsoft.com/office/drawing/2014/main" id="{780B61EB-55F4-D0B8-6D7D-AA9AD03F4FBE}"/>
                    </a:ext>
                  </a:extLst>
                </p:cNvPr>
                <p:cNvSpPr>
                  <a:spLocks/>
                </p:cNvSpPr>
                <p:nvPr/>
              </p:nvSpPr>
              <p:spPr bwMode="gray">
                <a:xfrm>
                  <a:off x="4482966" y="4778529"/>
                  <a:ext cx="63072" cy="25335"/>
                </a:xfrm>
                <a:custGeom>
                  <a:avLst/>
                  <a:gdLst>
                    <a:gd name="T0" fmla="*/ 0 w 41"/>
                    <a:gd name="T1" fmla="*/ 16 h 17"/>
                    <a:gd name="T2" fmla="*/ 9 w 41"/>
                    <a:gd name="T3" fmla="*/ 16 h 17"/>
                    <a:gd name="T4" fmla="*/ 24 w 41"/>
                    <a:gd name="T5" fmla="*/ 0 h 17"/>
                    <a:gd name="T6" fmla="*/ 34 w 41"/>
                    <a:gd name="T7" fmla="*/ 16 h 17"/>
                    <a:gd name="T8" fmla="*/ 40 w 41"/>
                    <a:gd name="T9" fmla="*/ 0 h 17"/>
                    <a:gd name="T10" fmla="*/ 24 w 41"/>
                    <a:gd name="T11" fmla="*/ 0 h 17"/>
                    <a:gd name="T12" fmla="*/ 0 w 41"/>
                    <a:gd name="T13" fmla="*/ 0 h 17"/>
                    <a:gd name="T14" fmla="*/ 0 w 41"/>
                    <a:gd name="T15" fmla="*/ 1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8" name="Freeform 178">
                  <a:extLst>
                    <a:ext uri="{FF2B5EF4-FFF2-40B4-BE49-F238E27FC236}">
                      <a16:creationId xmlns:a16="http://schemas.microsoft.com/office/drawing/2014/main" id="{984C4FA0-E204-A492-DE14-9337871AA241}"/>
                    </a:ext>
                  </a:extLst>
                </p:cNvPr>
                <p:cNvSpPr>
                  <a:spLocks/>
                </p:cNvSpPr>
                <p:nvPr/>
              </p:nvSpPr>
              <p:spPr bwMode="gray">
                <a:xfrm>
                  <a:off x="4482966" y="4800064"/>
                  <a:ext cx="63072" cy="40536"/>
                </a:xfrm>
                <a:custGeom>
                  <a:avLst/>
                  <a:gdLst>
                    <a:gd name="T0" fmla="*/ 24 w 41"/>
                    <a:gd name="T1" fmla="*/ 25 h 26"/>
                    <a:gd name="T2" fmla="*/ 40 w 41"/>
                    <a:gd name="T3" fmla="*/ 7 h 26"/>
                    <a:gd name="T4" fmla="*/ 40 w 41"/>
                    <a:gd name="T5" fmla="*/ 0 h 26"/>
                    <a:gd name="T6" fmla="*/ 0 w 41"/>
                    <a:gd name="T7" fmla="*/ 0 h 26"/>
                    <a:gd name="T8" fmla="*/ 17 w 41"/>
                    <a:gd name="T9" fmla="*/ 7 h 26"/>
                    <a:gd name="T10" fmla="*/ 17 w 41"/>
                    <a:gd name="T11" fmla="*/ 17 h 26"/>
                    <a:gd name="T12" fmla="*/ 24 w 41"/>
                    <a:gd name="T13" fmla="*/ 25 h 26"/>
                  </a:gdLst>
                  <a:ahLst/>
                  <a:cxnLst>
                    <a:cxn ang="0">
                      <a:pos x="T0" y="T1"/>
                    </a:cxn>
                    <a:cxn ang="0">
                      <a:pos x="T2" y="T3"/>
                    </a:cxn>
                    <a:cxn ang="0">
                      <a:pos x="T4" y="T5"/>
                    </a:cxn>
                    <a:cxn ang="0">
                      <a:pos x="T6" y="T7"/>
                    </a:cxn>
                    <a:cxn ang="0">
                      <a:pos x="T8" y="T9"/>
                    </a:cxn>
                    <a:cxn ang="0">
                      <a:pos x="T10" y="T11"/>
                    </a:cxn>
                    <a:cxn ang="0">
                      <a:pos x="T12" y="T13"/>
                    </a:cxn>
                  </a:cxnLst>
                  <a:rect l="0" t="0" r="r" b="b"/>
                  <a:pathLst>
                    <a:path w="41" h="26">
                      <a:moveTo>
                        <a:pt x="24" y="25"/>
                      </a:moveTo>
                      <a:lnTo>
                        <a:pt x="40" y="7"/>
                      </a:lnTo>
                      <a:lnTo>
                        <a:pt x="40" y="0"/>
                      </a:lnTo>
                      <a:lnTo>
                        <a:pt x="0" y="0"/>
                      </a:lnTo>
                      <a:lnTo>
                        <a:pt x="17" y="7"/>
                      </a:lnTo>
                      <a:lnTo>
                        <a:pt x="17" y="17"/>
                      </a:lnTo>
                      <a:lnTo>
                        <a:pt x="24"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299" name="Freeform 179">
                  <a:extLst>
                    <a:ext uri="{FF2B5EF4-FFF2-40B4-BE49-F238E27FC236}">
                      <a16:creationId xmlns:a16="http://schemas.microsoft.com/office/drawing/2014/main" id="{3009E5F3-7A77-CE82-E5C4-5392BDE90CA7}"/>
                    </a:ext>
                  </a:extLst>
                </p:cNvPr>
                <p:cNvSpPr>
                  <a:spLocks/>
                </p:cNvSpPr>
                <p:nvPr/>
              </p:nvSpPr>
              <p:spPr bwMode="gray">
                <a:xfrm>
                  <a:off x="4520294" y="4800064"/>
                  <a:ext cx="140302" cy="102607"/>
                </a:xfrm>
                <a:custGeom>
                  <a:avLst/>
                  <a:gdLst>
                    <a:gd name="T0" fmla="*/ 82 w 91"/>
                    <a:gd name="T1" fmla="*/ 66 h 67"/>
                    <a:gd name="T2" fmla="*/ 90 w 91"/>
                    <a:gd name="T3" fmla="*/ 66 h 67"/>
                    <a:gd name="T4" fmla="*/ 90 w 91"/>
                    <a:gd name="T5" fmla="*/ 57 h 67"/>
                    <a:gd name="T6" fmla="*/ 90 w 91"/>
                    <a:gd name="T7" fmla="*/ 48 h 67"/>
                    <a:gd name="T8" fmla="*/ 90 w 91"/>
                    <a:gd name="T9" fmla="*/ 41 h 67"/>
                    <a:gd name="T10" fmla="*/ 90 w 91"/>
                    <a:gd name="T11" fmla="*/ 32 h 67"/>
                    <a:gd name="T12" fmla="*/ 75 w 91"/>
                    <a:gd name="T13" fmla="*/ 0 h 67"/>
                    <a:gd name="T14" fmla="*/ 57 w 91"/>
                    <a:gd name="T15" fmla="*/ 7 h 67"/>
                    <a:gd name="T16" fmla="*/ 41 w 91"/>
                    <a:gd name="T17" fmla="*/ 7 h 67"/>
                    <a:gd name="T18" fmla="*/ 50 w 91"/>
                    <a:gd name="T19" fmla="*/ 0 h 67"/>
                    <a:gd name="T20" fmla="*/ 16 w 91"/>
                    <a:gd name="T21" fmla="*/ 0 h 67"/>
                    <a:gd name="T22" fmla="*/ 16 w 91"/>
                    <a:gd name="T23" fmla="*/ 7 h 67"/>
                    <a:gd name="T24" fmla="*/ 0 w 91"/>
                    <a:gd name="T25" fmla="*/ 25 h 67"/>
                    <a:gd name="T26" fmla="*/ 25 w 91"/>
                    <a:gd name="T27" fmla="*/ 41 h 67"/>
                    <a:gd name="T28" fmla="*/ 34 w 91"/>
                    <a:gd name="T29" fmla="*/ 32 h 67"/>
                    <a:gd name="T30" fmla="*/ 41 w 91"/>
                    <a:gd name="T31" fmla="*/ 32 h 67"/>
                    <a:gd name="T32" fmla="*/ 57 w 91"/>
                    <a:gd name="T33" fmla="*/ 48 h 67"/>
                    <a:gd name="T34" fmla="*/ 57 w 91"/>
                    <a:gd name="T35" fmla="*/ 57 h 67"/>
                    <a:gd name="T36" fmla="*/ 65 w 91"/>
                    <a:gd name="T37" fmla="*/ 48 h 67"/>
                    <a:gd name="T38" fmla="*/ 75 w 91"/>
                    <a:gd name="T39" fmla="*/ 66 h 67"/>
                    <a:gd name="T40" fmla="*/ 82 w 91"/>
                    <a:gd name="T41" fmla="*/ 6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00" name="Freeform 180">
                  <a:extLst>
                    <a:ext uri="{FF2B5EF4-FFF2-40B4-BE49-F238E27FC236}">
                      <a16:creationId xmlns:a16="http://schemas.microsoft.com/office/drawing/2014/main" id="{961FE66A-44D9-7F64-0AEC-476F97515580}"/>
                    </a:ext>
                  </a:extLst>
                </p:cNvPr>
                <p:cNvSpPr>
                  <a:spLocks/>
                </p:cNvSpPr>
                <p:nvPr/>
              </p:nvSpPr>
              <p:spPr bwMode="gray">
                <a:xfrm>
                  <a:off x="4558909" y="4849467"/>
                  <a:ext cx="50200" cy="62071"/>
                </a:xfrm>
                <a:custGeom>
                  <a:avLst/>
                  <a:gdLst>
                    <a:gd name="T0" fmla="*/ 0 w 33"/>
                    <a:gd name="T1" fmla="*/ 9 h 41"/>
                    <a:gd name="T2" fmla="*/ 9 w 33"/>
                    <a:gd name="T3" fmla="*/ 0 h 41"/>
                    <a:gd name="T4" fmla="*/ 16 w 33"/>
                    <a:gd name="T5" fmla="*/ 0 h 41"/>
                    <a:gd name="T6" fmla="*/ 32 w 33"/>
                    <a:gd name="T7" fmla="*/ 16 h 41"/>
                    <a:gd name="T8" fmla="*/ 32 w 33"/>
                    <a:gd name="T9" fmla="*/ 25 h 41"/>
                    <a:gd name="T10" fmla="*/ 16 w 33"/>
                    <a:gd name="T11" fmla="*/ 40 h 41"/>
                    <a:gd name="T12" fmla="*/ 9 w 33"/>
                    <a:gd name="T13" fmla="*/ 34 h 41"/>
                    <a:gd name="T14" fmla="*/ 0 w 33"/>
                    <a:gd name="T15" fmla="*/ 34 h 41"/>
                    <a:gd name="T16" fmla="*/ 0 w 33"/>
                    <a:gd name="T17"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01" name="Freeform 181">
                  <a:extLst>
                    <a:ext uri="{FF2B5EF4-FFF2-40B4-BE49-F238E27FC236}">
                      <a16:creationId xmlns:a16="http://schemas.microsoft.com/office/drawing/2014/main" id="{105E2B7D-9C9B-F3A3-52E6-ECF0FC2BE527}"/>
                    </a:ext>
                  </a:extLst>
                </p:cNvPr>
                <p:cNvSpPr>
                  <a:spLocks/>
                </p:cNvSpPr>
                <p:nvPr/>
              </p:nvSpPr>
              <p:spPr bwMode="gray">
                <a:xfrm>
                  <a:off x="4583365" y="4873536"/>
                  <a:ext cx="91389" cy="88673"/>
                </a:xfrm>
                <a:custGeom>
                  <a:avLst/>
                  <a:gdLst>
                    <a:gd name="T0" fmla="*/ 58 w 59"/>
                    <a:gd name="T1" fmla="*/ 58 h 59"/>
                    <a:gd name="T2" fmla="*/ 58 w 59"/>
                    <a:gd name="T3" fmla="*/ 42 h 59"/>
                    <a:gd name="T4" fmla="*/ 41 w 59"/>
                    <a:gd name="T5" fmla="*/ 33 h 59"/>
                    <a:gd name="T6" fmla="*/ 41 w 59"/>
                    <a:gd name="T7" fmla="*/ 18 h 59"/>
                    <a:gd name="T8" fmla="*/ 34 w 59"/>
                    <a:gd name="T9" fmla="*/ 18 h 59"/>
                    <a:gd name="T10" fmla="*/ 24 w 59"/>
                    <a:gd name="T11" fmla="*/ 0 h 59"/>
                    <a:gd name="T12" fmla="*/ 16 w 59"/>
                    <a:gd name="T13" fmla="*/ 9 h 59"/>
                    <a:gd name="T14" fmla="*/ 0 w 59"/>
                    <a:gd name="T15" fmla="*/ 24 h 59"/>
                    <a:gd name="T16" fmla="*/ 41 w 59"/>
                    <a:gd name="T17" fmla="*/ 58 h 59"/>
                    <a:gd name="T18" fmla="*/ 58 w 59"/>
                    <a:gd name="T1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02" name="Freeform 182">
                  <a:extLst>
                    <a:ext uri="{FF2B5EF4-FFF2-40B4-BE49-F238E27FC236}">
                      <a16:creationId xmlns:a16="http://schemas.microsoft.com/office/drawing/2014/main" id="{360210A7-5E97-C5D5-D9CA-0D1CECCCE678}"/>
                    </a:ext>
                  </a:extLst>
                </p:cNvPr>
                <p:cNvSpPr>
                  <a:spLocks/>
                </p:cNvSpPr>
                <p:nvPr/>
              </p:nvSpPr>
              <p:spPr bwMode="gray">
                <a:xfrm>
                  <a:off x="4807333" y="4826666"/>
                  <a:ext cx="41189" cy="97540"/>
                </a:xfrm>
                <a:custGeom>
                  <a:avLst/>
                  <a:gdLst>
                    <a:gd name="T0" fmla="*/ 17 w 26"/>
                    <a:gd name="T1" fmla="*/ 0 h 65"/>
                    <a:gd name="T2" fmla="*/ 0 w 26"/>
                    <a:gd name="T3" fmla="*/ 0 h 65"/>
                    <a:gd name="T4" fmla="*/ 9 w 26"/>
                    <a:gd name="T5" fmla="*/ 31 h 65"/>
                    <a:gd name="T6" fmla="*/ 17 w 26"/>
                    <a:gd name="T7" fmla="*/ 55 h 65"/>
                    <a:gd name="T8" fmla="*/ 17 w 26"/>
                    <a:gd name="T9" fmla="*/ 64 h 65"/>
                    <a:gd name="T10" fmla="*/ 25 w 26"/>
                    <a:gd name="T11" fmla="*/ 64 h 65"/>
                    <a:gd name="T12" fmla="*/ 25 w 26"/>
                    <a:gd name="T13" fmla="*/ 31 h 65"/>
                    <a:gd name="T14" fmla="*/ 25 w 26"/>
                    <a:gd name="T15" fmla="*/ 15 h 65"/>
                    <a:gd name="T16" fmla="*/ 17 w 26"/>
                    <a:gd name="T17" fmla="*/ 8 h 65"/>
                    <a:gd name="T18" fmla="*/ 17 w 26"/>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03" name="Freeform 183">
                  <a:extLst>
                    <a:ext uri="{FF2B5EF4-FFF2-40B4-BE49-F238E27FC236}">
                      <a16:creationId xmlns:a16="http://schemas.microsoft.com/office/drawing/2014/main" id="{92CF934B-CA41-5239-1ACB-BCDC7EBE86AA}"/>
                    </a:ext>
                  </a:extLst>
                </p:cNvPr>
                <p:cNvSpPr>
                  <a:spLocks/>
                </p:cNvSpPr>
                <p:nvPr/>
              </p:nvSpPr>
              <p:spPr bwMode="gray">
                <a:xfrm>
                  <a:off x="4999122" y="4998946"/>
                  <a:ext cx="34754" cy="25335"/>
                </a:xfrm>
                <a:custGeom>
                  <a:avLst/>
                  <a:gdLst>
                    <a:gd name="T0" fmla="*/ 22 w 23"/>
                    <a:gd name="T1" fmla="*/ 0 h 17"/>
                    <a:gd name="T2" fmla="*/ 22 w 23"/>
                    <a:gd name="T3" fmla="*/ 16 h 17"/>
                    <a:gd name="T4" fmla="*/ 6 w 23"/>
                    <a:gd name="T5" fmla="*/ 16 h 17"/>
                    <a:gd name="T6" fmla="*/ 0 w 23"/>
                    <a:gd name="T7" fmla="*/ 16 h 17"/>
                    <a:gd name="T8" fmla="*/ 6 w 23"/>
                    <a:gd name="T9" fmla="*/ 0 h 17"/>
                    <a:gd name="T10" fmla="*/ 22 w 23"/>
                    <a:gd name="T11" fmla="*/ 0 h 17"/>
                  </a:gdLst>
                  <a:ahLst/>
                  <a:cxnLst>
                    <a:cxn ang="0">
                      <a:pos x="T0" y="T1"/>
                    </a:cxn>
                    <a:cxn ang="0">
                      <a:pos x="T2" y="T3"/>
                    </a:cxn>
                    <a:cxn ang="0">
                      <a:pos x="T4" y="T5"/>
                    </a:cxn>
                    <a:cxn ang="0">
                      <a:pos x="T6" y="T7"/>
                    </a:cxn>
                    <a:cxn ang="0">
                      <a:pos x="T8" y="T9"/>
                    </a:cxn>
                    <a:cxn ang="0">
                      <a:pos x="T10" y="T11"/>
                    </a:cxn>
                  </a:cxnLst>
                  <a:rect l="0" t="0" r="r" b="b"/>
                  <a:pathLst>
                    <a:path w="23" h="17">
                      <a:moveTo>
                        <a:pt x="22" y="0"/>
                      </a:moveTo>
                      <a:lnTo>
                        <a:pt x="22" y="16"/>
                      </a:lnTo>
                      <a:lnTo>
                        <a:pt x="6" y="16"/>
                      </a:lnTo>
                      <a:lnTo>
                        <a:pt x="0" y="16"/>
                      </a:lnTo>
                      <a:lnTo>
                        <a:pt x="6" y="0"/>
                      </a:lnTo>
                      <a:lnTo>
                        <a:pt x="22"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04" name="Freeform 184">
                  <a:extLst>
                    <a:ext uri="{FF2B5EF4-FFF2-40B4-BE49-F238E27FC236}">
                      <a16:creationId xmlns:a16="http://schemas.microsoft.com/office/drawing/2014/main" id="{8D708339-6914-BDD8-EFE0-E8E2E6314DA7}"/>
                    </a:ext>
                  </a:extLst>
                </p:cNvPr>
                <p:cNvSpPr>
                  <a:spLocks/>
                </p:cNvSpPr>
                <p:nvPr/>
              </p:nvSpPr>
              <p:spPr bwMode="gray">
                <a:xfrm>
                  <a:off x="5032589" y="4972343"/>
                  <a:ext cx="151887" cy="173546"/>
                </a:xfrm>
                <a:custGeom>
                  <a:avLst/>
                  <a:gdLst>
                    <a:gd name="T0" fmla="*/ 65 w 99"/>
                    <a:gd name="T1" fmla="*/ 9 h 115"/>
                    <a:gd name="T2" fmla="*/ 65 w 99"/>
                    <a:gd name="T3" fmla="*/ 24 h 115"/>
                    <a:gd name="T4" fmla="*/ 25 w 99"/>
                    <a:gd name="T5" fmla="*/ 18 h 115"/>
                    <a:gd name="T6" fmla="*/ 25 w 99"/>
                    <a:gd name="T7" fmla="*/ 33 h 115"/>
                    <a:gd name="T8" fmla="*/ 33 w 99"/>
                    <a:gd name="T9" fmla="*/ 24 h 115"/>
                    <a:gd name="T10" fmla="*/ 41 w 99"/>
                    <a:gd name="T11" fmla="*/ 33 h 115"/>
                    <a:gd name="T12" fmla="*/ 41 w 99"/>
                    <a:gd name="T13" fmla="*/ 41 h 115"/>
                    <a:gd name="T14" fmla="*/ 41 w 99"/>
                    <a:gd name="T15" fmla="*/ 74 h 115"/>
                    <a:gd name="T16" fmla="*/ 18 w 99"/>
                    <a:gd name="T17" fmla="*/ 74 h 115"/>
                    <a:gd name="T18" fmla="*/ 9 w 99"/>
                    <a:gd name="T19" fmla="*/ 81 h 115"/>
                    <a:gd name="T20" fmla="*/ 9 w 99"/>
                    <a:gd name="T21" fmla="*/ 90 h 115"/>
                    <a:gd name="T22" fmla="*/ 0 w 99"/>
                    <a:gd name="T23" fmla="*/ 90 h 115"/>
                    <a:gd name="T24" fmla="*/ 0 w 99"/>
                    <a:gd name="T25" fmla="*/ 98 h 115"/>
                    <a:gd name="T26" fmla="*/ 18 w 99"/>
                    <a:gd name="T27" fmla="*/ 114 h 115"/>
                    <a:gd name="T28" fmla="*/ 18 w 99"/>
                    <a:gd name="T29" fmla="*/ 106 h 115"/>
                    <a:gd name="T30" fmla="*/ 25 w 99"/>
                    <a:gd name="T31" fmla="*/ 106 h 115"/>
                    <a:gd name="T32" fmla="*/ 41 w 99"/>
                    <a:gd name="T33" fmla="*/ 106 h 115"/>
                    <a:gd name="T34" fmla="*/ 58 w 99"/>
                    <a:gd name="T35" fmla="*/ 98 h 115"/>
                    <a:gd name="T36" fmla="*/ 65 w 99"/>
                    <a:gd name="T37" fmla="*/ 74 h 115"/>
                    <a:gd name="T38" fmla="*/ 81 w 99"/>
                    <a:gd name="T39" fmla="*/ 58 h 115"/>
                    <a:gd name="T40" fmla="*/ 98 w 99"/>
                    <a:gd name="T41" fmla="*/ 0 h 115"/>
                    <a:gd name="T42" fmla="*/ 75 w 99"/>
                    <a:gd name="T43" fmla="*/ 9 h 115"/>
                    <a:gd name="T44" fmla="*/ 65 w 99"/>
                    <a:gd name="T45"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05" name="Freeform 185">
                  <a:extLst>
                    <a:ext uri="{FF2B5EF4-FFF2-40B4-BE49-F238E27FC236}">
                      <a16:creationId xmlns:a16="http://schemas.microsoft.com/office/drawing/2014/main" id="{6268384F-D1ED-577A-203C-A7A8AC4B0FE7}"/>
                    </a:ext>
                  </a:extLst>
                </p:cNvPr>
                <p:cNvSpPr>
                  <a:spLocks/>
                </p:cNvSpPr>
                <p:nvPr/>
              </p:nvSpPr>
              <p:spPr bwMode="gray">
                <a:xfrm>
                  <a:off x="5381412" y="5059750"/>
                  <a:ext cx="39902" cy="36736"/>
                </a:xfrm>
                <a:custGeom>
                  <a:avLst/>
                  <a:gdLst>
                    <a:gd name="T0" fmla="*/ 25 w 26"/>
                    <a:gd name="T1" fmla="*/ 23 h 24"/>
                    <a:gd name="T2" fmla="*/ 9 w 26"/>
                    <a:gd name="T3" fmla="*/ 23 h 24"/>
                    <a:gd name="T4" fmla="*/ 0 w 26"/>
                    <a:gd name="T5" fmla="*/ 23 h 24"/>
                    <a:gd name="T6" fmla="*/ 9 w 26"/>
                    <a:gd name="T7" fmla="*/ 7 h 24"/>
                    <a:gd name="T8" fmla="*/ 25 w 26"/>
                    <a:gd name="T9" fmla="*/ 0 h 24"/>
                    <a:gd name="T10" fmla="*/ 25 w 26"/>
                    <a:gd name="T11" fmla="*/ 16 h 24"/>
                    <a:gd name="T12" fmla="*/ 25 w 26"/>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26" h="24">
                      <a:moveTo>
                        <a:pt x="25" y="23"/>
                      </a:moveTo>
                      <a:lnTo>
                        <a:pt x="9" y="23"/>
                      </a:lnTo>
                      <a:lnTo>
                        <a:pt x="0" y="23"/>
                      </a:lnTo>
                      <a:lnTo>
                        <a:pt x="9" y="7"/>
                      </a:lnTo>
                      <a:lnTo>
                        <a:pt x="25" y="0"/>
                      </a:lnTo>
                      <a:lnTo>
                        <a:pt x="25" y="16"/>
                      </a:lnTo>
                      <a:lnTo>
                        <a:pt x="25" y="23"/>
                      </a:lnTo>
                    </a:path>
                  </a:pathLst>
                </a:custGeom>
                <a:grpFill/>
                <a:ln w="6350" cap="rnd" cmpd="sng">
                  <a:solidFill>
                    <a:srgbClr val="D0D0D0"/>
                  </a:solidFill>
                  <a:prstDash val="solid"/>
                  <a:round/>
                  <a:headEnd/>
                  <a:tailEnd/>
                </a:ln>
                <a:effectLst/>
              </p:spPr>
              <p:txBody>
                <a:bodyPr/>
                <a:lstStyle/>
                <a:p>
                  <a:endParaRPr lang="de-DE" dirty="0"/>
                </a:p>
              </p:txBody>
            </p:sp>
            <p:sp>
              <p:nvSpPr>
                <p:cNvPr id="306" name="Freeform 186">
                  <a:extLst>
                    <a:ext uri="{FF2B5EF4-FFF2-40B4-BE49-F238E27FC236}">
                      <a16:creationId xmlns:a16="http://schemas.microsoft.com/office/drawing/2014/main" id="{AC8E2DC6-36FA-A7E8-70A8-8047FCBF6DD3}"/>
                    </a:ext>
                  </a:extLst>
                </p:cNvPr>
                <p:cNvSpPr>
                  <a:spLocks/>
                </p:cNvSpPr>
                <p:nvPr/>
              </p:nvSpPr>
              <p:spPr bwMode="gray">
                <a:xfrm>
                  <a:off x="5395571" y="5093952"/>
                  <a:ext cx="25743" cy="39270"/>
                </a:xfrm>
                <a:custGeom>
                  <a:avLst/>
                  <a:gdLst>
                    <a:gd name="T0" fmla="*/ 16 w 17"/>
                    <a:gd name="T1" fmla="*/ 0 h 26"/>
                    <a:gd name="T2" fmla="*/ 16 w 17"/>
                    <a:gd name="T3" fmla="*/ 9 h 26"/>
                    <a:gd name="T4" fmla="*/ 0 w 17"/>
                    <a:gd name="T5" fmla="*/ 25 h 26"/>
                    <a:gd name="T6" fmla="*/ 0 w 17"/>
                    <a:gd name="T7" fmla="*/ 9 h 26"/>
                    <a:gd name="T8" fmla="*/ 0 w 17"/>
                    <a:gd name="T9" fmla="*/ 0 h 26"/>
                    <a:gd name="T10" fmla="*/ 16 w 17"/>
                    <a:gd name="T11" fmla="*/ 0 h 26"/>
                  </a:gdLst>
                  <a:ahLst/>
                  <a:cxnLst>
                    <a:cxn ang="0">
                      <a:pos x="T0" y="T1"/>
                    </a:cxn>
                    <a:cxn ang="0">
                      <a:pos x="T2" y="T3"/>
                    </a:cxn>
                    <a:cxn ang="0">
                      <a:pos x="T4" y="T5"/>
                    </a:cxn>
                    <a:cxn ang="0">
                      <a:pos x="T6" y="T7"/>
                    </a:cxn>
                    <a:cxn ang="0">
                      <a:pos x="T8" y="T9"/>
                    </a:cxn>
                    <a:cxn ang="0">
                      <a:pos x="T10" y="T11"/>
                    </a:cxn>
                  </a:cxnLst>
                  <a:rect l="0" t="0" r="r" b="b"/>
                  <a:pathLst>
                    <a:path w="17" h="26">
                      <a:moveTo>
                        <a:pt x="16" y="0"/>
                      </a:moveTo>
                      <a:lnTo>
                        <a:pt x="16" y="9"/>
                      </a:lnTo>
                      <a:lnTo>
                        <a:pt x="0" y="25"/>
                      </a:lnTo>
                      <a:lnTo>
                        <a:pt x="0" y="9"/>
                      </a:lnTo>
                      <a:lnTo>
                        <a:pt x="0" y="0"/>
                      </a:lnTo>
                      <a:lnTo>
                        <a:pt x="16" y="0"/>
                      </a:lnTo>
                    </a:path>
                  </a:pathLst>
                </a:custGeom>
                <a:grpFill/>
                <a:ln w="6350" cap="rnd" cmpd="sng">
                  <a:solidFill>
                    <a:srgbClr val="D0D0D0"/>
                  </a:solidFill>
                  <a:prstDash val="solid"/>
                  <a:round/>
                  <a:headEnd/>
                  <a:tailEnd/>
                </a:ln>
                <a:effectLst/>
              </p:spPr>
              <p:txBody>
                <a:bodyPr/>
                <a:lstStyle/>
                <a:p>
                  <a:endParaRPr lang="de-DE" dirty="0"/>
                </a:p>
              </p:txBody>
            </p:sp>
            <p:sp>
              <p:nvSpPr>
                <p:cNvPr id="307" name="Freeform 187">
                  <a:extLst>
                    <a:ext uri="{FF2B5EF4-FFF2-40B4-BE49-F238E27FC236}">
                      <a16:creationId xmlns:a16="http://schemas.microsoft.com/office/drawing/2014/main" id="{578C5768-C11F-7443-8AD0-010D492641D1}"/>
                    </a:ext>
                  </a:extLst>
                </p:cNvPr>
                <p:cNvSpPr>
                  <a:spLocks/>
                </p:cNvSpPr>
                <p:nvPr/>
              </p:nvSpPr>
              <p:spPr bwMode="gray">
                <a:xfrm>
                  <a:off x="5046747" y="5376440"/>
                  <a:ext cx="263871" cy="247018"/>
                </a:xfrm>
                <a:custGeom>
                  <a:avLst/>
                  <a:gdLst>
                    <a:gd name="T0" fmla="*/ 56 w 172"/>
                    <a:gd name="T1" fmla="*/ 162 h 163"/>
                    <a:gd name="T2" fmla="*/ 49 w 172"/>
                    <a:gd name="T3" fmla="*/ 146 h 163"/>
                    <a:gd name="T4" fmla="*/ 32 w 172"/>
                    <a:gd name="T5" fmla="*/ 99 h 163"/>
                    <a:gd name="T6" fmla="*/ 32 w 172"/>
                    <a:gd name="T7" fmla="*/ 75 h 163"/>
                    <a:gd name="T8" fmla="*/ 0 w 172"/>
                    <a:gd name="T9" fmla="*/ 9 h 163"/>
                    <a:gd name="T10" fmla="*/ 0 w 172"/>
                    <a:gd name="T11" fmla="*/ 0 h 163"/>
                    <a:gd name="T12" fmla="*/ 16 w 172"/>
                    <a:gd name="T13" fmla="*/ 0 h 163"/>
                    <a:gd name="T14" fmla="*/ 32 w 172"/>
                    <a:gd name="T15" fmla="*/ 0 h 163"/>
                    <a:gd name="T16" fmla="*/ 81 w 172"/>
                    <a:gd name="T17" fmla="*/ 9 h 163"/>
                    <a:gd name="T18" fmla="*/ 97 w 172"/>
                    <a:gd name="T19" fmla="*/ 9 h 163"/>
                    <a:gd name="T20" fmla="*/ 130 w 172"/>
                    <a:gd name="T21" fmla="*/ 16 h 163"/>
                    <a:gd name="T22" fmla="*/ 146 w 172"/>
                    <a:gd name="T23" fmla="*/ 9 h 163"/>
                    <a:gd name="T24" fmla="*/ 153 w 172"/>
                    <a:gd name="T25" fmla="*/ 0 h 163"/>
                    <a:gd name="T26" fmla="*/ 171 w 172"/>
                    <a:gd name="T27" fmla="*/ 9 h 163"/>
                    <a:gd name="T28" fmla="*/ 153 w 172"/>
                    <a:gd name="T29" fmla="*/ 25 h 163"/>
                    <a:gd name="T30" fmla="*/ 146 w 172"/>
                    <a:gd name="T31" fmla="*/ 16 h 163"/>
                    <a:gd name="T32" fmla="*/ 121 w 172"/>
                    <a:gd name="T33" fmla="*/ 16 h 163"/>
                    <a:gd name="T34" fmla="*/ 112 w 172"/>
                    <a:gd name="T35" fmla="*/ 65 h 163"/>
                    <a:gd name="T36" fmla="*/ 106 w 172"/>
                    <a:gd name="T37" fmla="*/ 75 h 163"/>
                    <a:gd name="T38" fmla="*/ 106 w 172"/>
                    <a:gd name="T39" fmla="*/ 106 h 163"/>
                    <a:gd name="T40" fmla="*/ 106 w 172"/>
                    <a:gd name="T41" fmla="*/ 155 h 163"/>
                    <a:gd name="T42" fmla="*/ 89 w 172"/>
                    <a:gd name="T43" fmla="*/ 162 h 163"/>
                    <a:gd name="T44" fmla="*/ 72 w 172"/>
                    <a:gd name="T45" fmla="*/ 162 h 163"/>
                    <a:gd name="T46" fmla="*/ 66 w 172"/>
                    <a:gd name="T47" fmla="*/ 155 h 163"/>
                    <a:gd name="T48" fmla="*/ 56 w 172"/>
                    <a:gd name="T49" fmla="*/ 16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08" name="Freeform 188">
                  <a:extLst>
                    <a:ext uri="{FF2B5EF4-FFF2-40B4-BE49-F238E27FC236}">
                      <a16:creationId xmlns:a16="http://schemas.microsoft.com/office/drawing/2014/main" id="{A7DB4358-BDF7-D2F9-4E3C-C96D4F79F330}"/>
                    </a:ext>
                  </a:extLst>
                </p:cNvPr>
                <p:cNvSpPr>
                  <a:spLocks/>
                </p:cNvSpPr>
                <p:nvPr/>
              </p:nvSpPr>
              <p:spPr bwMode="gray">
                <a:xfrm>
                  <a:off x="5046747" y="5154756"/>
                  <a:ext cx="248425" cy="247018"/>
                </a:xfrm>
                <a:custGeom>
                  <a:avLst/>
                  <a:gdLst>
                    <a:gd name="T0" fmla="*/ 0 w 162"/>
                    <a:gd name="T1" fmla="*/ 146 h 163"/>
                    <a:gd name="T2" fmla="*/ 16 w 162"/>
                    <a:gd name="T3" fmla="*/ 146 h 163"/>
                    <a:gd name="T4" fmla="*/ 32 w 162"/>
                    <a:gd name="T5" fmla="*/ 146 h 163"/>
                    <a:gd name="T6" fmla="*/ 81 w 162"/>
                    <a:gd name="T7" fmla="*/ 155 h 163"/>
                    <a:gd name="T8" fmla="*/ 97 w 162"/>
                    <a:gd name="T9" fmla="*/ 155 h 163"/>
                    <a:gd name="T10" fmla="*/ 130 w 162"/>
                    <a:gd name="T11" fmla="*/ 162 h 163"/>
                    <a:gd name="T12" fmla="*/ 146 w 162"/>
                    <a:gd name="T13" fmla="*/ 155 h 163"/>
                    <a:gd name="T14" fmla="*/ 130 w 162"/>
                    <a:gd name="T15" fmla="*/ 139 h 163"/>
                    <a:gd name="T16" fmla="*/ 130 w 162"/>
                    <a:gd name="T17" fmla="*/ 99 h 163"/>
                    <a:gd name="T18" fmla="*/ 161 w 162"/>
                    <a:gd name="T19" fmla="*/ 90 h 163"/>
                    <a:gd name="T20" fmla="*/ 153 w 162"/>
                    <a:gd name="T21" fmla="*/ 65 h 163"/>
                    <a:gd name="T22" fmla="*/ 130 w 162"/>
                    <a:gd name="T23" fmla="*/ 74 h 163"/>
                    <a:gd name="T24" fmla="*/ 130 w 162"/>
                    <a:gd name="T25" fmla="*/ 65 h 163"/>
                    <a:gd name="T26" fmla="*/ 137 w 162"/>
                    <a:gd name="T27" fmla="*/ 59 h 163"/>
                    <a:gd name="T28" fmla="*/ 130 w 162"/>
                    <a:gd name="T29" fmla="*/ 50 h 163"/>
                    <a:gd name="T30" fmla="*/ 130 w 162"/>
                    <a:gd name="T31" fmla="*/ 25 h 163"/>
                    <a:gd name="T32" fmla="*/ 112 w 162"/>
                    <a:gd name="T33" fmla="*/ 17 h 163"/>
                    <a:gd name="T34" fmla="*/ 97 w 162"/>
                    <a:gd name="T35" fmla="*/ 17 h 163"/>
                    <a:gd name="T36" fmla="*/ 97 w 162"/>
                    <a:gd name="T37" fmla="*/ 25 h 163"/>
                    <a:gd name="T38" fmla="*/ 81 w 162"/>
                    <a:gd name="T39" fmla="*/ 34 h 163"/>
                    <a:gd name="T40" fmla="*/ 66 w 162"/>
                    <a:gd name="T41" fmla="*/ 17 h 163"/>
                    <a:gd name="T42" fmla="*/ 66 w 162"/>
                    <a:gd name="T43" fmla="*/ 0 h 163"/>
                    <a:gd name="T44" fmla="*/ 56 w 162"/>
                    <a:gd name="T45" fmla="*/ 0 h 163"/>
                    <a:gd name="T46" fmla="*/ 24 w 162"/>
                    <a:gd name="T47" fmla="*/ 0 h 163"/>
                    <a:gd name="T48" fmla="*/ 9 w 162"/>
                    <a:gd name="T49" fmla="*/ 9 h 163"/>
                    <a:gd name="T50" fmla="*/ 16 w 162"/>
                    <a:gd name="T51" fmla="*/ 34 h 163"/>
                    <a:gd name="T52" fmla="*/ 16 w 162"/>
                    <a:gd name="T53" fmla="*/ 40 h 163"/>
                    <a:gd name="T54" fmla="*/ 24 w 162"/>
                    <a:gd name="T55" fmla="*/ 74 h 163"/>
                    <a:gd name="T56" fmla="*/ 24 w 162"/>
                    <a:gd name="T57" fmla="*/ 90 h 163"/>
                    <a:gd name="T58" fmla="*/ 9 w 162"/>
                    <a:gd name="T59" fmla="*/ 99 h 163"/>
                    <a:gd name="T60" fmla="*/ 0 w 162"/>
                    <a:gd name="T61" fmla="*/ 131 h 163"/>
                    <a:gd name="T62" fmla="*/ 0 w 162"/>
                    <a:gd name="T63" fmla="*/ 14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09" name="Freeform 189">
                  <a:extLst>
                    <a:ext uri="{FF2B5EF4-FFF2-40B4-BE49-F238E27FC236}">
                      <a16:creationId xmlns:a16="http://schemas.microsoft.com/office/drawing/2014/main" id="{D785172E-EB40-7B60-3939-0F01975D6FB7}"/>
                    </a:ext>
                  </a:extLst>
                </p:cNvPr>
                <p:cNvSpPr>
                  <a:spLocks/>
                </p:cNvSpPr>
                <p:nvPr/>
              </p:nvSpPr>
              <p:spPr bwMode="gray">
                <a:xfrm>
                  <a:off x="5060906" y="5131955"/>
                  <a:ext cx="25743" cy="26602"/>
                </a:xfrm>
                <a:custGeom>
                  <a:avLst/>
                  <a:gdLst>
                    <a:gd name="T0" fmla="*/ 16 w 17"/>
                    <a:gd name="T1" fmla="*/ 0 h 17"/>
                    <a:gd name="T2" fmla="*/ 0 w 17"/>
                    <a:gd name="T3" fmla="*/ 16 h 17"/>
                    <a:gd name="T4" fmla="*/ 0 w 17"/>
                    <a:gd name="T5" fmla="*/ 8 h 17"/>
                    <a:gd name="T6" fmla="*/ 0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0" y="16"/>
                      </a:lnTo>
                      <a:lnTo>
                        <a:pt x="0" y="8"/>
                      </a:lnTo>
                      <a:lnTo>
                        <a:pt x="0" y="0"/>
                      </a:lnTo>
                      <a:lnTo>
                        <a:pt x="16"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0" name="Freeform 190">
                  <a:extLst>
                    <a:ext uri="{FF2B5EF4-FFF2-40B4-BE49-F238E27FC236}">
                      <a16:creationId xmlns:a16="http://schemas.microsoft.com/office/drawing/2014/main" id="{2241A0E7-5F11-74C0-EC72-F8D7CED0AC56}"/>
                    </a:ext>
                  </a:extLst>
                </p:cNvPr>
                <p:cNvSpPr>
                  <a:spLocks/>
                </p:cNvSpPr>
                <p:nvPr/>
              </p:nvSpPr>
              <p:spPr bwMode="gray">
                <a:xfrm>
                  <a:off x="5060906" y="5131955"/>
                  <a:ext cx="25743" cy="26602"/>
                </a:xfrm>
                <a:custGeom>
                  <a:avLst/>
                  <a:gdLst>
                    <a:gd name="T0" fmla="*/ 16 w 17"/>
                    <a:gd name="T1" fmla="*/ 0 h 17"/>
                    <a:gd name="T2" fmla="*/ 0 w 17"/>
                    <a:gd name="T3" fmla="*/ 16 h 17"/>
                    <a:gd name="T4" fmla="*/ 0 w 17"/>
                    <a:gd name="T5" fmla="*/ 8 h 17"/>
                    <a:gd name="T6" fmla="*/ 0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0" y="16"/>
                      </a:lnTo>
                      <a:lnTo>
                        <a:pt x="0" y="8"/>
                      </a:lnTo>
                      <a:lnTo>
                        <a:pt x="0" y="0"/>
                      </a:lnTo>
                      <a:lnTo>
                        <a:pt x="16"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1" name="Freeform 191">
                  <a:extLst>
                    <a:ext uri="{FF2B5EF4-FFF2-40B4-BE49-F238E27FC236}">
                      <a16:creationId xmlns:a16="http://schemas.microsoft.com/office/drawing/2014/main" id="{4313B909-E875-D972-DA7A-A4A7ECAE5B67}"/>
                    </a:ext>
                  </a:extLst>
                </p:cNvPr>
                <p:cNvSpPr>
                  <a:spLocks/>
                </p:cNvSpPr>
                <p:nvPr/>
              </p:nvSpPr>
              <p:spPr bwMode="gray">
                <a:xfrm>
                  <a:off x="5132988" y="5473980"/>
                  <a:ext cx="326942" cy="285021"/>
                </a:xfrm>
                <a:custGeom>
                  <a:avLst/>
                  <a:gdLst>
                    <a:gd name="T0" fmla="*/ 196 w 213"/>
                    <a:gd name="T1" fmla="*/ 10 h 188"/>
                    <a:gd name="T2" fmla="*/ 202 w 213"/>
                    <a:gd name="T3" fmla="*/ 57 h 188"/>
                    <a:gd name="T4" fmla="*/ 196 w 213"/>
                    <a:gd name="T5" fmla="*/ 57 h 188"/>
                    <a:gd name="T6" fmla="*/ 187 w 213"/>
                    <a:gd name="T7" fmla="*/ 65 h 188"/>
                    <a:gd name="T8" fmla="*/ 196 w 213"/>
                    <a:gd name="T9" fmla="*/ 74 h 188"/>
                    <a:gd name="T10" fmla="*/ 202 w 213"/>
                    <a:gd name="T11" fmla="*/ 65 h 188"/>
                    <a:gd name="T12" fmla="*/ 212 w 213"/>
                    <a:gd name="T13" fmla="*/ 65 h 188"/>
                    <a:gd name="T14" fmla="*/ 212 w 213"/>
                    <a:gd name="T15" fmla="*/ 74 h 188"/>
                    <a:gd name="T16" fmla="*/ 212 w 213"/>
                    <a:gd name="T17" fmla="*/ 97 h 188"/>
                    <a:gd name="T18" fmla="*/ 196 w 213"/>
                    <a:gd name="T19" fmla="*/ 105 h 188"/>
                    <a:gd name="T20" fmla="*/ 180 w 213"/>
                    <a:gd name="T21" fmla="*/ 130 h 188"/>
                    <a:gd name="T22" fmla="*/ 155 w 213"/>
                    <a:gd name="T23" fmla="*/ 153 h 188"/>
                    <a:gd name="T24" fmla="*/ 139 w 213"/>
                    <a:gd name="T25" fmla="*/ 171 h 188"/>
                    <a:gd name="T26" fmla="*/ 115 w 213"/>
                    <a:gd name="T27" fmla="*/ 178 h 188"/>
                    <a:gd name="T28" fmla="*/ 97 w 213"/>
                    <a:gd name="T29" fmla="*/ 178 h 188"/>
                    <a:gd name="T30" fmla="*/ 74 w 213"/>
                    <a:gd name="T31" fmla="*/ 178 h 188"/>
                    <a:gd name="T32" fmla="*/ 50 w 213"/>
                    <a:gd name="T33" fmla="*/ 187 h 188"/>
                    <a:gd name="T34" fmla="*/ 41 w 213"/>
                    <a:gd name="T35" fmla="*/ 187 h 188"/>
                    <a:gd name="T36" fmla="*/ 33 w 213"/>
                    <a:gd name="T37" fmla="*/ 178 h 188"/>
                    <a:gd name="T38" fmla="*/ 25 w 213"/>
                    <a:gd name="T39" fmla="*/ 153 h 188"/>
                    <a:gd name="T40" fmla="*/ 25 w 213"/>
                    <a:gd name="T41" fmla="*/ 147 h 188"/>
                    <a:gd name="T42" fmla="*/ 10 w 213"/>
                    <a:gd name="T43" fmla="*/ 97 h 188"/>
                    <a:gd name="T44" fmla="*/ 0 w 213"/>
                    <a:gd name="T45" fmla="*/ 97 h 188"/>
                    <a:gd name="T46" fmla="*/ 10 w 213"/>
                    <a:gd name="T47" fmla="*/ 90 h 188"/>
                    <a:gd name="T48" fmla="*/ 16 w 213"/>
                    <a:gd name="T49" fmla="*/ 97 h 188"/>
                    <a:gd name="T50" fmla="*/ 33 w 213"/>
                    <a:gd name="T51" fmla="*/ 97 h 188"/>
                    <a:gd name="T52" fmla="*/ 50 w 213"/>
                    <a:gd name="T53" fmla="*/ 90 h 188"/>
                    <a:gd name="T54" fmla="*/ 50 w 213"/>
                    <a:gd name="T55" fmla="*/ 41 h 188"/>
                    <a:gd name="T56" fmla="*/ 56 w 213"/>
                    <a:gd name="T57" fmla="*/ 50 h 188"/>
                    <a:gd name="T58" fmla="*/ 56 w 213"/>
                    <a:gd name="T59" fmla="*/ 65 h 188"/>
                    <a:gd name="T60" fmla="*/ 74 w 213"/>
                    <a:gd name="T61" fmla="*/ 65 h 188"/>
                    <a:gd name="T62" fmla="*/ 97 w 213"/>
                    <a:gd name="T63" fmla="*/ 50 h 188"/>
                    <a:gd name="T64" fmla="*/ 105 w 213"/>
                    <a:gd name="T65" fmla="*/ 57 h 188"/>
                    <a:gd name="T66" fmla="*/ 115 w 213"/>
                    <a:gd name="T67" fmla="*/ 50 h 188"/>
                    <a:gd name="T68" fmla="*/ 147 w 213"/>
                    <a:gd name="T69" fmla="*/ 16 h 188"/>
                    <a:gd name="T70" fmla="*/ 171 w 213"/>
                    <a:gd name="T71" fmla="*/ 0 h 188"/>
                    <a:gd name="T72" fmla="*/ 187 w 213"/>
                    <a:gd name="T73" fmla="*/ 10 h 188"/>
                    <a:gd name="T74" fmla="*/ 196 w 213"/>
                    <a:gd name="T75" fmla="*/ 1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2" name="Freeform 192">
                  <a:extLst>
                    <a:ext uri="{FF2B5EF4-FFF2-40B4-BE49-F238E27FC236}">
                      <a16:creationId xmlns:a16="http://schemas.microsoft.com/office/drawing/2014/main" id="{761EE02C-DB06-E242-FF66-893F44B192E4}"/>
                    </a:ext>
                  </a:extLst>
                </p:cNvPr>
                <p:cNvSpPr>
                  <a:spLocks/>
                </p:cNvSpPr>
                <p:nvPr/>
              </p:nvSpPr>
              <p:spPr bwMode="gray">
                <a:xfrm>
                  <a:off x="5208932" y="5389107"/>
                  <a:ext cx="187928" cy="184947"/>
                </a:xfrm>
                <a:custGeom>
                  <a:avLst/>
                  <a:gdLst>
                    <a:gd name="T0" fmla="*/ 0 w 122"/>
                    <a:gd name="T1" fmla="*/ 97 h 122"/>
                    <a:gd name="T2" fmla="*/ 6 w 122"/>
                    <a:gd name="T3" fmla="*/ 106 h 122"/>
                    <a:gd name="T4" fmla="*/ 6 w 122"/>
                    <a:gd name="T5" fmla="*/ 121 h 122"/>
                    <a:gd name="T6" fmla="*/ 24 w 122"/>
                    <a:gd name="T7" fmla="*/ 121 h 122"/>
                    <a:gd name="T8" fmla="*/ 47 w 122"/>
                    <a:gd name="T9" fmla="*/ 106 h 122"/>
                    <a:gd name="T10" fmla="*/ 55 w 122"/>
                    <a:gd name="T11" fmla="*/ 113 h 122"/>
                    <a:gd name="T12" fmla="*/ 65 w 122"/>
                    <a:gd name="T13" fmla="*/ 106 h 122"/>
                    <a:gd name="T14" fmla="*/ 97 w 122"/>
                    <a:gd name="T15" fmla="*/ 72 h 122"/>
                    <a:gd name="T16" fmla="*/ 121 w 122"/>
                    <a:gd name="T17" fmla="*/ 56 h 122"/>
                    <a:gd name="T18" fmla="*/ 105 w 122"/>
                    <a:gd name="T19" fmla="*/ 56 h 122"/>
                    <a:gd name="T20" fmla="*/ 97 w 122"/>
                    <a:gd name="T21" fmla="*/ 41 h 122"/>
                    <a:gd name="T22" fmla="*/ 80 w 122"/>
                    <a:gd name="T23" fmla="*/ 24 h 122"/>
                    <a:gd name="T24" fmla="*/ 65 w 122"/>
                    <a:gd name="T25" fmla="*/ 0 h 122"/>
                    <a:gd name="T26" fmla="*/ 47 w 122"/>
                    <a:gd name="T27" fmla="*/ 16 h 122"/>
                    <a:gd name="T28" fmla="*/ 40 w 122"/>
                    <a:gd name="T29" fmla="*/ 7 h 122"/>
                    <a:gd name="T30" fmla="*/ 15 w 122"/>
                    <a:gd name="T31" fmla="*/ 7 h 122"/>
                    <a:gd name="T32" fmla="*/ 6 w 122"/>
                    <a:gd name="T33" fmla="*/ 56 h 122"/>
                    <a:gd name="T34" fmla="*/ 0 w 122"/>
                    <a:gd name="T35" fmla="*/ 66 h 122"/>
                    <a:gd name="T36" fmla="*/ 0 w 122"/>
                    <a:gd name="T37" fmla="*/ 9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3" name="Freeform 193">
                  <a:extLst>
                    <a:ext uri="{FF2B5EF4-FFF2-40B4-BE49-F238E27FC236}">
                      <a16:creationId xmlns:a16="http://schemas.microsoft.com/office/drawing/2014/main" id="{FCA1A99B-FF35-458E-8F38-B315E3A14466}"/>
                    </a:ext>
                  </a:extLst>
                </p:cNvPr>
                <p:cNvSpPr>
                  <a:spLocks/>
                </p:cNvSpPr>
                <p:nvPr/>
              </p:nvSpPr>
              <p:spPr bwMode="gray">
                <a:xfrm>
                  <a:off x="5309331" y="5353638"/>
                  <a:ext cx="163471" cy="138077"/>
                </a:xfrm>
                <a:custGeom>
                  <a:avLst/>
                  <a:gdLst>
                    <a:gd name="T0" fmla="*/ 65 w 106"/>
                    <a:gd name="T1" fmla="*/ 0 h 91"/>
                    <a:gd name="T2" fmla="*/ 47 w 106"/>
                    <a:gd name="T3" fmla="*/ 0 h 91"/>
                    <a:gd name="T4" fmla="*/ 47 w 106"/>
                    <a:gd name="T5" fmla="*/ 8 h 91"/>
                    <a:gd name="T6" fmla="*/ 24 w 106"/>
                    <a:gd name="T7" fmla="*/ 24 h 91"/>
                    <a:gd name="T8" fmla="*/ 0 w 106"/>
                    <a:gd name="T9" fmla="*/ 24 h 91"/>
                    <a:gd name="T10" fmla="*/ 15 w 106"/>
                    <a:gd name="T11" fmla="*/ 48 h 91"/>
                    <a:gd name="T12" fmla="*/ 32 w 106"/>
                    <a:gd name="T13" fmla="*/ 65 h 91"/>
                    <a:gd name="T14" fmla="*/ 40 w 106"/>
                    <a:gd name="T15" fmla="*/ 80 h 91"/>
                    <a:gd name="T16" fmla="*/ 56 w 106"/>
                    <a:gd name="T17" fmla="*/ 80 h 91"/>
                    <a:gd name="T18" fmla="*/ 72 w 106"/>
                    <a:gd name="T19" fmla="*/ 90 h 91"/>
                    <a:gd name="T20" fmla="*/ 81 w 106"/>
                    <a:gd name="T21" fmla="*/ 90 h 91"/>
                    <a:gd name="T22" fmla="*/ 97 w 106"/>
                    <a:gd name="T23" fmla="*/ 56 h 91"/>
                    <a:gd name="T24" fmla="*/ 105 w 106"/>
                    <a:gd name="T25" fmla="*/ 24 h 91"/>
                    <a:gd name="T26" fmla="*/ 97 w 106"/>
                    <a:gd name="T27" fmla="*/ 8 h 91"/>
                    <a:gd name="T28" fmla="*/ 81 w 106"/>
                    <a:gd name="T29" fmla="*/ 0 h 91"/>
                    <a:gd name="T30" fmla="*/ 65 w 106"/>
                    <a:gd name="T3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4" name="Freeform 194">
                  <a:extLst>
                    <a:ext uri="{FF2B5EF4-FFF2-40B4-BE49-F238E27FC236}">
                      <a16:creationId xmlns:a16="http://schemas.microsoft.com/office/drawing/2014/main" id="{42CD2C22-4C50-9E57-70A5-235B531D48B5}"/>
                    </a:ext>
                  </a:extLst>
                </p:cNvPr>
                <p:cNvSpPr>
                  <a:spLocks/>
                </p:cNvSpPr>
                <p:nvPr/>
              </p:nvSpPr>
              <p:spPr bwMode="gray">
                <a:xfrm>
                  <a:off x="5409731" y="5244697"/>
                  <a:ext cx="212384" cy="329358"/>
                </a:xfrm>
                <a:custGeom>
                  <a:avLst/>
                  <a:gdLst>
                    <a:gd name="T0" fmla="*/ 32 w 138"/>
                    <a:gd name="T1" fmla="*/ 217 h 218"/>
                    <a:gd name="T2" fmla="*/ 32 w 138"/>
                    <a:gd name="T3" fmla="*/ 209 h 218"/>
                    <a:gd name="T4" fmla="*/ 32 w 138"/>
                    <a:gd name="T5" fmla="*/ 202 h 218"/>
                    <a:gd name="T6" fmla="*/ 64 w 138"/>
                    <a:gd name="T7" fmla="*/ 193 h 218"/>
                    <a:gd name="T8" fmla="*/ 72 w 138"/>
                    <a:gd name="T9" fmla="*/ 186 h 218"/>
                    <a:gd name="T10" fmla="*/ 72 w 138"/>
                    <a:gd name="T11" fmla="*/ 162 h 218"/>
                    <a:gd name="T12" fmla="*/ 56 w 138"/>
                    <a:gd name="T13" fmla="*/ 128 h 218"/>
                    <a:gd name="T14" fmla="*/ 87 w 138"/>
                    <a:gd name="T15" fmla="*/ 96 h 218"/>
                    <a:gd name="T16" fmla="*/ 112 w 138"/>
                    <a:gd name="T17" fmla="*/ 87 h 218"/>
                    <a:gd name="T18" fmla="*/ 137 w 138"/>
                    <a:gd name="T19" fmla="*/ 63 h 218"/>
                    <a:gd name="T20" fmla="*/ 129 w 138"/>
                    <a:gd name="T21" fmla="*/ 0 h 218"/>
                    <a:gd name="T22" fmla="*/ 112 w 138"/>
                    <a:gd name="T23" fmla="*/ 15 h 218"/>
                    <a:gd name="T24" fmla="*/ 81 w 138"/>
                    <a:gd name="T25" fmla="*/ 15 h 218"/>
                    <a:gd name="T26" fmla="*/ 64 w 138"/>
                    <a:gd name="T27" fmla="*/ 15 h 218"/>
                    <a:gd name="T28" fmla="*/ 56 w 138"/>
                    <a:gd name="T29" fmla="*/ 23 h 218"/>
                    <a:gd name="T30" fmla="*/ 64 w 138"/>
                    <a:gd name="T31" fmla="*/ 40 h 218"/>
                    <a:gd name="T32" fmla="*/ 72 w 138"/>
                    <a:gd name="T33" fmla="*/ 55 h 218"/>
                    <a:gd name="T34" fmla="*/ 72 w 138"/>
                    <a:gd name="T35" fmla="*/ 72 h 218"/>
                    <a:gd name="T36" fmla="*/ 64 w 138"/>
                    <a:gd name="T37" fmla="*/ 87 h 218"/>
                    <a:gd name="T38" fmla="*/ 56 w 138"/>
                    <a:gd name="T39" fmla="*/ 72 h 218"/>
                    <a:gd name="T40" fmla="*/ 56 w 138"/>
                    <a:gd name="T41" fmla="*/ 55 h 218"/>
                    <a:gd name="T42" fmla="*/ 47 w 138"/>
                    <a:gd name="T43" fmla="*/ 55 h 218"/>
                    <a:gd name="T44" fmla="*/ 40 w 138"/>
                    <a:gd name="T45" fmla="*/ 47 h 218"/>
                    <a:gd name="T46" fmla="*/ 0 w 138"/>
                    <a:gd name="T47" fmla="*/ 63 h 218"/>
                    <a:gd name="T48" fmla="*/ 0 w 138"/>
                    <a:gd name="T49" fmla="*/ 72 h 218"/>
                    <a:gd name="T50" fmla="*/ 16 w 138"/>
                    <a:gd name="T51" fmla="*/ 72 h 218"/>
                    <a:gd name="T52" fmla="*/ 32 w 138"/>
                    <a:gd name="T53" fmla="*/ 80 h 218"/>
                    <a:gd name="T54" fmla="*/ 40 w 138"/>
                    <a:gd name="T55" fmla="*/ 96 h 218"/>
                    <a:gd name="T56" fmla="*/ 32 w 138"/>
                    <a:gd name="T57" fmla="*/ 128 h 218"/>
                    <a:gd name="T58" fmla="*/ 16 w 138"/>
                    <a:gd name="T59" fmla="*/ 162 h 218"/>
                    <a:gd name="T60" fmla="*/ 22 w 138"/>
                    <a:gd name="T61" fmla="*/ 209 h 218"/>
                    <a:gd name="T62" fmla="*/ 22 w 138"/>
                    <a:gd name="T63" fmla="*/ 217 h 218"/>
                    <a:gd name="T64" fmla="*/ 32 w 138"/>
                    <a:gd name="T65" fmla="*/ 21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5" name="Freeform 195">
                  <a:extLst>
                    <a:ext uri="{FF2B5EF4-FFF2-40B4-BE49-F238E27FC236}">
                      <a16:creationId xmlns:a16="http://schemas.microsoft.com/office/drawing/2014/main" id="{2698F01A-2E4C-42F2-BEF1-AF1247F70B9B}"/>
                    </a:ext>
                  </a:extLst>
                </p:cNvPr>
                <p:cNvSpPr>
                  <a:spLocks/>
                </p:cNvSpPr>
                <p:nvPr/>
              </p:nvSpPr>
              <p:spPr bwMode="gray">
                <a:xfrm>
                  <a:off x="5420027" y="5561386"/>
                  <a:ext cx="27031" cy="26602"/>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Lst>
                  <a:ahLst/>
                  <a:cxnLst>
                    <a:cxn ang="0">
                      <a:pos x="T0" y="T1"/>
                    </a:cxn>
                    <a:cxn ang="0">
                      <a:pos x="T2" y="T3"/>
                    </a:cxn>
                    <a:cxn ang="0">
                      <a:pos x="T4" y="T5"/>
                    </a:cxn>
                    <a:cxn ang="0">
                      <a:pos x="T6" y="T7"/>
                    </a:cxn>
                    <a:cxn ang="0">
                      <a:pos x="T8" y="T9"/>
                    </a:cxn>
                    <a:cxn ang="0">
                      <a:pos x="T10" y="T11"/>
                    </a:cxn>
                  </a:cxnLst>
                  <a:rect l="0" t="0" r="r" b="b"/>
                  <a:pathLst>
                    <a:path w="17" h="18">
                      <a:moveTo>
                        <a:pt x="16" y="8"/>
                      </a:moveTo>
                      <a:lnTo>
                        <a:pt x="16" y="0"/>
                      </a:lnTo>
                      <a:lnTo>
                        <a:pt x="9" y="0"/>
                      </a:lnTo>
                      <a:lnTo>
                        <a:pt x="0" y="8"/>
                      </a:lnTo>
                      <a:lnTo>
                        <a:pt x="9" y="17"/>
                      </a:lnTo>
                      <a:lnTo>
                        <a:pt x="16"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6" name="Freeform 196">
                  <a:extLst>
                    <a:ext uri="{FF2B5EF4-FFF2-40B4-BE49-F238E27FC236}">
                      <a16:creationId xmlns:a16="http://schemas.microsoft.com/office/drawing/2014/main" id="{047104B6-456E-4980-3A09-52AC51D0D105}"/>
                    </a:ext>
                  </a:extLst>
                </p:cNvPr>
                <p:cNvSpPr>
                  <a:spLocks/>
                </p:cNvSpPr>
                <p:nvPr/>
              </p:nvSpPr>
              <p:spPr bwMode="gray">
                <a:xfrm>
                  <a:off x="5420027" y="5561386"/>
                  <a:ext cx="27031" cy="26602"/>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Lst>
                  <a:ahLst/>
                  <a:cxnLst>
                    <a:cxn ang="0">
                      <a:pos x="T0" y="T1"/>
                    </a:cxn>
                    <a:cxn ang="0">
                      <a:pos x="T2" y="T3"/>
                    </a:cxn>
                    <a:cxn ang="0">
                      <a:pos x="T4" y="T5"/>
                    </a:cxn>
                    <a:cxn ang="0">
                      <a:pos x="T6" y="T7"/>
                    </a:cxn>
                    <a:cxn ang="0">
                      <a:pos x="T8" y="T9"/>
                    </a:cxn>
                    <a:cxn ang="0">
                      <a:pos x="T10" y="T11"/>
                    </a:cxn>
                  </a:cxnLst>
                  <a:rect l="0" t="0" r="r" b="b"/>
                  <a:pathLst>
                    <a:path w="17" h="18">
                      <a:moveTo>
                        <a:pt x="16" y="8"/>
                      </a:moveTo>
                      <a:lnTo>
                        <a:pt x="16" y="0"/>
                      </a:lnTo>
                      <a:lnTo>
                        <a:pt x="9" y="0"/>
                      </a:lnTo>
                      <a:lnTo>
                        <a:pt x="0" y="8"/>
                      </a:lnTo>
                      <a:lnTo>
                        <a:pt x="9" y="17"/>
                      </a:lnTo>
                      <a:lnTo>
                        <a:pt x="16"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7" name="Freeform 239">
                  <a:extLst>
                    <a:ext uri="{FF2B5EF4-FFF2-40B4-BE49-F238E27FC236}">
                      <a16:creationId xmlns:a16="http://schemas.microsoft.com/office/drawing/2014/main" id="{C003C7B1-1ACD-EB04-2DAC-A4D058C585A3}"/>
                    </a:ext>
                  </a:extLst>
                </p:cNvPr>
                <p:cNvSpPr>
                  <a:spLocks/>
                </p:cNvSpPr>
                <p:nvPr/>
              </p:nvSpPr>
              <p:spPr bwMode="gray">
                <a:xfrm>
                  <a:off x="5669739" y="5278899"/>
                  <a:ext cx="137728" cy="272353"/>
                </a:xfrm>
                <a:custGeom>
                  <a:avLst/>
                  <a:gdLst>
                    <a:gd name="T0" fmla="*/ 0 w 90"/>
                    <a:gd name="T1" fmla="*/ 129 h 180"/>
                    <a:gd name="T2" fmla="*/ 9 w 90"/>
                    <a:gd name="T3" fmla="*/ 163 h 180"/>
                    <a:gd name="T4" fmla="*/ 17 w 90"/>
                    <a:gd name="T5" fmla="*/ 179 h 180"/>
                    <a:gd name="T6" fmla="*/ 40 w 90"/>
                    <a:gd name="T7" fmla="*/ 179 h 180"/>
                    <a:gd name="T8" fmla="*/ 49 w 90"/>
                    <a:gd name="T9" fmla="*/ 170 h 180"/>
                    <a:gd name="T10" fmla="*/ 74 w 90"/>
                    <a:gd name="T11" fmla="*/ 80 h 180"/>
                    <a:gd name="T12" fmla="*/ 82 w 90"/>
                    <a:gd name="T13" fmla="*/ 40 h 180"/>
                    <a:gd name="T14" fmla="*/ 89 w 90"/>
                    <a:gd name="T15" fmla="*/ 49 h 180"/>
                    <a:gd name="T16" fmla="*/ 89 w 90"/>
                    <a:gd name="T17" fmla="*/ 40 h 180"/>
                    <a:gd name="T18" fmla="*/ 82 w 90"/>
                    <a:gd name="T19" fmla="*/ 8 h 180"/>
                    <a:gd name="T20" fmla="*/ 74 w 90"/>
                    <a:gd name="T21" fmla="*/ 0 h 180"/>
                    <a:gd name="T22" fmla="*/ 65 w 90"/>
                    <a:gd name="T23" fmla="*/ 17 h 180"/>
                    <a:gd name="T24" fmla="*/ 57 w 90"/>
                    <a:gd name="T25" fmla="*/ 17 h 180"/>
                    <a:gd name="T26" fmla="*/ 57 w 90"/>
                    <a:gd name="T27" fmla="*/ 32 h 180"/>
                    <a:gd name="T28" fmla="*/ 17 w 90"/>
                    <a:gd name="T29" fmla="*/ 57 h 180"/>
                    <a:gd name="T30" fmla="*/ 9 w 90"/>
                    <a:gd name="T31" fmla="*/ 73 h 180"/>
                    <a:gd name="T32" fmla="*/ 17 w 90"/>
                    <a:gd name="T33" fmla="*/ 105 h 180"/>
                    <a:gd name="T34" fmla="*/ 0 w 90"/>
                    <a:gd name="T35" fmla="*/ 12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8" name="Freeform 273">
                  <a:extLst>
                    <a:ext uri="{FF2B5EF4-FFF2-40B4-BE49-F238E27FC236}">
                      <a16:creationId xmlns:a16="http://schemas.microsoft.com/office/drawing/2014/main" id="{2BFA521A-A900-6DFB-F2D4-CEC22E978C35}"/>
                    </a:ext>
                  </a:extLst>
                </p:cNvPr>
                <p:cNvSpPr>
                  <a:spLocks/>
                </p:cNvSpPr>
                <p:nvPr/>
              </p:nvSpPr>
              <p:spPr bwMode="gray">
                <a:xfrm>
                  <a:off x="5443197" y="4309828"/>
                  <a:ext cx="54061" cy="27868"/>
                </a:xfrm>
                <a:custGeom>
                  <a:avLst/>
                  <a:gdLst>
                    <a:gd name="T0" fmla="*/ 0 w 35"/>
                    <a:gd name="T1" fmla="*/ 8 h 18"/>
                    <a:gd name="T2" fmla="*/ 10 w 35"/>
                    <a:gd name="T3" fmla="*/ 17 h 18"/>
                    <a:gd name="T4" fmla="*/ 18 w 35"/>
                    <a:gd name="T5" fmla="*/ 17 h 18"/>
                    <a:gd name="T6" fmla="*/ 25 w 35"/>
                    <a:gd name="T7" fmla="*/ 8 h 18"/>
                    <a:gd name="T8" fmla="*/ 34 w 35"/>
                    <a:gd name="T9" fmla="*/ 0 h 18"/>
                    <a:gd name="T10" fmla="*/ 0 w 35"/>
                    <a:gd name="T11" fmla="*/ 8 h 18"/>
                  </a:gdLst>
                  <a:ahLst/>
                  <a:cxnLst>
                    <a:cxn ang="0">
                      <a:pos x="T0" y="T1"/>
                    </a:cxn>
                    <a:cxn ang="0">
                      <a:pos x="T2" y="T3"/>
                    </a:cxn>
                    <a:cxn ang="0">
                      <a:pos x="T4" y="T5"/>
                    </a:cxn>
                    <a:cxn ang="0">
                      <a:pos x="T6" y="T7"/>
                    </a:cxn>
                    <a:cxn ang="0">
                      <a:pos x="T8" y="T9"/>
                    </a:cxn>
                    <a:cxn ang="0">
                      <a:pos x="T10" y="T11"/>
                    </a:cxn>
                  </a:cxnLst>
                  <a:rect l="0" t="0" r="r" b="b"/>
                  <a:pathLst>
                    <a:path w="35" h="18">
                      <a:moveTo>
                        <a:pt x="0" y="8"/>
                      </a:moveTo>
                      <a:lnTo>
                        <a:pt x="10" y="17"/>
                      </a:lnTo>
                      <a:lnTo>
                        <a:pt x="18" y="17"/>
                      </a:lnTo>
                      <a:lnTo>
                        <a:pt x="25" y="8"/>
                      </a:lnTo>
                      <a:lnTo>
                        <a:pt x="34" y="0"/>
                      </a:lnTo>
                      <a:lnTo>
                        <a:pt x="0"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19" name="Freeform 313">
                  <a:extLst>
                    <a:ext uri="{FF2B5EF4-FFF2-40B4-BE49-F238E27FC236}">
                      <a16:creationId xmlns:a16="http://schemas.microsoft.com/office/drawing/2014/main" id="{CEC1F5B0-289E-5477-0CFE-B1FE8313A980}"/>
                    </a:ext>
                  </a:extLst>
                </p:cNvPr>
                <p:cNvSpPr>
                  <a:spLocks/>
                </p:cNvSpPr>
                <p:nvPr/>
              </p:nvSpPr>
              <p:spPr bwMode="gray">
                <a:xfrm>
                  <a:off x="5346659" y="5610790"/>
                  <a:ext cx="50200" cy="49404"/>
                </a:xfrm>
                <a:custGeom>
                  <a:avLst/>
                  <a:gdLst>
                    <a:gd name="T0" fmla="*/ 32 w 33"/>
                    <a:gd name="T1" fmla="*/ 15 h 33"/>
                    <a:gd name="T2" fmla="*/ 23 w 33"/>
                    <a:gd name="T3" fmla="*/ 25 h 33"/>
                    <a:gd name="T4" fmla="*/ 8 w 33"/>
                    <a:gd name="T5" fmla="*/ 32 h 33"/>
                    <a:gd name="T6" fmla="*/ 0 w 33"/>
                    <a:gd name="T7" fmla="*/ 25 h 33"/>
                    <a:gd name="T8" fmla="*/ 16 w 33"/>
                    <a:gd name="T9" fmla="*/ 0 h 33"/>
                    <a:gd name="T10" fmla="*/ 23 w 33"/>
                    <a:gd name="T11" fmla="*/ 7 h 33"/>
                    <a:gd name="T12" fmla="*/ 32 w 3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32" y="15"/>
                      </a:moveTo>
                      <a:lnTo>
                        <a:pt x="23" y="25"/>
                      </a:lnTo>
                      <a:lnTo>
                        <a:pt x="8" y="32"/>
                      </a:lnTo>
                      <a:lnTo>
                        <a:pt x="0" y="25"/>
                      </a:lnTo>
                      <a:lnTo>
                        <a:pt x="16" y="0"/>
                      </a:lnTo>
                      <a:lnTo>
                        <a:pt x="23" y="7"/>
                      </a:lnTo>
                      <a:lnTo>
                        <a:pt x="32" y="1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20" name="Freeform 325">
                  <a:extLst>
                    <a:ext uri="{FF2B5EF4-FFF2-40B4-BE49-F238E27FC236}">
                      <a16:creationId xmlns:a16="http://schemas.microsoft.com/office/drawing/2014/main" id="{563FD5F1-B286-FABE-2AAF-1FE8DCE8821D}"/>
                    </a:ext>
                  </a:extLst>
                </p:cNvPr>
                <p:cNvSpPr>
                  <a:spLocks/>
                </p:cNvSpPr>
                <p:nvPr/>
              </p:nvSpPr>
              <p:spPr bwMode="gray">
                <a:xfrm>
                  <a:off x="5082787" y="4579648"/>
                  <a:ext cx="200799" cy="320490"/>
                </a:xfrm>
                <a:custGeom>
                  <a:avLst/>
                  <a:gdLst>
                    <a:gd name="T0" fmla="*/ 17 w 130"/>
                    <a:gd name="T1" fmla="*/ 8 h 212"/>
                    <a:gd name="T2" fmla="*/ 17 w 130"/>
                    <a:gd name="T3" fmla="*/ 24 h 212"/>
                    <a:gd name="T4" fmla="*/ 32 w 130"/>
                    <a:gd name="T5" fmla="*/ 40 h 212"/>
                    <a:gd name="T6" fmla="*/ 25 w 130"/>
                    <a:gd name="T7" fmla="*/ 89 h 212"/>
                    <a:gd name="T8" fmla="*/ 0 w 130"/>
                    <a:gd name="T9" fmla="*/ 120 h 212"/>
                    <a:gd name="T10" fmla="*/ 0 w 130"/>
                    <a:gd name="T11" fmla="*/ 130 h 212"/>
                    <a:gd name="T12" fmla="*/ 8 w 130"/>
                    <a:gd name="T13" fmla="*/ 137 h 212"/>
                    <a:gd name="T14" fmla="*/ 8 w 130"/>
                    <a:gd name="T15" fmla="*/ 145 h 212"/>
                    <a:gd name="T16" fmla="*/ 25 w 130"/>
                    <a:gd name="T17" fmla="*/ 177 h 212"/>
                    <a:gd name="T18" fmla="*/ 8 w 130"/>
                    <a:gd name="T19" fmla="*/ 177 h 212"/>
                    <a:gd name="T20" fmla="*/ 8 w 130"/>
                    <a:gd name="T21" fmla="*/ 186 h 212"/>
                    <a:gd name="T22" fmla="*/ 17 w 130"/>
                    <a:gd name="T23" fmla="*/ 193 h 212"/>
                    <a:gd name="T24" fmla="*/ 25 w 130"/>
                    <a:gd name="T25" fmla="*/ 211 h 212"/>
                    <a:gd name="T26" fmla="*/ 65 w 130"/>
                    <a:gd name="T27" fmla="*/ 202 h 212"/>
                    <a:gd name="T28" fmla="*/ 73 w 130"/>
                    <a:gd name="T29" fmla="*/ 193 h 212"/>
                    <a:gd name="T30" fmla="*/ 65 w 130"/>
                    <a:gd name="T31" fmla="*/ 193 h 212"/>
                    <a:gd name="T32" fmla="*/ 88 w 130"/>
                    <a:gd name="T33" fmla="*/ 186 h 212"/>
                    <a:gd name="T34" fmla="*/ 106 w 130"/>
                    <a:gd name="T35" fmla="*/ 170 h 212"/>
                    <a:gd name="T36" fmla="*/ 113 w 130"/>
                    <a:gd name="T37" fmla="*/ 162 h 212"/>
                    <a:gd name="T38" fmla="*/ 122 w 130"/>
                    <a:gd name="T39" fmla="*/ 162 h 212"/>
                    <a:gd name="T40" fmla="*/ 106 w 130"/>
                    <a:gd name="T41" fmla="*/ 137 h 212"/>
                    <a:gd name="T42" fmla="*/ 122 w 130"/>
                    <a:gd name="T43" fmla="*/ 105 h 212"/>
                    <a:gd name="T44" fmla="*/ 129 w 130"/>
                    <a:gd name="T45" fmla="*/ 105 h 212"/>
                    <a:gd name="T46" fmla="*/ 129 w 130"/>
                    <a:gd name="T47" fmla="*/ 96 h 212"/>
                    <a:gd name="T48" fmla="*/ 129 w 130"/>
                    <a:gd name="T49" fmla="*/ 55 h 212"/>
                    <a:gd name="T50" fmla="*/ 32 w 130"/>
                    <a:gd name="T51" fmla="*/ 0 h 212"/>
                    <a:gd name="T52" fmla="*/ 17 w 130"/>
                    <a:gd name="T53" fmla="*/ 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21" name="Freeform 326">
                  <a:extLst>
                    <a:ext uri="{FF2B5EF4-FFF2-40B4-BE49-F238E27FC236}">
                      <a16:creationId xmlns:a16="http://schemas.microsoft.com/office/drawing/2014/main" id="{28774AD4-28BB-EC3B-4601-E30C0403E9CA}"/>
                    </a:ext>
                  </a:extLst>
                </p:cNvPr>
                <p:cNvSpPr>
                  <a:spLocks/>
                </p:cNvSpPr>
                <p:nvPr/>
              </p:nvSpPr>
              <p:spPr bwMode="gray">
                <a:xfrm>
                  <a:off x="4709507" y="4745593"/>
                  <a:ext cx="150599" cy="114008"/>
                </a:xfrm>
                <a:custGeom>
                  <a:avLst/>
                  <a:gdLst>
                    <a:gd name="T0" fmla="*/ 0 w 98"/>
                    <a:gd name="T1" fmla="*/ 58 h 75"/>
                    <a:gd name="T2" fmla="*/ 6 w 98"/>
                    <a:gd name="T3" fmla="*/ 50 h 75"/>
                    <a:gd name="T4" fmla="*/ 23 w 98"/>
                    <a:gd name="T5" fmla="*/ 25 h 75"/>
                    <a:gd name="T6" fmla="*/ 40 w 98"/>
                    <a:gd name="T7" fmla="*/ 18 h 75"/>
                    <a:gd name="T8" fmla="*/ 56 w 98"/>
                    <a:gd name="T9" fmla="*/ 0 h 75"/>
                    <a:gd name="T10" fmla="*/ 72 w 98"/>
                    <a:gd name="T11" fmla="*/ 0 h 75"/>
                    <a:gd name="T12" fmla="*/ 72 w 98"/>
                    <a:gd name="T13" fmla="*/ 18 h 75"/>
                    <a:gd name="T14" fmla="*/ 88 w 98"/>
                    <a:gd name="T15" fmla="*/ 33 h 75"/>
                    <a:gd name="T16" fmla="*/ 97 w 98"/>
                    <a:gd name="T17" fmla="*/ 33 h 75"/>
                    <a:gd name="T18" fmla="*/ 97 w 98"/>
                    <a:gd name="T19" fmla="*/ 40 h 75"/>
                    <a:gd name="T20" fmla="*/ 80 w 98"/>
                    <a:gd name="T21" fmla="*/ 50 h 75"/>
                    <a:gd name="T22" fmla="*/ 63 w 98"/>
                    <a:gd name="T23" fmla="*/ 50 h 75"/>
                    <a:gd name="T24" fmla="*/ 31 w 98"/>
                    <a:gd name="T25" fmla="*/ 50 h 75"/>
                    <a:gd name="T26" fmla="*/ 31 w 98"/>
                    <a:gd name="T27" fmla="*/ 58 h 75"/>
                    <a:gd name="T28" fmla="*/ 31 w 98"/>
                    <a:gd name="T29" fmla="*/ 74 h 75"/>
                    <a:gd name="T30" fmla="*/ 23 w 98"/>
                    <a:gd name="T31" fmla="*/ 65 h 75"/>
                    <a:gd name="T32" fmla="*/ 6 w 98"/>
                    <a:gd name="T33" fmla="*/ 65 h 75"/>
                    <a:gd name="T34" fmla="*/ 0 w 98"/>
                    <a:gd name="T35" fmla="*/ 5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22" name="Freeform 327">
                  <a:extLst>
                    <a:ext uri="{FF2B5EF4-FFF2-40B4-BE49-F238E27FC236}">
                      <a16:creationId xmlns:a16="http://schemas.microsoft.com/office/drawing/2014/main" id="{369D78D9-B7F9-845A-4620-CD6362A60F05}"/>
                    </a:ext>
                  </a:extLst>
                </p:cNvPr>
                <p:cNvSpPr>
                  <a:spLocks/>
                </p:cNvSpPr>
                <p:nvPr/>
              </p:nvSpPr>
              <p:spPr bwMode="gray">
                <a:xfrm>
                  <a:off x="4833076" y="4796264"/>
                  <a:ext cx="50200" cy="124142"/>
                </a:xfrm>
                <a:custGeom>
                  <a:avLst/>
                  <a:gdLst>
                    <a:gd name="T0" fmla="*/ 17 w 33"/>
                    <a:gd name="T1" fmla="*/ 7 h 82"/>
                    <a:gd name="T2" fmla="*/ 0 w 33"/>
                    <a:gd name="T3" fmla="*/ 17 h 82"/>
                    <a:gd name="T4" fmla="*/ 0 w 33"/>
                    <a:gd name="T5" fmla="*/ 25 h 82"/>
                    <a:gd name="T6" fmla="*/ 8 w 33"/>
                    <a:gd name="T7" fmla="*/ 32 h 82"/>
                    <a:gd name="T8" fmla="*/ 8 w 33"/>
                    <a:gd name="T9" fmla="*/ 48 h 82"/>
                    <a:gd name="T10" fmla="*/ 8 w 33"/>
                    <a:gd name="T11" fmla="*/ 81 h 82"/>
                    <a:gd name="T12" fmla="*/ 23 w 33"/>
                    <a:gd name="T13" fmla="*/ 81 h 82"/>
                    <a:gd name="T14" fmla="*/ 23 w 33"/>
                    <a:gd name="T15" fmla="*/ 57 h 82"/>
                    <a:gd name="T16" fmla="*/ 32 w 33"/>
                    <a:gd name="T17" fmla="*/ 25 h 82"/>
                    <a:gd name="T18" fmla="*/ 32 w 33"/>
                    <a:gd name="T19" fmla="*/ 7 h 82"/>
                    <a:gd name="T20" fmla="*/ 23 w 33"/>
                    <a:gd name="T21" fmla="*/ 0 h 82"/>
                    <a:gd name="T22" fmla="*/ 17 w 33"/>
                    <a:gd name="T23" fmla="*/ 0 h 82"/>
                    <a:gd name="T24" fmla="*/ 17 w 33"/>
                    <a:gd name="T25"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323" name="Freeform 169">
                  <a:extLst>
                    <a:ext uri="{FF2B5EF4-FFF2-40B4-BE49-F238E27FC236}">
                      <a16:creationId xmlns:a16="http://schemas.microsoft.com/office/drawing/2014/main" id="{19CBE9DA-89C7-21CC-D086-359EC1196BB7}"/>
                    </a:ext>
                  </a:extLst>
                </p:cNvPr>
                <p:cNvSpPr>
                  <a:spLocks/>
                </p:cNvSpPr>
                <p:nvPr/>
              </p:nvSpPr>
              <p:spPr bwMode="gray">
                <a:xfrm>
                  <a:off x="4960506" y="4273093"/>
                  <a:ext cx="73369" cy="162146"/>
                </a:xfrm>
                <a:custGeom>
                  <a:avLst/>
                  <a:gdLst>
                    <a:gd name="T0" fmla="*/ 47 w 48"/>
                    <a:gd name="T1" fmla="*/ 66 h 107"/>
                    <a:gd name="T2" fmla="*/ 47 w 48"/>
                    <a:gd name="T3" fmla="*/ 72 h 107"/>
                    <a:gd name="T4" fmla="*/ 31 w 48"/>
                    <a:gd name="T5" fmla="*/ 90 h 107"/>
                    <a:gd name="T6" fmla="*/ 31 w 48"/>
                    <a:gd name="T7" fmla="*/ 97 h 107"/>
                    <a:gd name="T8" fmla="*/ 25 w 48"/>
                    <a:gd name="T9" fmla="*/ 106 h 107"/>
                    <a:gd name="T10" fmla="*/ 25 w 48"/>
                    <a:gd name="T11" fmla="*/ 81 h 107"/>
                    <a:gd name="T12" fmla="*/ 6 w 48"/>
                    <a:gd name="T13" fmla="*/ 72 h 107"/>
                    <a:gd name="T14" fmla="*/ 0 w 48"/>
                    <a:gd name="T15" fmla="*/ 56 h 107"/>
                    <a:gd name="T16" fmla="*/ 15 w 48"/>
                    <a:gd name="T17" fmla="*/ 41 h 107"/>
                    <a:gd name="T18" fmla="*/ 6 w 48"/>
                    <a:gd name="T19" fmla="*/ 9 h 107"/>
                    <a:gd name="T20" fmla="*/ 15 w 48"/>
                    <a:gd name="T21" fmla="*/ 0 h 107"/>
                    <a:gd name="T22" fmla="*/ 31 w 48"/>
                    <a:gd name="T23" fmla="*/ 0 h 107"/>
                    <a:gd name="T24" fmla="*/ 40 w 48"/>
                    <a:gd name="T25" fmla="*/ 9 h 107"/>
                    <a:gd name="T26" fmla="*/ 47 w 48"/>
                    <a:gd name="T27" fmla="*/ 0 h 107"/>
                    <a:gd name="T28" fmla="*/ 40 w 48"/>
                    <a:gd name="T29" fmla="*/ 16 h 107"/>
                    <a:gd name="T30" fmla="*/ 47 w 48"/>
                    <a:gd name="T31" fmla="*/ 32 h 107"/>
                    <a:gd name="T32" fmla="*/ 31 w 48"/>
                    <a:gd name="T33" fmla="*/ 49 h 107"/>
                    <a:gd name="T34" fmla="*/ 31 w 48"/>
                    <a:gd name="T35" fmla="*/ 56 h 107"/>
                    <a:gd name="T36" fmla="*/ 47 w 48"/>
                    <a:gd name="T37" fmla="*/ 56 h 107"/>
                    <a:gd name="T38" fmla="*/ 47 w 48"/>
                    <a:gd name="T39" fmla="*/ 6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grpSp>
        </p:grpSp>
        <p:grpSp>
          <p:nvGrpSpPr>
            <p:cNvPr id="55" name="Gruppieren 244">
              <a:extLst>
                <a:ext uri="{FF2B5EF4-FFF2-40B4-BE49-F238E27FC236}">
                  <a16:creationId xmlns:a16="http://schemas.microsoft.com/office/drawing/2014/main" id="{81BA1A1F-7BB1-77DB-AF87-39851401F770}"/>
                </a:ext>
              </a:extLst>
            </p:cNvPr>
            <p:cNvGrpSpPr/>
            <p:nvPr/>
          </p:nvGrpSpPr>
          <p:grpSpPr>
            <a:xfrm>
              <a:off x="1441569" y="1616873"/>
              <a:ext cx="2400102" cy="4260399"/>
              <a:chOff x="1441569" y="1616873"/>
              <a:chExt cx="2400102" cy="4260399"/>
            </a:xfrm>
            <a:solidFill>
              <a:srgbClr val="D0D0D0"/>
            </a:solidFill>
          </p:grpSpPr>
          <p:sp>
            <p:nvSpPr>
              <p:cNvPr id="56" name="Freeform 3">
                <a:extLst>
                  <a:ext uri="{FF2B5EF4-FFF2-40B4-BE49-F238E27FC236}">
                    <a16:creationId xmlns:a16="http://schemas.microsoft.com/office/drawing/2014/main" id="{3BD75B50-D8FD-6751-0811-47A09ACAA3FF}"/>
                  </a:ext>
                </a:extLst>
              </p:cNvPr>
              <p:cNvSpPr>
                <a:spLocks/>
              </p:cNvSpPr>
              <p:nvPr/>
            </p:nvSpPr>
            <p:spPr bwMode="gray">
              <a:xfrm>
                <a:off x="2321293" y="2542247"/>
                <a:ext cx="333282" cy="297835"/>
              </a:xfrm>
              <a:custGeom>
                <a:avLst/>
                <a:gdLst>
                  <a:gd name="T0" fmla="*/ 0 w 237"/>
                  <a:gd name="T1" fmla="*/ 89 h 203"/>
                  <a:gd name="T2" fmla="*/ 16 w 237"/>
                  <a:gd name="T3" fmla="*/ 97 h 203"/>
                  <a:gd name="T4" fmla="*/ 9 w 237"/>
                  <a:gd name="T5" fmla="*/ 114 h 203"/>
                  <a:gd name="T6" fmla="*/ 25 w 237"/>
                  <a:gd name="T7" fmla="*/ 121 h 203"/>
                  <a:gd name="T8" fmla="*/ 65 w 237"/>
                  <a:gd name="T9" fmla="*/ 121 h 203"/>
                  <a:gd name="T10" fmla="*/ 81 w 237"/>
                  <a:gd name="T11" fmla="*/ 139 h 203"/>
                  <a:gd name="T12" fmla="*/ 65 w 237"/>
                  <a:gd name="T13" fmla="*/ 146 h 203"/>
                  <a:gd name="T14" fmla="*/ 25 w 237"/>
                  <a:gd name="T15" fmla="*/ 146 h 203"/>
                  <a:gd name="T16" fmla="*/ 34 w 237"/>
                  <a:gd name="T17" fmla="*/ 170 h 203"/>
                  <a:gd name="T18" fmla="*/ 49 w 237"/>
                  <a:gd name="T19" fmla="*/ 177 h 203"/>
                  <a:gd name="T20" fmla="*/ 65 w 237"/>
                  <a:gd name="T21" fmla="*/ 177 h 203"/>
                  <a:gd name="T22" fmla="*/ 74 w 237"/>
                  <a:gd name="T23" fmla="*/ 202 h 203"/>
                  <a:gd name="T24" fmla="*/ 114 w 237"/>
                  <a:gd name="T25" fmla="*/ 195 h 203"/>
                  <a:gd name="T26" fmla="*/ 155 w 237"/>
                  <a:gd name="T27" fmla="*/ 177 h 203"/>
                  <a:gd name="T28" fmla="*/ 162 w 237"/>
                  <a:gd name="T29" fmla="*/ 170 h 203"/>
                  <a:gd name="T30" fmla="*/ 196 w 237"/>
                  <a:gd name="T31" fmla="*/ 195 h 203"/>
                  <a:gd name="T32" fmla="*/ 211 w 237"/>
                  <a:gd name="T33" fmla="*/ 186 h 203"/>
                  <a:gd name="T34" fmla="*/ 220 w 237"/>
                  <a:gd name="T35" fmla="*/ 177 h 203"/>
                  <a:gd name="T36" fmla="*/ 220 w 237"/>
                  <a:gd name="T37" fmla="*/ 162 h 203"/>
                  <a:gd name="T38" fmla="*/ 227 w 237"/>
                  <a:gd name="T39" fmla="*/ 162 h 203"/>
                  <a:gd name="T40" fmla="*/ 236 w 237"/>
                  <a:gd name="T41" fmla="*/ 146 h 203"/>
                  <a:gd name="T42" fmla="*/ 196 w 237"/>
                  <a:gd name="T43" fmla="*/ 121 h 203"/>
                  <a:gd name="T44" fmla="*/ 180 w 237"/>
                  <a:gd name="T45" fmla="*/ 114 h 203"/>
                  <a:gd name="T46" fmla="*/ 180 w 237"/>
                  <a:gd name="T47" fmla="*/ 89 h 203"/>
                  <a:gd name="T48" fmla="*/ 171 w 237"/>
                  <a:gd name="T49" fmla="*/ 49 h 203"/>
                  <a:gd name="T50" fmla="*/ 186 w 237"/>
                  <a:gd name="T51" fmla="*/ 8 h 203"/>
                  <a:gd name="T52" fmla="*/ 180 w 237"/>
                  <a:gd name="T53" fmla="*/ 0 h 203"/>
                  <a:gd name="T54" fmla="*/ 155 w 237"/>
                  <a:gd name="T55" fmla="*/ 0 h 203"/>
                  <a:gd name="T56" fmla="*/ 139 w 237"/>
                  <a:gd name="T57" fmla="*/ 40 h 203"/>
                  <a:gd name="T58" fmla="*/ 121 w 237"/>
                  <a:gd name="T59" fmla="*/ 33 h 203"/>
                  <a:gd name="T60" fmla="*/ 106 w 237"/>
                  <a:gd name="T61" fmla="*/ 33 h 203"/>
                  <a:gd name="T62" fmla="*/ 89 w 237"/>
                  <a:gd name="T63" fmla="*/ 25 h 203"/>
                  <a:gd name="T64" fmla="*/ 74 w 237"/>
                  <a:gd name="T65" fmla="*/ 40 h 203"/>
                  <a:gd name="T66" fmla="*/ 65 w 237"/>
                  <a:gd name="T67" fmla="*/ 15 h 203"/>
                  <a:gd name="T68" fmla="*/ 49 w 237"/>
                  <a:gd name="T69" fmla="*/ 15 h 203"/>
                  <a:gd name="T70" fmla="*/ 9 w 237"/>
                  <a:gd name="T71" fmla="*/ 49 h 203"/>
                  <a:gd name="T72" fmla="*/ 9 w 237"/>
                  <a:gd name="T73" fmla="*/ 56 h 203"/>
                  <a:gd name="T74" fmla="*/ 0 w 237"/>
                  <a:gd name="T75" fmla="*/ 74 h 203"/>
                  <a:gd name="T76" fmla="*/ 0 w 237"/>
                  <a:gd name="T77" fmla="*/ 8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7" name="Freeform 4">
                <a:extLst>
                  <a:ext uri="{FF2B5EF4-FFF2-40B4-BE49-F238E27FC236}">
                    <a16:creationId xmlns:a16="http://schemas.microsoft.com/office/drawing/2014/main" id="{9A1BD5DB-A000-B9F0-81E5-5A91BAB134D3}"/>
                  </a:ext>
                </a:extLst>
              </p:cNvPr>
              <p:cNvSpPr>
                <a:spLocks/>
              </p:cNvSpPr>
              <p:nvPr/>
            </p:nvSpPr>
            <p:spPr bwMode="gray">
              <a:xfrm>
                <a:off x="2846536" y="2528766"/>
                <a:ext cx="516999" cy="606703"/>
              </a:xfrm>
              <a:custGeom>
                <a:avLst/>
                <a:gdLst>
                  <a:gd name="T0" fmla="*/ 34 w 367"/>
                  <a:gd name="T1" fmla="*/ 148 h 414"/>
                  <a:gd name="T2" fmla="*/ 99 w 367"/>
                  <a:gd name="T3" fmla="*/ 163 h 414"/>
                  <a:gd name="T4" fmla="*/ 131 w 367"/>
                  <a:gd name="T5" fmla="*/ 171 h 414"/>
                  <a:gd name="T6" fmla="*/ 146 w 367"/>
                  <a:gd name="T7" fmla="*/ 148 h 414"/>
                  <a:gd name="T8" fmla="*/ 179 w 367"/>
                  <a:gd name="T9" fmla="*/ 186 h 414"/>
                  <a:gd name="T10" fmla="*/ 187 w 367"/>
                  <a:gd name="T11" fmla="*/ 195 h 414"/>
                  <a:gd name="T12" fmla="*/ 211 w 367"/>
                  <a:gd name="T13" fmla="*/ 226 h 414"/>
                  <a:gd name="T14" fmla="*/ 196 w 367"/>
                  <a:gd name="T15" fmla="*/ 292 h 414"/>
                  <a:gd name="T16" fmla="*/ 196 w 367"/>
                  <a:gd name="T17" fmla="*/ 317 h 414"/>
                  <a:gd name="T18" fmla="*/ 155 w 367"/>
                  <a:gd name="T19" fmla="*/ 325 h 414"/>
                  <a:gd name="T20" fmla="*/ 146 w 367"/>
                  <a:gd name="T21" fmla="*/ 350 h 414"/>
                  <a:gd name="T22" fmla="*/ 179 w 367"/>
                  <a:gd name="T23" fmla="*/ 341 h 414"/>
                  <a:gd name="T24" fmla="*/ 227 w 367"/>
                  <a:gd name="T25" fmla="*/ 365 h 414"/>
                  <a:gd name="T26" fmla="*/ 261 w 367"/>
                  <a:gd name="T27" fmla="*/ 397 h 414"/>
                  <a:gd name="T28" fmla="*/ 301 w 367"/>
                  <a:gd name="T29" fmla="*/ 413 h 414"/>
                  <a:gd name="T30" fmla="*/ 268 w 367"/>
                  <a:gd name="T31" fmla="*/ 373 h 414"/>
                  <a:gd name="T32" fmla="*/ 310 w 367"/>
                  <a:gd name="T33" fmla="*/ 390 h 414"/>
                  <a:gd name="T34" fmla="*/ 326 w 367"/>
                  <a:gd name="T35" fmla="*/ 365 h 414"/>
                  <a:gd name="T36" fmla="*/ 317 w 367"/>
                  <a:gd name="T37" fmla="*/ 341 h 414"/>
                  <a:gd name="T38" fmla="*/ 285 w 367"/>
                  <a:gd name="T39" fmla="*/ 300 h 414"/>
                  <a:gd name="T40" fmla="*/ 310 w 367"/>
                  <a:gd name="T41" fmla="*/ 300 h 414"/>
                  <a:gd name="T42" fmla="*/ 333 w 367"/>
                  <a:gd name="T43" fmla="*/ 325 h 414"/>
                  <a:gd name="T44" fmla="*/ 350 w 367"/>
                  <a:gd name="T45" fmla="*/ 308 h 414"/>
                  <a:gd name="T46" fmla="*/ 317 w 367"/>
                  <a:gd name="T47" fmla="*/ 226 h 414"/>
                  <a:gd name="T48" fmla="*/ 276 w 367"/>
                  <a:gd name="T49" fmla="*/ 211 h 414"/>
                  <a:gd name="T50" fmla="*/ 293 w 367"/>
                  <a:gd name="T51" fmla="*/ 186 h 414"/>
                  <a:gd name="T52" fmla="*/ 285 w 367"/>
                  <a:gd name="T53" fmla="*/ 163 h 414"/>
                  <a:gd name="T54" fmla="*/ 251 w 367"/>
                  <a:gd name="T55" fmla="*/ 130 h 414"/>
                  <a:gd name="T56" fmla="*/ 220 w 367"/>
                  <a:gd name="T57" fmla="*/ 98 h 414"/>
                  <a:gd name="T58" fmla="*/ 196 w 367"/>
                  <a:gd name="T59" fmla="*/ 58 h 414"/>
                  <a:gd name="T60" fmla="*/ 155 w 367"/>
                  <a:gd name="T61" fmla="*/ 49 h 414"/>
                  <a:gd name="T62" fmla="*/ 122 w 367"/>
                  <a:gd name="T63" fmla="*/ 58 h 414"/>
                  <a:gd name="T64" fmla="*/ 114 w 367"/>
                  <a:gd name="T65" fmla="*/ 49 h 414"/>
                  <a:gd name="T66" fmla="*/ 106 w 367"/>
                  <a:gd name="T67" fmla="*/ 9 h 414"/>
                  <a:gd name="T68" fmla="*/ 90 w 367"/>
                  <a:gd name="T69" fmla="*/ 0 h 414"/>
                  <a:gd name="T70" fmla="*/ 49 w 367"/>
                  <a:gd name="T71" fmla="*/ 74 h 414"/>
                  <a:gd name="T72" fmla="*/ 40 w 367"/>
                  <a:gd name="T73" fmla="*/ 83 h 414"/>
                  <a:gd name="T74" fmla="*/ 59 w 367"/>
                  <a:gd name="T75" fmla="*/ 17 h 414"/>
                  <a:gd name="T76" fmla="*/ 34 w 367"/>
                  <a:gd name="T77" fmla="*/ 0 h 414"/>
                  <a:gd name="T78" fmla="*/ 0 w 367"/>
                  <a:gd name="T79" fmla="*/ 6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8" name="Freeform 5">
                <a:extLst>
                  <a:ext uri="{FF2B5EF4-FFF2-40B4-BE49-F238E27FC236}">
                    <a16:creationId xmlns:a16="http://schemas.microsoft.com/office/drawing/2014/main" id="{B90166D1-3099-EE46-A209-E77A7E56D779}"/>
                  </a:ext>
                </a:extLst>
              </p:cNvPr>
              <p:cNvSpPr>
                <a:spLocks/>
              </p:cNvSpPr>
              <p:nvPr/>
            </p:nvSpPr>
            <p:spPr bwMode="gray">
              <a:xfrm>
                <a:off x="2220013" y="3552193"/>
                <a:ext cx="1038710" cy="579739"/>
              </a:xfrm>
              <a:custGeom>
                <a:avLst/>
                <a:gdLst>
                  <a:gd name="T0" fmla="*/ 380 w 738"/>
                  <a:gd name="T1" fmla="*/ 0 h 396"/>
                  <a:gd name="T2" fmla="*/ 420 w 738"/>
                  <a:gd name="T3" fmla="*/ 32 h 396"/>
                  <a:gd name="T4" fmla="*/ 429 w 738"/>
                  <a:gd name="T5" fmla="*/ 48 h 396"/>
                  <a:gd name="T6" fmla="*/ 461 w 738"/>
                  <a:gd name="T7" fmla="*/ 56 h 396"/>
                  <a:gd name="T8" fmla="*/ 504 w 738"/>
                  <a:gd name="T9" fmla="*/ 56 h 396"/>
                  <a:gd name="T10" fmla="*/ 519 w 738"/>
                  <a:gd name="T11" fmla="*/ 72 h 396"/>
                  <a:gd name="T12" fmla="*/ 479 w 738"/>
                  <a:gd name="T13" fmla="*/ 88 h 396"/>
                  <a:gd name="T14" fmla="*/ 470 w 738"/>
                  <a:gd name="T15" fmla="*/ 145 h 396"/>
                  <a:gd name="T16" fmla="*/ 485 w 738"/>
                  <a:gd name="T17" fmla="*/ 103 h 396"/>
                  <a:gd name="T18" fmla="*/ 504 w 738"/>
                  <a:gd name="T19" fmla="*/ 72 h 396"/>
                  <a:gd name="T20" fmla="*/ 519 w 738"/>
                  <a:gd name="T21" fmla="*/ 113 h 396"/>
                  <a:gd name="T22" fmla="*/ 544 w 738"/>
                  <a:gd name="T23" fmla="*/ 122 h 396"/>
                  <a:gd name="T24" fmla="*/ 551 w 738"/>
                  <a:gd name="T25" fmla="*/ 145 h 396"/>
                  <a:gd name="T26" fmla="*/ 616 w 738"/>
                  <a:gd name="T27" fmla="*/ 113 h 396"/>
                  <a:gd name="T28" fmla="*/ 672 w 738"/>
                  <a:gd name="T29" fmla="*/ 88 h 396"/>
                  <a:gd name="T30" fmla="*/ 713 w 738"/>
                  <a:gd name="T31" fmla="*/ 48 h 396"/>
                  <a:gd name="T32" fmla="*/ 730 w 738"/>
                  <a:gd name="T33" fmla="*/ 72 h 396"/>
                  <a:gd name="T34" fmla="*/ 730 w 738"/>
                  <a:gd name="T35" fmla="*/ 97 h 396"/>
                  <a:gd name="T36" fmla="*/ 690 w 738"/>
                  <a:gd name="T37" fmla="*/ 145 h 396"/>
                  <a:gd name="T38" fmla="*/ 672 w 738"/>
                  <a:gd name="T39" fmla="*/ 145 h 396"/>
                  <a:gd name="T40" fmla="*/ 641 w 738"/>
                  <a:gd name="T41" fmla="*/ 194 h 396"/>
                  <a:gd name="T42" fmla="*/ 624 w 738"/>
                  <a:gd name="T43" fmla="*/ 218 h 396"/>
                  <a:gd name="T44" fmla="*/ 616 w 738"/>
                  <a:gd name="T45" fmla="*/ 178 h 396"/>
                  <a:gd name="T46" fmla="*/ 624 w 738"/>
                  <a:gd name="T47" fmla="*/ 242 h 396"/>
                  <a:gd name="T48" fmla="*/ 559 w 738"/>
                  <a:gd name="T49" fmla="*/ 299 h 396"/>
                  <a:gd name="T50" fmla="*/ 567 w 738"/>
                  <a:gd name="T51" fmla="*/ 396 h 396"/>
                  <a:gd name="T52" fmla="*/ 535 w 738"/>
                  <a:gd name="T53" fmla="*/ 371 h 396"/>
                  <a:gd name="T54" fmla="*/ 504 w 738"/>
                  <a:gd name="T55" fmla="*/ 331 h 396"/>
                  <a:gd name="T56" fmla="*/ 445 w 738"/>
                  <a:gd name="T57" fmla="*/ 331 h 396"/>
                  <a:gd name="T58" fmla="*/ 420 w 738"/>
                  <a:gd name="T59" fmla="*/ 331 h 396"/>
                  <a:gd name="T60" fmla="*/ 348 w 738"/>
                  <a:gd name="T61" fmla="*/ 364 h 396"/>
                  <a:gd name="T62" fmla="*/ 292 w 738"/>
                  <a:gd name="T63" fmla="*/ 331 h 396"/>
                  <a:gd name="T64" fmla="*/ 268 w 738"/>
                  <a:gd name="T65" fmla="*/ 339 h 396"/>
                  <a:gd name="T66" fmla="*/ 234 w 738"/>
                  <a:gd name="T67" fmla="*/ 299 h 396"/>
                  <a:gd name="T68" fmla="*/ 97 w 738"/>
                  <a:gd name="T69" fmla="*/ 290 h 396"/>
                  <a:gd name="T70" fmla="*/ 81 w 738"/>
                  <a:gd name="T71" fmla="*/ 267 h 396"/>
                  <a:gd name="T72" fmla="*/ 32 w 738"/>
                  <a:gd name="T73" fmla="*/ 234 h 396"/>
                  <a:gd name="T74" fmla="*/ 24 w 738"/>
                  <a:gd name="T75" fmla="*/ 210 h 396"/>
                  <a:gd name="T76" fmla="*/ 24 w 738"/>
                  <a:gd name="T77" fmla="*/ 202 h 396"/>
                  <a:gd name="T78" fmla="*/ 0 w 738"/>
                  <a:gd name="T79" fmla="*/ 169 h 396"/>
                  <a:gd name="T80" fmla="*/ 7 w 738"/>
                  <a:gd name="T81" fmla="*/ 63 h 396"/>
                  <a:gd name="T82" fmla="*/ 16 w 738"/>
                  <a:gd name="T83" fmla="*/ 4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9" name="Freeform 6">
                <a:extLst>
                  <a:ext uri="{FF2B5EF4-FFF2-40B4-BE49-F238E27FC236}">
                    <a16:creationId xmlns:a16="http://schemas.microsoft.com/office/drawing/2014/main" id="{C2F8B382-BA2E-78CD-84E4-EF6BF6CDFF61}"/>
                  </a:ext>
                </a:extLst>
              </p:cNvPr>
              <p:cNvSpPr>
                <a:spLocks/>
              </p:cNvSpPr>
              <p:nvPr/>
            </p:nvSpPr>
            <p:spPr bwMode="gray">
              <a:xfrm>
                <a:off x="1441569" y="2684425"/>
                <a:ext cx="675985" cy="724366"/>
              </a:xfrm>
              <a:custGeom>
                <a:avLst/>
                <a:gdLst>
                  <a:gd name="T0" fmla="*/ 479 w 480"/>
                  <a:gd name="T1" fmla="*/ 453 h 494"/>
                  <a:gd name="T2" fmla="*/ 432 w 480"/>
                  <a:gd name="T3" fmla="*/ 388 h 494"/>
                  <a:gd name="T4" fmla="*/ 414 w 480"/>
                  <a:gd name="T5" fmla="*/ 365 h 494"/>
                  <a:gd name="T6" fmla="*/ 389 w 480"/>
                  <a:gd name="T7" fmla="*/ 381 h 494"/>
                  <a:gd name="T8" fmla="*/ 366 w 480"/>
                  <a:gd name="T9" fmla="*/ 348 h 494"/>
                  <a:gd name="T10" fmla="*/ 341 w 480"/>
                  <a:gd name="T11" fmla="*/ 348 h 494"/>
                  <a:gd name="T12" fmla="*/ 317 w 480"/>
                  <a:gd name="T13" fmla="*/ 49 h 494"/>
                  <a:gd name="T14" fmla="*/ 276 w 480"/>
                  <a:gd name="T15" fmla="*/ 49 h 494"/>
                  <a:gd name="T16" fmla="*/ 236 w 480"/>
                  <a:gd name="T17" fmla="*/ 33 h 494"/>
                  <a:gd name="T18" fmla="*/ 196 w 480"/>
                  <a:gd name="T19" fmla="*/ 17 h 494"/>
                  <a:gd name="T20" fmla="*/ 162 w 480"/>
                  <a:gd name="T21" fmla="*/ 8 h 494"/>
                  <a:gd name="T22" fmla="*/ 131 w 480"/>
                  <a:gd name="T23" fmla="*/ 17 h 494"/>
                  <a:gd name="T24" fmla="*/ 90 w 480"/>
                  <a:gd name="T25" fmla="*/ 42 h 494"/>
                  <a:gd name="T26" fmla="*/ 65 w 480"/>
                  <a:gd name="T27" fmla="*/ 57 h 494"/>
                  <a:gd name="T28" fmla="*/ 25 w 480"/>
                  <a:gd name="T29" fmla="*/ 98 h 494"/>
                  <a:gd name="T30" fmla="*/ 50 w 480"/>
                  <a:gd name="T31" fmla="*/ 139 h 494"/>
                  <a:gd name="T32" fmla="*/ 74 w 480"/>
                  <a:gd name="T33" fmla="*/ 179 h 494"/>
                  <a:gd name="T34" fmla="*/ 50 w 480"/>
                  <a:gd name="T35" fmla="*/ 186 h 494"/>
                  <a:gd name="T36" fmla="*/ 40 w 480"/>
                  <a:gd name="T37" fmla="*/ 170 h 494"/>
                  <a:gd name="T38" fmla="*/ 0 w 480"/>
                  <a:gd name="T39" fmla="*/ 202 h 494"/>
                  <a:gd name="T40" fmla="*/ 18 w 480"/>
                  <a:gd name="T41" fmla="*/ 219 h 494"/>
                  <a:gd name="T42" fmla="*/ 34 w 480"/>
                  <a:gd name="T43" fmla="*/ 235 h 494"/>
                  <a:gd name="T44" fmla="*/ 65 w 480"/>
                  <a:gd name="T45" fmla="*/ 235 h 494"/>
                  <a:gd name="T46" fmla="*/ 82 w 480"/>
                  <a:gd name="T47" fmla="*/ 235 h 494"/>
                  <a:gd name="T48" fmla="*/ 82 w 480"/>
                  <a:gd name="T49" fmla="*/ 267 h 494"/>
                  <a:gd name="T50" fmla="*/ 59 w 480"/>
                  <a:gd name="T51" fmla="*/ 276 h 494"/>
                  <a:gd name="T52" fmla="*/ 40 w 480"/>
                  <a:gd name="T53" fmla="*/ 276 h 494"/>
                  <a:gd name="T54" fmla="*/ 50 w 480"/>
                  <a:gd name="T55" fmla="*/ 365 h 494"/>
                  <a:gd name="T56" fmla="*/ 74 w 480"/>
                  <a:gd name="T57" fmla="*/ 356 h 494"/>
                  <a:gd name="T58" fmla="*/ 74 w 480"/>
                  <a:gd name="T59" fmla="*/ 381 h 494"/>
                  <a:gd name="T60" fmla="*/ 106 w 480"/>
                  <a:gd name="T61" fmla="*/ 388 h 494"/>
                  <a:gd name="T62" fmla="*/ 114 w 480"/>
                  <a:gd name="T63" fmla="*/ 388 h 494"/>
                  <a:gd name="T64" fmla="*/ 131 w 480"/>
                  <a:gd name="T65" fmla="*/ 406 h 494"/>
                  <a:gd name="T66" fmla="*/ 90 w 480"/>
                  <a:gd name="T67" fmla="*/ 453 h 494"/>
                  <a:gd name="T68" fmla="*/ 59 w 480"/>
                  <a:gd name="T69" fmla="*/ 471 h 494"/>
                  <a:gd name="T70" fmla="*/ 40 w 480"/>
                  <a:gd name="T71" fmla="*/ 493 h 494"/>
                  <a:gd name="T72" fmla="*/ 114 w 480"/>
                  <a:gd name="T73" fmla="*/ 453 h 494"/>
                  <a:gd name="T74" fmla="*/ 139 w 480"/>
                  <a:gd name="T75" fmla="*/ 429 h 494"/>
                  <a:gd name="T76" fmla="*/ 187 w 480"/>
                  <a:gd name="T77" fmla="*/ 388 h 494"/>
                  <a:gd name="T78" fmla="*/ 179 w 480"/>
                  <a:gd name="T79" fmla="*/ 372 h 494"/>
                  <a:gd name="T80" fmla="*/ 196 w 480"/>
                  <a:gd name="T81" fmla="*/ 341 h 494"/>
                  <a:gd name="T82" fmla="*/ 227 w 480"/>
                  <a:gd name="T83" fmla="*/ 325 h 494"/>
                  <a:gd name="T84" fmla="*/ 211 w 480"/>
                  <a:gd name="T85" fmla="*/ 341 h 494"/>
                  <a:gd name="T86" fmla="*/ 211 w 480"/>
                  <a:gd name="T87" fmla="*/ 372 h 494"/>
                  <a:gd name="T88" fmla="*/ 211 w 480"/>
                  <a:gd name="T89" fmla="*/ 381 h 494"/>
                  <a:gd name="T90" fmla="*/ 243 w 480"/>
                  <a:gd name="T91" fmla="*/ 365 h 494"/>
                  <a:gd name="T92" fmla="*/ 243 w 480"/>
                  <a:gd name="T93" fmla="*/ 332 h 494"/>
                  <a:gd name="T94" fmla="*/ 301 w 480"/>
                  <a:gd name="T95" fmla="*/ 356 h 494"/>
                  <a:gd name="T96" fmla="*/ 349 w 480"/>
                  <a:gd name="T97" fmla="*/ 365 h 494"/>
                  <a:gd name="T98" fmla="*/ 358 w 480"/>
                  <a:gd name="T99" fmla="*/ 372 h 494"/>
                  <a:gd name="T100" fmla="*/ 423 w 480"/>
                  <a:gd name="T101" fmla="*/ 453 h 494"/>
                  <a:gd name="T102" fmla="*/ 407 w 480"/>
                  <a:gd name="T103" fmla="*/ 406 h 494"/>
                  <a:gd name="T104" fmla="*/ 414 w 480"/>
                  <a:gd name="T105" fmla="*/ 388 h 494"/>
                  <a:gd name="T106" fmla="*/ 432 w 480"/>
                  <a:gd name="T107" fmla="*/ 421 h 494"/>
                  <a:gd name="T108" fmla="*/ 432 w 480"/>
                  <a:gd name="T109" fmla="*/ 429 h 494"/>
                  <a:gd name="T110" fmla="*/ 432 w 480"/>
                  <a:gd name="T111" fmla="*/ 453 h 494"/>
                  <a:gd name="T112" fmla="*/ 438 w 480"/>
                  <a:gd name="T113" fmla="*/ 462 h 494"/>
                  <a:gd name="T114" fmla="*/ 455 w 480"/>
                  <a:gd name="T115" fmla="*/ 471 h 494"/>
                  <a:gd name="T116" fmla="*/ 455 w 480"/>
                  <a:gd name="T117" fmla="*/ 453 h 494"/>
                  <a:gd name="T118" fmla="*/ 463 w 480"/>
                  <a:gd name="T119" fmla="*/ 478 h 494"/>
                  <a:gd name="T120" fmla="*/ 479 w 480"/>
                  <a:gd name="T121" fmla="*/ 478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0" name="Freeform 7">
                <a:extLst>
                  <a:ext uri="{FF2B5EF4-FFF2-40B4-BE49-F238E27FC236}">
                    <a16:creationId xmlns:a16="http://schemas.microsoft.com/office/drawing/2014/main" id="{B09BDB87-B410-D3C2-F667-12519BC335D6}"/>
                  </a:ext>
                </a:extLst>
              </p:cNvPr>
              <p:cNvSpPr>
                <a:spLocks/>
              </p:cNvSpPr>
              <p:nvPr/>
            </p:nvSpPr>
            <p:spPr bwMode="gray">
              <a:xfrm>
                <a:off x="1922060" y="2505478"/>
                <a:ext cx="1542755" cy="1259979"/>
              </a:xfrm>
              <a:custGeom>
                <a:avLst/>
                <a:gdLst>
                  <a:gd name="T0" fmla="*/ 756 w 1096"/>
                  <a:gd name="T1" fmla="*/ 851 h 860"/>
                  <a:gd name="T2" fmla="*/ 763 w 1096"/>
                  <a:gd name="T3" fmla="*/ 827 h 860"/>
                  <a:gd name="T4" fmla="*/ 771 w 1096"/>
                  <a:gd name="T5" fmla="*/ 786 h 860"/>
                  <a:gd name="T6" fmla="*/ 706 w 1096"/>
                  <a:gd name="T7" fmla="*/ 746 h 860"/>
                  <a:gd name="T8" fmla="*/ 632 w 1096"/>
                  <a:gd name="T9" fmla="*/ 746 h 860"/>
                  <a:gd name="T10" fmla="*/ 585 w 1096"/>
                  <a:gd name="T11" fmla="*/ 722 h 860"/>
                  <a:gd name="T12" fmla="*/ 171 w 1096"/>
                  <a:gd name="T13" fmla="*/ 680 h 860"/>
                  <a:gd name="T14" fmla="*/ 138 w 1096"/>
                  <a:gd name="T15" fmla="*/ 615 h 860"/>
                  <a:gd name="T16" fmla="*/ 91 w 1096"/>
                  <a:gd name="T17" fmla="*/ 510 h 860"/>
                  <a:gd name="T18" fmla="*/ 48 w 1096"/>
                  <a:gd name="T19" fmla="*/ 503 h 860"/>
                  <a:gd name="T20" fmla="*/ 0 w 1096"/>
                  <a:gd name="T21" fmla="*/ 470 h 860"/>
                  <a:gd name="T22" fmla="*/ 66 w 1096"/>
                  <a:gd name="T23" fmla="*/ 202 h 860"/>
                  <a:gd name="T24" fmla="*/ 147 w 1096"/>
                  <a:gd name="T25" fmla="*/ 164 h 860"/>
                  <a:gd name="T26" fmla="*/ 187 w 1096"/>
                  <a:gd name="T27" fmla="*/ 171 h 860"/>
                  <a:gd name="T28" fmla="*/ 212 w 1096"/>
                  <a:gd name="T29" fmla="*/ 195 h 860"/>
                  <a:gd name="T30" fmla="*/ 268 w 1096"/>
                  <a:gd name="T31" fmla="*/ 195 h 860"/>
                  <a:gd name="T32" fmla="*/ 341 w 1096"/>
                  <a:gd name="T33" fmla="*/ 220 h 860"/>
                  <a:gd name="T34" fmla="*/ 358 w 1096"/>
                  <a:gd name="T35" fmla="*/ 261 h 860"/>
                  <a:gd name="T36" fmla="*/ 415 w 1096"/>
                  <a:gd name="T37" fmla="*/ 236 h 860"/>
                  <a:gd name="T38" fmla="*/ 504 w 1096"/>
                  <a:gd name="T39" fmla="*/ 252 h 860"/>
                  <a:gd name="T40" fmla="*/ 552 w 1096"/>
                  <a:gd name="T41" fmla="*/ 227 h 860"/>
                  <a:gd name="T42" fmla="*/ 569 w 1096"/>
                  <a:gd name="T43" fmla="*/ 202 h 860"/>
                  <a:gd name="T44" fmla="*/ 577 w 1096"/>
                  <a:gd name="T45" fmla="*/ 261 h 860"/>
                  <a:gd name="T46" fmla="*/ 601 w 1096"/>
                  <a:gd name="T47" fmla="*/ 195 h 860"/>
                  <a:gd name="T48" fmla="*/ 592 w 1096"/>
                  <a:gd name="T49" fmla="*/ 105 h 860"/>
                  <a:gd name="T50" fmla="*/ 617 w 1096"/>
                  <a:gd name="T51" fmla="*/ 0 h 860"/>
                  <a:gd name="T52" fmla="*/ 617 w 1096"/>
                  <a:gd name="T53" fmla="*/ 65 h 860"/>
                  <a:gd name="T54" fmla="*/ 632 w 1096"/>
                  <a:gd name="T55" fmla="*/ 171 h 860"/>
                  <a:gd name="T56" fmla="*/ 666 w 1096"/>
                  <a:gd name="T57" fmla="*/ 202 h 860"/>
                  <a:gd name="T58" fmla="*/ 697 w 1096"/>
                  <a:gd name="T59" fmla="*/ 267 h 860"/>
                  <a:gd name="T60" fmla="*/ 731 w 1096"/>
                  <a:gd name="T61" fmla="*/ 179 h 860"/>
                  <a:gd name="T62" fmla="*/ 763 w 1096"/>
                  <a:gd name="T63" fmla="*/ 227 h 860"/>
                  <a:gd name="T64" fmla="*/ 763 w 1096"/>
                  <a:gd name="T65" fmla="*/ 276 h 860"/>
                  <a:gd name="T66" fmla="*/ 697 w 1096"/>
                  <a:gd name="T67" fmla="*/ 292 h 860"/>
                  <a:gd name="T68" fmla="*/ 673 w 1096"/>
                  <a:gd name="T69" fmla="*/ 373 h 860"/>
                  <a:gd name="T70" fmla="*/ 626 w 1096"/>
                  <a:gd name="T71" fmla="*/ 413 h 860"/>
                  <a:gd name="T72" fmla="*/ 592 w 1096"/>
                  <a:gd name="T73" fmla="*/ 478 h 860"/>
                  <a:gd name="T74" fmla="*/ 626 w 1096"/>
                  <a:gd name="T75" fmla="*/ 560 h 860"/>
                  <a:gd name="T76" fmla="*/ 716 w 1096"/>
                  <a:gd name="T77" fmla="*/ 593 h 860"/>
                  <a:gd name="T78" fmla="*/ 788 w 1096"/>
                  <a:gd name="T79" fmla="*/ 680 h 860"/>
                  <a:gd name="T80" fmla="*/ 819 w 1096"/>
                  <a:gd name="T81" fmla="*/ 575 h 860"/>
                  <a:gd name="T82" fmla="*/ 812 w 1096"/>
                  <a:gd name="T83" fmla="*/ 503 h 860"/>
                  <a:gd name="T84" fmla="*/ 803 w 1096"/>
                  <a:gd name="T85" fmla="*/ 429 h 860"/>
                  <a:gd name="T86" fmla="*/ 859 w 1096"/>
                  <a:gd name="T87" fmla="*/ 413 h 860"/>
                  <a:gd name="T88" fmla="*/ 918 w 1096"/>
                  <a:gd name="T89" fmla="*/ 454 h 860"/>
                  <a:gd name="T90" fmla="*/ 967 w 1096"/>
                  <a:gd name="T91" fmla="*/ 487 h 860"/>
                  <a:gd name="T92" fmla="*/ 1015 w 1096"/>
                  <a:gd name="T93" fmla="*/ 575 h 860"/>
                  <a:gd name="T94" fmla="*/ 1055 w 1096"/>
                  <a:gd name="T95" fmla="*/ 600 h 860"/>
                  <a:gd name="T96" fmla="*/ 1070 w 1096"/>
                  <a:gd name="T97" fmla="*/ 633 h 860"/>
                  <a:gd name="T98" fmla="*/ 1095 w 1096"/>
                  <a:gd name="T99" fmla="*/ 665 h 860"/>
                  <a:gd name="T100" fmla="*/ 1015 w 1096"/>
                  <a:gd name="T101" fmla="*/ 705 h 860"/>
                  <a:gd name="T102" fmla="*/ 933 w 1096"/>
                  <a:gd name="T103" fmla="*/ 722 h 860"/>
                  <a:gd name="T104" fmla="*/ 925 w 1096"/>
                  <a:gd name="T105" fmla="*/ 737 h 860"/>
                  <a:gd name="T106" fmla="*/ 983 w 1096"/>
                  <a:gd name="T107" fmla="*/ 737 h 860"/>
                  <a:gd name="T108" fmla="*/ 974 w 1096"/>
                  <a:gd name="T109" fmla="*/ 746 h 860"/>
                  <a:gd name="T110" fmla="*/ 1015 w 1096"/>
                  <a:gd name="T111" fmla="*/ 786 h 860"/>
                  <a:gd name="T112" fmla="*/ 1039 w 1096"/>
                  <a:gd name="T113" fmla="*/ 777 h 860"/>
                  <a:gd name="T114" fmla="*/ 967 w 1096"/>
                  <a:gd name="T115" fmla="*/ 827 h 860"/>
                  <a:gd name="T116" fmla="*/ 974 w 1096"/>
                  <a:gd name="T117" fmla="*/ 786 h 860"/>
                  <a:gd name="T118" fmla="*/ 933 w 1096"/>
                  <a:gd name="T119" fmla="*/ 762 h 860"/>
                  <a:gd name="T120" fmla="*/ 902 w 1096"/>
                  <a:gd name="T121" fmla="*/ 795 h 860"/>
                  <a:gd name="T122" fmla="*/ 819 w 1096"/>
                  <a:gd name="T123" fmla="*/ 81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1" name="Line 36">
                <a:extLst>
                  <a:ext uri="{FF2B5EF4-FFF2-40B4-BE49-F238E27FC236}">
                    <a16:creationId xmlns:a16="http://schemas.microsoft.com/office/drawing/2014/main" id="{CD5C365A-D03D-61E5-7EF4-48EBFAA4EEE3}"/>
                  </a:ext>
                </a:extLst>
              </p:cNvPr>
              <p:cNvSpPr>
                <a:spLocks noChangeShapeType="1"/>
              </p:cNvSpPr>
              <p:nvPr/>
            </p:nvSpPr>
            <p:spPr bwMode="gray">
              <a:xfrm>
                <a:off x="1626464" y="4214050"/>
                <a:ext cx="10599" cy="0"/>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62" name="Line 38">
                <a:extLst>
                  <a:ext uri="{FF2B5EF4-FFF2-40B4-BE49-F238E27FC236}">
                    <a16:creationId xmlns:a16="http://schemas.microsoft.com/office/drawing/2014/main" id="{5898F8DB-610B-0803-CB61-A5509F451A27}"/>
                  </a:ext>
                </a:extLst>
              </p:cNvPr>
              <p:cNvSpPr>
                <a:spLocks noChangeShapeType="1"/>
              </p:cNvSpPr>
              <p:nvPr/>
            </p:nvSpPr>
            <p:spPr bwMode="gray">
              <a:xfrm flipV="1">
                <a:off x="3098558" y="3906408"/>
                <a:ext cx="11777" cy="12256"/>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65" name="Freeform 47">
                <a:extLst>
                  <a:ext uri="{FF2B5EF4-FFF2-40B4-BE49-F238E27FC236}">
                    <a16:creationId xmlns:a16="http://schemas.microsoft.com/office/drawing/2014/main" id="{82E31D67-316F-E586-1329-8CB499A12205}"/>
                  </a:ext>
                </a:extLst>
              </p:cNvPr>
              <p:cNvSpPr>
                <a:spLocks/>
              </p:cNvSpPr>
              <p:nvPr/>
            </p:nvSpPr>
            <p:spPr bwMode="gray">
              <a:xfrm>
                <a:off x="2881866" y="3644117"/>
                <a:ext cx="150742" cy="121341"/>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6350" cap="rnd" cmpd="sng">
                <a:solidFill>
                  <a:srgbClr val="D0D0D0"/>
                </a:solidFill>
                <a:prstDash val="solid"/>
                <a:round/>
                <a:headEnd/>
                <a:tailEnd/>
              </a:ln>
              <a:effectLst/>
            </p:spPr>
            <p:txBody>
              <a:bodyPr/>
              <a:lstStyle/>
              <a:p>
                <a:endParaRPr lang="de-DE" dirty="0"/>
              </a:p>
            </p:txBody>
          </p:sp>
          <p:sp>
            <p:nvSpPr>
              <p:cNvPr id="69" name="Freeform 48">
                <a:extLst>
                  <a:ext uri="{FF2B5EF4-FFF2-40B4-BE49-F238E27FC236}">
                    <a16:creationId xmlns:a16="http://schemas.microsoft.com/office/drawing/2014/main" id="{0A5C559F-6DD7-B7C9-346F-DD1E65AE6028}"/>
                  </a:ext>
                </a:extLst>
              </p:cNvPr>
              <p:cNvSpPr>
                <a:spLocks/>
              </p:cNvSpPr>
              <p:nvPr/>
            </p:nvSpPr>
            <p:spPr bwMode="gray">
              <a:xfrm>
                <a:off x="2881866" y="3644117"/>
                <a:ext cx="150742" cy="121341"/>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1" name="Freeform 49">
                <a:extLst>
                  <a:ext uri="{FF2B5EF4-FFF2-40B4-BE49-F238E27FC236}">
                    <a16:creationId xmlns:a16="http://schemas.microsoft.com/office/drawing/2014/main" id="{C383C0E4-1FA1-C5EB-5BD5-2A544B848338}"/>
                  </a:ext>
                </a:extLst>
              </p:cNvPr>
              <p:cNvSpPr>
                <a:spLocks/>
              </p:cNvSpPr>
              <p:nvPr/>
            </p:nvSpPr>
            <p:spPr bwMode="gray">
              <a:xfrm>
                <a:off x="2802961" y="3563224"/>
                <a:ext cx="136610" cy="72314"/>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6350" cap="rnd" cmpd="sng">
                <a:solidFill>
                  <a:srgbClr val="D0D0D0"/>
                </a:solidFill>
                <a:prstDash val="solid"/>
                <a:round/>
                <a:headEnd/>
                <a:tailEnd/>
              </a:ln>
              <a:effectLst/>
            </p:spPr>
            <p:txBody>
              <a:bodyPr/>
              <a:lstStyle/>
              <a:p>
                <a:endParaRPr lang="de-DE" dirty="0"/>
              </a:p>
            </p:txBody>
          </p:sp>
          <p:sp>
            <p:nvSpPr>
              <p:cNvPr id="73" name="Freeform 50">
                <a:extLst>
                  <a:ext uri="{FF2B5EF4-FFF2-40B4-BE49-F238E27FC236}">
                    <a16:creationId xmlns:a16="http://schemas.microsoft.com/office/drawing/2014/main" id="{C60FA72D-B3D3-FCD9-3B90-BC2A94219B8D}"/>
                  </a:ext>
                </a:extLst>
              </p:cNvPr>
              <p:cNvSpPr>
                <a:spLocks/>
              </p:cNvSpPr>
              <p:nvPr/>
            </p:nvSpPr>
            <p:spPr bwMode="gray">
              <a:xfrm>
                <a:off x="2802961" y="3563224"/>
                <a:ext cx="136610" cy="72314"/>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4" name="Freeform 51">
                <a:extLst>
                  <a:ext uri="{FF2B5EF4-FFF2-40B4-BE49-F238E27FC236}">
                    <a16:creationId xmlns:a16="http://schemas.microsoft.com/office/drawing/2014/main" id="{EA38075E-B73A-F3DB-1A4F-A5C13CE6D09C}"/>
                  </a:ext>
                </a:extLst>
              </p:cNvPr>
              <p:cNvSpPr>
                <a:spLocks/>
              </p:cNvSpPr>
              <p:nvPr/>
            </p:nvSpPr>
            <p:spPr bwMode="gray">
              <a:xfrm>
                <a:off x="2960771" y="3731139"/>
                <a:ext cx="82437" cy="3431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59" h="24">
                    <a:moveTo>
                      <a:pt x="0" y="23"/>
                    </a:moveTo>
                    <a:lnTo>
                      <a:pt x="18" y="15"/>
                    </a:lnTo>
                    <a:lnTo>
                      <a:pt x="25" y="6"/>
                    </a:lnTo>
                    <a:lnTo>
                      <a:pt x="58" y="0"/>
                    </a:lnTo>
                    <a:lnTo>
                      <a:pt x="25" y="23"/>
                    </a:lnTo>
                    <a:lnTo>
                      <a:pt x="9" y="23"/>
                    </a:lnTo>
                    <a:lnTo>
                      <a:pt x="0" y="23"/>
                    </a:lnTo>
                  </a:path>
                </a:pathLst>
              </a:custGeom>
              <a:grpFill/>
              <a:ln w="6350" cap="rnd" cmpd="sng">
                <a:solidFill>
                  <a:srgbClr val="D0D0D0"/>
                </a:solidFill>
                <a:prstDash val="solid"/>
                <a:round/>
                <a:headEnd/>
                <a:tailEnd/>
              </a:ln>
              <a:effectLst/>
            </p:spPr>
            <p:txBody>
              <a:bodyPr/>
              <a:lstStyle/>
              <a:p>
                <a:endParaRPr lang="de-DE" dirty="0"/>
              </a:p>
            </p:txBody>
          </p:sp>
          <p:sp>
            <p:nvSpPr>
              <p:cNvPr id="75" name="Freeform 52">
                <a:extLst>
                  <a:ext uri="{FF2B5EF4-FFF2-40B4-BE49-F238E27FC236}">
                    <a16:creationId xmlns:a16="http://schemas.microsoft.com/office/drawing/2014/main" id="{D71163CF-5E3C-47ED-3339-B7280415FD96}"/>
                  </a:ext>
                </a:extLst>
              </p:cNvPr>
              <p:cNvSpPr>
                <a:spLocks/>
              </p:cNvSpPr>
              <p:nvPr/>
            </p:nvSpPr>
            <p:spPr bwMode="gray">
              <a:xfrm>
                <a:off x="2960771" y="3731139"/>
                <a:ext cx="82437" cy="3431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59" h="24">
                    <a:moveTo>
                      <a:pt x="0" y="23"/>
                    </a:moveTo>
                    <a:lnTo>
                      <a:pt x="18" y="15"/>
                    </a:lnTo>
                    <a:lnTo>
                      <a:pt x="25" y="6"/>
                    </a:lnTo>
                    <a:lnTo>
                      <a:pt x="58" y="0"/>
                    </a:lnTo>
                    <a:lnTo>
                      <a:pt x="25" y="23"/>
                    </a:lnTo>
                    <a:lnTo>
                      <a:pt x="9" y="23"/>
                    </a:lnTo>
                    <a:lnTo>
                      <a:pt x="0" y="23"/>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6" name="Freeform 53">
                <a:extLst>
                  <a:ext uri="{FF2B5EF4-FFF2-40B4-BE49-F238E27FC236}">
                    <a16:creationId xmlns:a16="http://schemas.microsoft.com/office/drawing/2014/main" id="{C222BF7A-29F4-FEA2-C7D5-314560AFA228}"/>
                  </a:ext>
                </a:extLst>
              </p:cNvPr>
              <p:cNvSpPr>
                <a:spLocks/>
              </p:cNvSpPr>
              <p:nvPr/>
            </p:nvSpPr>
            <p:spPr bwMode="gray">
              <a:xfrm>
                <a:off x="3042030" y="3694369"/>
                <a:ext cx="47107" cy="24513"/>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Lst>
                <a:ahLst/>
                <a:cxnLst>
                  <a:cxn ang="0">
                    <a:pos x="T0" y="T1"/>
                  </a:cxn>
                  <a:cxn ang="0">
                    <a:pos x="T2" y="T3"/>
                  </a:cxn>
                  <a:cxn ang="0">
                    <a:pos x="T4" y="T5"/>
                  </a:cxn>
                  <a:cxn ang="0">
                    <a:pos x="T6" y="T7"/>
                  </a:cxn>
                  <a:cxn ang="0">
                    <a:pos x="T8" y="T9"/>
                  </a:cxn>
                  <a:cxn ang="0">
                    <a:pos x="T10" y="T11"/>
                  </a:cxn>
                </a:cxnLst>
                <a:rect l="0" t="0" r="r" b="b"/>
                <a:pathLst>
                  <a:path w="33" h="17">
                    <a:moveTo>
                      <a:pt x="0" y="16"/>
                    </a:moveTo>
                    <a:lnTo>
                      <a:pt x="0" y="6"/>
                    </a:lnTo>
                    <a:lnTo>
                      <a:pt x="23" y="6"/>
                    </a:lnTo>
                    <a:lnTo>
                      <a:pt x="32" y="0"/>
                    </a:lnTo>
                    <a:lnTo>
                      <a:pt x="32" y="16"/>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77" name="Freeform 54">
                <a:extLst>
                  <a:ext uri="{FF2B5EF4-FFF2-40B4-BE49-F238E27FC236}">
                    <a16:creationId xmlns:a16="http://schemas.microsoft.com/office/drawing/2014/main" id="{ECFDC558-E489-3142-6203-BF243C854CAA}"/>
                  </a:ext>
                </a:extLst>
              </p:cNvPr>
              <p:cNvSpPr>
                <a:spLocks/>
              </p:cNvSpPr>
              <p:nvPr/>
            </p:nvSpPr>
            <p:spPr bwMode="gray">
              <a:xfrm>
                <a:off x="3042030" y="3694369"/>
                <a:ext cx="47107" cy="24513"/>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Lst>
                <a:ahLst/>
                <a:cxnLst>
                  <a:cxn ang="0">
                    <a:pos x="T0" y="T1"/>
                  </a:cxn>
                  <a:cxn ang="0">
                    <a:pos x="T2" y="T3"/>
                  </a:cxn>
                  <a:cxn ang="0">
                    <a:pos x="T4" y="T5"/>
                  </a:cxn>
                  <a:cxn ang="0">
                    <a:pos x="T6" y="T7"/>
                  </a:cxn>
                  <a:cxn ang="0">
                    <a:pos x="T8" y="T9"/>
                  </a:cxn>
                  <a:cxn ang="0">
                    <a:pos x="T10" y="T11"/>
                  </a:cxn>
                </a:cxnLst>
                <a:rect l="0" t="0" r="r" b="b"/>
                <a:pathLst>
                  <a:path w="33" h="17">
                    <a:moveTo>
                      <a:pt x="0" y="16"/>
                    </a:moveTo>
                    <a:lnTo>
                      <a:pt x="0" y="6"/>
                    </a:lnTo>
                    <a:lnTo>
                      <a:pt x="23" y="6"/>
                    </a:lnTo>
                    <a:lnTo>
                      <a:pt x="32" y="0"/>
                    </a:lnTo>
                    <a:lnTo>
                      <a:pt x="32" y="16"/>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8" name="Freeform 60">
                <a:extLst>
                  <a:ext uri="{FF2B5EF4-FFF2-40B4-BE49-F238E27FC236}">
                    <a16:creationId xmlns:a16="http://schemas.microsoft.com/office/drawing/2014/main" id="{EE6E0A7E-BBA4-4D72-29FA-8C4DD9D42BB5}"/>
                  </a:ext>
                </a:extLst>
              </p:cNvPr>
              <p:cNvSpPr>
                <a:spLocks/>
              </p:cNvSpPr>
              <p:nvPr/>
            </p:nvSpPr>
            <p:spPr bwMode="gray">
              <a:xfrm>
                <a:off x="3098558" y="4950672"/>
                <a:ext cx="150742" cy="854286"/>
              </a:xfrm>
              <a:custGeom>
                <a:avLst/>
                <a:gdLst>
                  <a:gd name="T0" fmla="*/ 82 w 107"/>
                  <a:gd name="T1" fmla="*/ 0 h 583"/>
                  <a:gd name="T2" fmla="*/ 89 w 107"/>
                  <a:gd name="T3" fmla="*/ 32 h 583"/>
                  <a:gd name="T4" fmla="*/ 106 w 107"/>
                  <a:gd name="T5" fmla="*/ 72 h 583"/>
                  <a:gd name="T6" fmla="*/ 89 w 107"/>
                  <a:gd name="T7" fmla="*/ 97 h 583"/>
                  <a:gd name="T8" fmla="*/ 82 w 107"/>
                  <a:gd name="T9" fmla="*/ 146 h 583"/>
                  <a:gd name="T10" fmla="*/ 72 w 107"/>
                  <a:gd name="T11" fmla="*/ 227 h 583"/>
                  <a:gd name="T12" fmla="*/ 66 w 107"/>
                  <a:gd name="T13" fmla="*/ 268 h 583"/>
                  <a:gd name="T14" fmla="*/ 57 w 107"/>
                  <a:gd name="T15" fmla="*/ 308 h 583"/>
                  <a:gd name="T16" fmla="*/ 48 w 107"/>
                  <a:gd name="T17" fmla="*/ 357 h 583"/>
                  <a:gd name="T18" fmla="*/ 48 w 107"/>
                  <a:gd name="T19" fmla="*/ 405 h 583"/>
                  <a:gd name="T20" fmla="*/ 57 w 107"/>
                  <a:gd name="T21" fmla="*/ 414 h 583"/>
                  <a:gd name="T22" fmla="*/ 41 w 107"/>
                  <a:gd name="T23" fmla="*/ 460 h 583"/>
                  <a:gd name="T24" fmla="*/ 32 w 107"/>
                  <a:gd name="T25" fmla="*/ 502 h 583"/>
                  <a:gd name="T26" fmla="*/ 32 w 107"/>
                  <a:gd name="T27" fmla="*/ 526 h 583"/>
                  <a:gd name="T28" fmla="*/ 41 w 107"/>
                  <a:gd name="T29" fmla="*/ 542 h 583"/>
                  <a:gd name="T30" fmla="*/ 72 w 107"/>
                  <a:gd name="T31" fmla="*/ 551 h 583"/>
                  <a:gd name="T32" fmla="*/ 89 w 107"/>
                  <a:gd name="T33" fmla="*/ 559 h 583"/>
                  <a:gd name="T34" fmla="*/ 66 w 107"/>
                  <a:gd name="T35" fmla="*/ 566 h 583"/>
                  <a:gd name="T36" fmla="*/ 57 w 107"/>
                  <a:gd name="T37" fmla="*/ 582 h 583"/>
                  <a:gd name="T38" fmla="*/ 57 w 107"/>
                  <a:gd name="T39" fmla="*/ 575 h 583"/>
                  <a:gd name="T40" fmla="*/ 41 w 107"/>
                  <a:gd name="T41" fmla="*/ 575 h 583"/>
                  <a:gd name="T42" fmla="*/ 32 w 107"/>
                  <a:gd name="T43" fmla="*/ 559 h 583"/>
                  <a:gd name="T44" fmla="*/ 17 w 107"/>
                  <a:gd name="T45" fmla="*/ 551 h 583"/>
                  <a:gd name="T46" fmla="*/ 8 w 107"/>
                  <a:gd name="T47" fmla="*/ 551 h 583"/>
                  <a:gd name="T48" fmla="*/ 17 w 107"/>
                  <a:gd name="T49" fmla="*/ 534 h 583"/>
                  <a:gd name="T50" fmla="*/ 17 w 107"/>
                  <a:gd name="T51" fmla="*/ 534 h 583"/>
                  <a:gd name="T52" fmla="*/ 17 w 107"/>
                  <a:gd name="T53" fmla="*/ 534 h 583"/>
                  <a:gd name="T54" fmla="*/ 17 w 107"/>
                  <a:gd name="T55" fmla="*/ 510 h 583"/>
                  <a:gd name="T56" fmla="*/ 0 w 107"/>
                  <a:gd name="T57" fmla="*/ 502 h 583"/>
                  <a:gd name="T58" fmla="*/ 8 w 107"/>
                  <a:gd name="T59" fmla="*/ 470 h 583"/>
                  <a:gd name="T60" fmla="*/ 17 w 107"/>
                  <a:gd name="T61" fmla="*/ 477 h 583"/>
                  <a:gd name="T62" fmla="*/ 8 w 107"/>
                  <a:gd name="T63" fmla="*/ 445 h 583"/>
                  <a:gd name="T64" fmla="*/ 8 w 107"/>
                  <a:gd name="T65" fmla="*/ 429 h 583"/>
                  <a:gd name="T66" fmla="*/ 17 w 107"/>
                  <a:gd name="T67" fmla="*/ 405 h 583"/>
                  <a:gd name="T68" fmla="*/ 23 w 107"/>
                  <a:gd name="T69" fmla="*/ 414 h 583"/>
                  <a:gd name="T70" fmla="*/ 41 w 107"/>
                  <a:gd name="T71" fmla="*/ 357 h 583"/>
                  <a:gd name="T72" fmla="*/ 23 w 107"/>
                  <a:gd name="T73" fmla="*/ 348 h 583"/>
                  <a:gd name="T74" fmla="*/ 32 w 107"/>
                  <a:gd name="T75" fmla="*/ 315 h 583"/>
                  <a:gd name="T76" fmla="*/ 32 w 107"/>
                  <a:gd name="T77" fmla="*/ 283 h 583"/>
                  <a:gd name="T78" fmla="*/ 48 w 107"/>
                  <a:gd name="T79" fmla="*/ 186 h 583"/>
                  <a:gd name="T80" fmla="*/ 57 w 107"/>
                  <a:gd name="T81" fmla="*/ 153 h 583"/>
                  <a:gd name="T82" fmla="*/ 66 w 107"/>
                  <a:gd name="T83" fmla="*/ 72 h 583"/>
                  <a:gd name="T84" fmla="*/ 66 w 107"/>
                  <a:gd name="T85" fmla="*/ 7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6350" cap="rnd" cmpd="sng">
                <a:solidFill>
                  <a:srgbClr val="D0D0D0"/>
                </a:solidFill>
                <a:prstDash val="solid"/>
                <a:round/>
                <a:headEnd/>
                <a:tailEnd/>
              </a:ln>
              <a:effectLst/>
            </p:spPr>
            <p:txBody>
              <a:bodyPr/>
              <a:lstStyle/>
              <a:p>
                <a:endParaRPr lang="de-DE" dirty="0"/>
              </a:p>
            </p:txBody>
          </p:sp>
          <p:sp>
            <p:nvSpPr>
              <p:cNvPr id="79" name="Freeform 61">
                <a:extLst>
                  <a:ext uri="{FF2B5EF4-FFF2-40B4-BE49-F238E27FC236}">
                    <a16:creationId xmlns:a16="http://schemas.microsoft.com/office/drawing/2014/main" id="{05C0E8E3-8E88-A182-1CFB-FEADC7AD9838}"/>
                  </a:ext>
                </a:extLst>
              </p:cNvPr>
              <p:cNvSpPr>
                <a:spLocks/>
              </p:cNvSpPr>
              <p:nvPr/>
            </p:nvSpPr>
            <p:spPr bwMode="gray">
              <a:xfrm>
                <a:off x="3130355" y="5770640"/>
                <a:ext cx="95392" cy="93151"/>
              </a:xfrm>
              <a:custGeom>
                <a:avLst/>
                <a:gdLst>
                  <a:gd name="T0" fmla="*/ 66 w 67"/>
                  <a:gd name="T1" fmla="*/ 48 h 64"/>
                  <a:gd name="T2" fmla="*/ 66 w 67"/>
                  <a:gd name="T3" fmla="*/ 0 h 64"/>
                  <a:gd name="T4" fmla="*/ 49 w 67"/>
                  <a:gd name="T5" fmla="*/ 7 h 64"/>
                  <a:gd name="T6" fmla="*/ 49 w 67"/>
                  <a:gd name="T7" fmla="*/ 23 h 64"/>
                  <a:gd name="T8" fmla="*/ 43 w 67"/>
                  <a:gd name="T9" fmla="*/ 32 h 64"/>
                  <a:gd name="T10" fmla="*/ 34 w 67"/>
                  <a:gd name="T11" fmla="*/ 32 h 64"/>
                  <a:gd name="T12" fmla="*/ 9 w 67"/>
                  <a:gd name="T13" fmla="*/ 16 h 64"/>
                  <a:gd name="T14" fmla="*/ 0 w 67"/>
                  <a:gd name="T15" fmla="*/ 23 h 64"/>
                  <a:gd name="T16" fmla="*/ 9 w 67"/>
                  <a:gd name="T17" fmla="*/ 32 h 64"/>
                  <a:gd name="T18" fmla="*/ 18 w 67"/>
                  <a:gd name="T19" fmla="*/ 32 h 64"/>
                  <a:gd name="T20" fmla="*/ 18 w 67"/>
                  <a:gd name="T21" fmla="*/ 40 h 64"/>
                  <a:gd name="T22" fmla="*/ 25 w 67"/>
                  <a:gd name="T23" fmla="*/ 40 h 64"/>
                  <a:gd name="T24" fmla="*/ 25 w 67"/>
                  <a:gd name="T25" fmla="*/ 48 h 64"/>
                  <a:gd name="T26" fmla="*/ 43 w 67"/>
                  <a:gd name="T27" fmla="*/ 57 h 64"/>
                  <a:gd name="T28" fmla="*/ 49 w 67"/>
                  <a:gd name="T29" fmla="*/ 57 h 64"/>
                  <a:gd name="T30" fmla="*/ 59 w 67"/>
                  <a:gd name="T31" fmla="*/ 63 h 64"/>
                  <a:gd name="T32" fmla="*/ 66 w 67"/>
                  <a:gd name="T33"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6350" cap="rnd" cmpd="sng">
                <a:solidFill>
                  <a:srgbClr val="D0D0D0"/>
                </a:solidFill>
                <a:prstDash val="solid"/>
                <a:round/>
                <a:headEnd/>
                <a:tailEnd/>
              </a:ln>
              <a:effectLst/>
            </p:spPr>
            <p:txBody>
              <a:bodyPr/>
              <a:lstStyle/>
              <a:p>
                <a:endParaRPr lang="de-DE" dirty="0"/>
              </a:p>
            </p:txBody>
          </p:sp>
          <p:sp>
            <p:nvSpPr>
              <p:cNvPr id="83" name="Freeform 62">
                <a:extLst>
                  <a:ext uri="{FF2B5EF4-FFF2-40B4-BE49-F238E27FC236}">
                    <a16:creationId xmlns:a16="http://schemas.microsoft.com/office/drawing/2014/main" id="{F1C42C63-180B-35BA-2B83-206CCB7EC4E0}"/>
                  </a:ext>
                </a:extLst>
              </p:cNvPr>
              <p:cNvSpPr>
                <a:spLocks/>
              </p:cNvSpPr>
              <p:nvPr/>
            </p:nvSpPr>
            <p:spPr bwMode="gray">
              <a:xfrm>
                <a:off x="3223392" y="5770640"/>
                <a:ext cx="70660" cy="106632"/>
              </a:xfrm>
              <a:custGeom>
                <a:avLst/>
                <a:gdLst>
                  <a:gd name="T0" fmla="*/ 0 w 50"/>
                  <a:gd name="T1" fmla="*/ 48 h 73"/>
                  <a:gd name="T2" fmla="*/ 0 w 50"/>
                  <a:gd name="T3" fmla="*/ 0 h 73"/>
                  <a:gd name="T4" fmla="*/ 8 w 50"/>
                  <a:gd name="T5" fmla="*/ 23 h 73"/>
                  <a:gd name="T6" fmla="*/ 33 w 50"/>
                  <a:gd name="T7" fmla="*/ 40 h 73"/>
                  <a:gd name="T8" fmla="*/ 49 w 50"/>
                  <a:gd name="T9" fmla="*/ 48 h 73"/>
                  <a:gd name="T10" fmla="*/ 42 w 50"/>
                  <a:gd name="T11" fmla="*/ 57 h 73"/>
                  <a:gd name="T12" fmla="*/ 17 w 50"/>
                  <a:gd name="T13" fmla="*/ 63 h 73"/>
                  <a:gd name="T14" fmla="*/ 8 w 50"/>
                  <a:gd name="T15" fmla="*/ 72 h 73"/>
                  <a:gd name="T16" fmla="*/ 0 w 50"/>
                  <a:gd name="T17"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grpFill/>
              <a:ln w="6350" cap="rnd" cmpd="sng">
                <a:solidFill>
                  <a:srgbClr val="D0D0D0"/>
                </a:solidFill>
                <a:prstDash val="solid"/>
                <a:round/>
                <a:headEnd/>
                <a:tailEnd/>
              </a:ln>
              <a:effectLst/>
            </p:spPr>
            <p:txBody>
              <a:bodyPr/>
              <a:lstStyle/>
              <a:p>
                <a:endParaRPr lang="de-DE" dirty="0"/>
              </a:p>
            </p:txBody>
          </p:sp>
          <p:sp>
            <p:nvSpPr>
              <p:cNvPr id="90" name="Freeform 63">
                <a:extLst>
                  <a:ext uri="{FF2B5EF4-FFF2-40B4-BE49-F238E27FC236}">
                    <a16:creationId xmlns:a16="http://schemas.microsoft.com/office/drawing/2014/main" id="{2DB88C9B-3A78-C99B-5F17-F4D1624BFBFD}"/>
                  </a:ext>
                </a:extLst>
              </p:cNvPr>
              <p:cNvSpPr>
                <a:spLocks/>
              </p:cNvSpPr>
              <p:nvPr/>
            </p:nvSpPr>
            <p:spPr bwMode="gray">
              <a:xfrm>
                <a:off x="3143310" y="5032791"/>
                <a:ext cx="356836" cy="726817"/>
              </a:xfrm>
              <a:custGeom>
                <a:avLst/>
                <a:gdLst>
                  <a:gd name="T0" fmla="*/ 202 w 253"/>
                  <a:gd name="T1" fmla="*/ 122 h 496"/>
                  <a:gd name="T2" fmla="*/ 252 w 253"/>
                  <a:gd name="T3" fmla="*/ 74 h 496"/>
                  <a:gd name="T4" fmla="*/ 236 w 253"/>
                  <a:gd name="T5" fmla="*/ 50 h 496"/>
                  <a:gd name="T6" fmla="*/ 221 w 253"/>
                  <a:gd name="T7" fmla="*/ 74 h 496"/>
                  <a:gd name="T8" fmla="*/ 187 w 253"/>
                  <a:gd name="T9" fmla="*/ 74 h 496"/>
                  <a:gd name="T10" fmla="*/ 196 w 253"/>
                  <a:gd name="T11" fmla="*/ 50 h 496"/>
                  <a:gd name="T12" fmla="*/ 155 w 253"/>
                  <a:gd name="T13" fmla="*/ 34 h 496"/>
                  <a:gd name="T14" fmla="*/ 122 w 253"/>
                  <a:gd name="T15" fmla="*/ 0 h 496"/>
                  <a:gd name="T16" fmla="*/ 90 w 253"/>
                  <a:gd name="T17" fmla="*/ 0 h 496"/>
                  <a:gd name="T18" fmla="*/ 74 w 253"/>
                  <a:gd name="T19" fmla="*/ 34 h 496"/>
                  <a:gd name="T20" fmla="*/ 65 w 253"/>
                  <a:gd name="T21" fmla="*/ 65 h 496"/>
                  <a:gd name="T22" fmla="*/ 34 w 253"/>
                  <a:gd name="T23" fmla="*/ 137 h 496"/>
                  <a:gd name="T24" fmla="*/ 34 w 253"/>
                  <a:gd name="T25" fmla="*/ 196 h 496"/>
                  <a:gd name="T26" fmla="*/ 25 w 253"/>
                  <a:gd name="T27" fmla="*/ 219 h 496"/>
                  <a:gd name="T28" fmla="*/ 16 w 253"/>
                  <a:gd name="T29" fmla="*/ 267 h 496"/>
                  <a:gd name="T30" fmla="*/ 16 w 253"/>
                  <a:gd name="T31" fmla="*/ 317 h 496"/>
                  <a:gd name="T32" fmla="*/ 25 w 253"/>
                  <a:gd name="T33" fmla="*/ 349 h 496"/>
                  <a:gd name="T34" fmla="*/ 16 w 253"/>
                  <a:gd name="T35" fmla="*/ 389 h 496"/>
                  <a:gd name="T36" fmla="*/ 9 w 253"/>
                  <a:gd name="T37" fmla="*/ 421 h 496"/>
                  <a:gd name="T38" fmla="*/ 0 w 253"/>
                  <a:gd name="T39" fmla="*/ 463 h 496"/>
                  <a:gd name="T40" fmla="*/ 9 w 253"/>
                  <a:gd name="T41" fmla="*/ 463 h 496"/>
                  <a:gd name="T42" fmla="*/ 16 w 253"/>
                  <a:gd name="T43" fmla="*/ 495 h 496"/>
                  <a:gd name="T44" fmla="*/ 57 w 253"/>
                  <a:gd name="T45" fmla="*/ 495 h 496"/>
                  <a:gd name="T46" fmla="*/ 57 w 253"/>
                  <a:gd name="T47" fmla="*/ 463 h 496"/>
                  <a:gd name="T48" fmla="*/ 74 w 253"/>
                  <a:gd name="T49" fmla="*/ 429 h 496"/>
                  <a:gd name="T50" fmla="*/ 99 w 253"/>
                  <a:gd name="T51" fmla="*/ 398 h 496"/>
                  <a:gd name="T52" fmla="*/ 74 w 253"/>
                  <a:gd name="T53" fmla="*/ 381 h 496"/>
                  <a:gd name="T54" fmla="*/ 82 w 253"/>
                  <a:gd name="T55" fmla="*/ 364 h 496"/>
                  <a:gd name="T56" fmla="*/ 99 w 253"/>
                  <a:gd name="T57" fmla="*/ 349 h 496"/>
                  <a:gd name="T58" fmla="*/ 106 w 253"/>
                  <a:gd name="T59" fmla="*/ 333 h 496"/>
                  <a:gd name="T60" fmla="*/ 115 w 253"/>
                  <a:gd name="T61" fmla="*/ 317 h 496"/>
                  <a:gd name="T62" fmla="*/ 122 w 253"/>
                  <a:gd name="T63" fmla="*/ 308 h 496"/>
                  <a:gd name="T64" fmla="*/ 106 w 253"/>
                  <a:gd name="T65" fmla="*/ 284 h 496"/>
                  <a:gd name="T66" fmla="*/ 139 w 253"/>
                  <a:gd name="T67" fmla="*/ 284 h 496"/>
                  <a:gd name="T68" fmla="*/ 139 w 253"/>
                  <a:gd name="T69" fmla="*/ 252 h 496"/>
                  <a:gd name="T70" fmla="*/ 162 w 253"/>
                  <a:gd name="T71" fmla="*/ 252 h 496"/>
                  <a:gd name="T72" fmla="*/ 211 w 253"/>
                  <a:gd name="T73" fmla="*/ 219 h 496"/>
                  <a:gd name="T74" fmla="*/ 202 w 253"/>
                  <a:gd name="T75" fmla="*/ 202 h 496"/>
                  <a:gd name="T76" fmla="*/ 187 w 253"/>
                  <a:gd name="T77" fmla="*/ 18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91" name="Freeform 64">
                <a:extLst>
                  <a:ext uri="{FF2B5EF4-FFF2-40B4-BE49-F238E27FC236}">
                    <a16:creationId xmlns:a16="http://schemas.microsoft.com/office/drawing/2014/main" id="{590151D1-F747-6F6A-0C42-1180D9B86DEF}"/>
                  </a:ext>
                </a:extLst>
              </p:cNvPr>
              <p:cNvSpPr>
                <a:spLocks/>
              </p:cNvSpPr>
              <p:nvPr/>
            </p:nvSpPr>
            <p:spPr bwMode="gray">
              <a:xfrm>
                <a:off x="3361180" y="5733869"/>
                <a:ext cx="60062" cy="37996"/>
              </a:xfrm>
              <a:custGeom>
                <a:avLst/>
                <a:gdLst>
                  <a:gd name="T0" fmla="*/ 0 w 42"/>
                  <a:gd name="T1" fmla="*/ 8 h 26"/>
                  <a:gd name="T2" fmla="*/ 16 w 42"/>
                  <a:gd name="T3" fmla="*/ 17 h 26"/>
                  <a:gd name="T4" fmla="*/ 24 w 42"/>
                  <a:gd name="T5" fmla="*/ 25 h 26"/>
                  <a:gd name="T6" fmla="*/ 41 w 42"/>
                  <a:gd name="T7" fmla="*/ 8 h 26"/>
                  <a:gd name="T8" fmla="*/ 41 w 42"/>
                  <a:gd name="T9" fmla="*/ 0 h 26"/>
                  <a:gd name="T10" fmla="*/ 16 w 42"/>
                  <a:gd name="T11" fmla="*/ 0 h 26"/>
                  <a:gd name="T12" fmla="*/ 7 w 42"/>
                  <a:gd name="T13" fmla="*/ 0 h 26"/>
                  <a:gd name="T14" fmla="*/ 0 w 42"/>
                  <a:gd name="T15" fmla="*/ 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0" y="8"/>
                    </a:moveTo>
                    <a:lnTo>
                      <a:pt x="16" y="17"/>
                    </a:lnTo>
                    <a:lnTo>
                      <a:pt x="24" y="25"/>
                    </a:lnTo>
                    <a:lnTo>
                      <a:pt x="41" y="8"/>
                    </a:lnTo>
                    <a:lnTo>
                      <a:pt x="41" y="0"/>
                    </a:lnTo>
                    <a:lnTo>
                      <a:pt x="16" y="0"/>
                    </a:lnTo>
                    <a:lnTo>
                      <a:pt x="7"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92" name="Freeform 65">
                <a:extLst>
                  <a:ext uri="{FF2B5EF4-FFF2-40B4-BE49-F238E27FC236}">
                    <a16:creationId xmlns:a16="http://schemas.microsoft.com/office/drawing/2014/main" id="{5400CA6F-14ED-811C-7F20-E11BBCE65257}"/>
                  </a:ext>
                </a:extLst>
              </p:cNvPr>
              <p:cNvSpPr>
                <a:spLocks/>
              </p:cNvSpPr>
              <p:nvPr/>
            </p:nvSpPr>
            <p:spPr bwMode="gray">
              <a:xfrm>
                <a:off x="3143310" y="3776489"/>
                <a:ext cx="36508" cy="24513"/>
              </a:xfrm>
              <a:custGeom>
                <a:avLst/>
                <a:gdLst>
                  <a:gd name="T0" fmla="*/ 0 w 26"/>
                  <a:gd name="T1" fmla="*/ 16 h 17"/>
                  <a:gd name="T2" fmla="*/ 9 w 26"/>
                  <a:gd name="T3" fmla="*/ 16 h 17"/>
                  <a:gd name="T4" fmla="*/ 25 w 26"/>
                  <a:gd name="T5" fmla="*/ 0 h 17"/>
                  <a:gd name="T6" fmla="*/ 16 w 26"/>
                  <a:gd name="T7" fmla="*/ 0 h 17"/>
                  <a:gd name="T8" fmla="*/ 0 w 26"/>
                  <a:gd name="T9" fmla="*/ 16 h 17"/>
                </a:gdLst>
                <a:ahLst/>
                <a:cxnLst>
                  <a:cxn ang="0">
                    <a:pos x="T0" y="T1"/>
                  </a:cxn>
                  <a:cxn ang="0">
                    <a:pos x="T2" y="T3"/>
                  </a:cxn>
                  <a:cxn ang="0">
                    <a:pos x="T4" y="T5"/>
                  </a:cxn>
                  <a:cxn ang="0">
                    <a:pos x="T6" y="T7"/>
                  </a:cxn>
                  <a:cxn ang="0">
                    <a:pos x="T8" y="T9"/>
                  </a:cxn>
                </a:cxnLst>
                <a:rect l="0" t="0" r="r" b="b"/>
                <a:pathLst>
                  <a:path w="26" h="17">
                    <a:moveTo>
                      <a:pt x="0" y="16"/>
                    </a:moveTo>
                    <a:lnTo>
                      <a:pt x="9" y="16"/>
                    </a:lnTo>
                    <a:lnTo>
                      <a:pt x="25" y="0"/>
                    </a:lnTo>
                    <a:lnTo>
                      <a:pt x="16"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93" name="Freeform 66">
                <a:extLst>
                  <a:ext uri="{FF2B5EF4-FFF2-40B4-BE49-F238E27FC236}">
                    <a16:creationId xmlns:a16="http://schemas.microsoft.com/office/drawing/2014/main" id="{8BCB0741-D4AC-A456-D46F-5F1F4AAF68E4}"/>
                  </a:ext>
                </a:extLst>
              </p:cNvPr>
              <p:cNvSpPr>
                <a:spLocks/>
              </p:cNvSpPr>
              <p:nvPr/>
            </p:nvSpPr>
            <p:spPr bwMode="gray">
              <a:xfrm>
                <a:off x="3143310" y="3776489"/>
                <a:ext cx="36508" cy="24513"/>
              </a:xfrm>
              <a:custGeom>
                <a:avLst/>
                <a:gdLst>
                  <a:gd name="T0" fmla="*/ 0 w 26"/>
                  <a:gd name="T1" fmla="*/ 16 h 17"/>
                  <a:gd name="T2" fmla="*/ 9 w 26"/>
                  <a:gd name="T3" fmla="*/ 16 h 17"/>
                  <a:gd name="T4" fmla="*/ 25 w 26"/>
                  <a:gd name="T5" fmla="*/ 0 h 17"/>
                  <a:gd name="T6" fmla="*/ 16 w 26"/>
                  <a:gd name="T7" fmla="*/ 0 h 17"/>
                  <a:gd name="T8" fmla="*/ 0 w 26"/>
                  <a:gd name="T9" fmla="*/ 16 h 17"/>
                </a:gdLst>
                <a:ahLst/>
                <a:cxnLst>
                  <a:cxn ang="0">
                    <a:pos x="T0" y="T1"/>
                  </a:cxn>
                  <a:cxn ang="0">
                    <a:pos x="T2" y="T3"/>
                  </a:cxn>
                  <a:cxn ang="0">
                    <a:pos x="T4" y="T5"/>
                  </a:cxn>
                  <a:cxn ang="0">
                    <a:pos x="T6" y="T7"/>
                  </a:cxn>
                  <a:cxn ang="0">
                    <a:pos x="T8" y="T9"/>
                  </a:cxn>
                </a:cxnLst>
                <a:rect l="0" t="0" r="r" b="b"/>
                <a:pathLst>
                  <a:path w="26" h="17">
                    <a:moveTo>
                      <a:pt x="0" y="16"/>
                    </a:moveTo>
                    <a:lnTo>
                      <a:pt x="9" y="16"/>
                    </a:lnTo>
                    <a:lnTo>
                      <a:pt x="25" y="0"/>
                    </a:lnTo>
                    <a:lnTo>
                      <a:pt x="16" y="0"/>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94" name="Freeform 67">
                <a:extLst>
                  <a:ext uri="{FF2B5EF4-FFF2-40B4-BE49-F238E27FC236}">
                    <a16:creationId xmlns:a16="http://schemas.microsoft.com/office/drawing/2014/main" id="{2E3A23A7-09F9-F9B4-6E0A-093A653149A2}"/>
                  </a:ext>
                </a:extLst>
              </p:cNvPr>
              <p:cNvSpPr>
                <a:spLocks/>
              </p:cNvSpPr>
              <p:nvPr/>
            </p:nvSpPr>
            <p:spPr bwMode="gray">
              <a:xfrm>
                <a:off x="3305829" y="3538711"/>
                <a:ext cx="45930" cy="26964"/>
              </a:xfrm>
              <a:custGeom>
                <a:avLst/>
                <a:gdLst>
                  <a:gd name="T0" fmla="*/ 0 w 33"/>
                  <a:gd name="T1" fmla="*/ 0 h 18"/>
                  <a:gd name="T2" fmla="*/ 16 w 33"/>
                  <a:gd name="T3" fmla="*/ 17 h 18"/>
                  <a:gd name="T4" fmla="*/ 32 w 33"/>
                  <a:gd name="T5" fmla="*/ 17 h 18"/>
                  <a:gd name="T6" fmla="*/ 16 w 33"/>
                  <a:gd name="T7" fmla="*/ 9 h 18"/>
                  <a:gd name="T8" fmla="*/ 0 w 33"/>
                  <a:gd name="T9" fmla="*/ 0 h 18"/>
                </a:gdLst>
                <a:ahLst/>
                <a:cxnLst>
                  <a:cxn ang="0">
                    <a:pos x="T0" y="T1"/>
                  </a:cxn>
                  <a:cxn ang="0">
                    <a:pos x="T2" y="T3"/>
                  </a:cxn>
                  <a:cxn ang="0">
                    <a:pos x="T4" y="T5"/>
                  </a:cxn>
                  <a:cxn ang="0">
                    <a:pos x="T6" y="T7"/>
                  </a:cxn>
                  <a:cxn ang="0">
                    <a:pos x="T8" y="T9"/>
                  </a:cxn>
                </a:cxnLst>
                <a:rect l="0" t="0" r="r" b="b"/>
                <a:pathLst>
                  <a:path w="33" h="18">
                    <a:moveTo>
                      <a:pt x="0" y="0"/>
                    </a:moveTo>
                    <a:lnTo>
                      <a:pt x="16" y="17"/>
                    </a:lnTo>
                    <a:lnTo>
                      <a:pt x="32" y="17"/>
                    </a:lnTo>
                    <a:lnTo>
                      <a:pt x="16" y="9"/>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95" name="Freeform 68">
                <a:extLst>
                  <a:ext uri="{FF2B5EF4-FFF2-40B4-BE49-F238E27FC236}">
                    <a16:creationId xmlns:a16="http://schemas.microsoft.com/office/drawing/2014/main" id="{D5C2431A-08EA-95AD-B5A1-62666186E6FD}"/>
                  </a:ext>
                </a:extLst>
              </p:cNvPr>
              <p:cNvSpPr>
                <a:spLocks/>
              </p:cNvSpPr>
              <p:nvPr/>
            </p:nvSpPr>
            <p:spPr bwMode="gray">
              <a:xfrm>
                <a:off x="3305829" y="3538711"/>
                <a:ext cx="45930" cy="26964"/>
              </a:xfrm>
              <a:custGeom>
                <a:avLst/>
                <a:gdLst>
                  <a:gd name="T0" fmla="*/ 0 w 33"/>
                  <a:gd name="T1" fmla="*/ 0 h 18"/>
                  <a:gd name="T2" fmla="*/ 16 w 33"/>
                  <a:gd name="T3" fmla="*/ 17 h 18"/>
                  <a:gd name="T4" fmla="*/ 32 w 33"/>
                  <a:gd name="T5" fmla="*/ 17 h 18"/>
                  <a:gd name="T6" fmla="*/ 16 w 33"/>
                  <a:gd name="T7" fmla="*/ 9 h 18"/>
                  <a:gd name="T8" fmla="*/ 0 w 33"/>
                  <a:gd name="T9" fmla="*/ 0 h 18"/>
                </a:gdLst>
                <a:ahLst/>
                <a:cxnLst>
                  <a:cxn ang="0">
                    <a:pos x="T0" y="T1"/>
                  </a:cxn>
                  <a:cxn ang="0">
                    <a:pos x="T2" y="T3"/>
                  </a:cxn>
                  <a:cxn ang="0">
                    <a:pos x="T4" y="T5"/>
                  </a:cxn>
                  <a:cxn ang="0">
                    <a:pos x="T6" y="T7"/>
                  </a:cxn>
                  <a:cxn ang="0">
                    <a:pos x="T8" y="T9"/>
                  </a:cxn>
                </a:cxnLst>
                <a:rect l="0" t="0" r="r" b="b"/>
                <a:pathLst>
                  <a:path w="33" h="18">
                    <a:moveTo>
                      <a:pt x="0" y="0"/>
                    </a:moveTo>
                    <a:lnTo>
                      <a:pt x="16" y="17"/>
                    </a:lnTo>
                    <a:lnTo>
                      <a:pt x="32" y="17"/>
                    </a:lnTo>
                    <a:lnTo>
                      <a:pt x="16" y="9"/>
                    </a:lnTo>
                    <a:lnTo>
                      <a:pt x="0"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96" name="Freeform 69">
                <a:extLst>
                  <a:ext uri="{FF2B5EF4-FFF2-40B4-BE49-F238E27FC236}">
                    <a16:creationId xmlns:a16="http://schemas.microsoft.com/office/drawing/2014/main" id="{C1004A03-3DCC-F748-618A-029D6F582540}"/>
                  </a:ext>
                </a:extLst>
              </p:cNvPr>
              <p:cNvSpPr>
                <a:spLocks/>
              </p:cNvSpPr>
              <p:nvPr/>
            </p:nvSpPr>
            <p:spPr bwMode="gray">
              <a:xfrm>
                <a:off x="3305829" y="3622055"/>
                <a:ext cx="45930" cy="36769"/>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0" y="8"/>
                    </a:moveTo>
                    <a:lnTo>
                      <a:pt x="24" y="24"/>
                    </a:lnTo>
                    <a:lnTo>
                      <a:pt x="24" y="15"/>
                    </a:lnTo>
                    <a:lnTo>
                      <a:pt x="32" y="8"/>
                    </a:lnTo>
                    <a:lnTo>
                      <a:pt x="16" y="8"/>
                    </a:lnTo>
                    <a:lnTo>
                      <a:pt x="7"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97" name="Freeform 70">
                <a:extLst>
                  <a:ext uri="{FF2B5EF4-FFF2-40B4-BE49-F238E27FC236}">
                    <a16:creationId xmlns:a16="http://schemas.microsoft.com/office/drawing/2014/main" id="{A26DD881-D0E5-22B3-C738-EA0FC166E07D}"/>
                  </a:ext>
                </a:extLst>
              </p:cNvPr>
              <p:cNvSpPr>
                <a:spLocks/>
              </p:cNvSpPr>
              <p:nvPr/>
            </p:nvSpPr>
            <p:spPr bwMode="gray">
              <a:xfrm>
                <a:off x="3305829" y="3622055"/>
                <a:ext cx="45930" cy="36769"/>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0" y="8"/>
                    </a:moveTo>
                    <a:lnTo>
                      <a:pt x="24" y="24"/>
                    </a:lnTo>
                    <a:lnTo>
                      <a:pt x="24" y="15"/>
                    </a:lnTo>
                    <a:lnTo>
                      <a:pt x="32" y="8"/>
                    </a:lnTo>
                    <a:lnTo>
                      <a:pt x="16" y="8"/>
                    </a:lnTo>
                    <a:lnTo>
                      <a:pt x="7" y="0"/>
                    </a:lnTo>
                    <a:lnTo>
                      <a:pt x="0"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98" name="Freeform 71">
                <a:extLst>
                  <a:ext uri="{FF2B5EF4-FFF2-40B4-BE49-F238E27FC236}">
                    <a16:creationId xmlns:a16="http://schemas.microsoft.com/office/drawing/2014/main" id="{A60E1C50-FEBB-A90E-408C-632BDA60E978}"/>
                  </a:ext>
                </a:extLst>
              </p:cNvPr>
              <p:cNvSpPr>
                <a:spLocks/>
              </p:cNvSpPr>
              <p:nvPr/>
            </p:nvSpPr>
            <p:spPr bwMode="gray">
              <a:xfrm>
                <a:off x="3395333" y="3493361"/>
                <a:ext cx="116590" cy="142177"/>
              </a:xfrm>
              <a:custGeom>
                <a:avLst/>
                <a:gdLst>
                  <a:gd name="T0" fmla="*/ 0 w 83"/>
                  <a:gd name="T1" fmla="*/ 72 h 97"/>
                  <a:gd name="T2" fmla="*/ 0 w 83"/>
                  <a:gd name="T3" fmla="*/ 80 h 97"/>
                  <a:gd name="T4" fmla="*/ 48 w 83"/>
                  <a:gd name="T5" fmla="*/ 80 h 97"/>
                  <a:gd name="T6" fmla="*/ 48 w 83"/>
                  <a:gd name="T7" fmla="*/ 88 h 97"/>
                  <a:gd name="T8" fmla="*/ 57 w 83"/>
                  <a:gd name="T9" fmla="*/ 80 h 97"/>
                  <a:gd name="T10" fmla="*/ 73 w 83"/>
                  <a:gd name="T11" fmla="*/ 88 h 97"/>
                  <a:gd name="T12" fmla="*/ 73 w 83"/>
                  <a:gd name="T13" fmla="*/ 96 h 97"/>
                  <a:gd name="T14" fmla="*/ 82 w 83"/>
                  <a:gd name="T15" fmla="*/ 96 h 97"/>
                  <a:gd name="T16" fmla="*/ 82 w 83"/>
                  <a:gd name="T17" fmla="*/ 80 h 97"/>
                  <a:gd name="T18" fmla="*/ 65 w 83"/>
                  <a:gd name="T19" fmla="*/ 72 h 97"/>
                  <a:gd name="T20" fmla="*/ 73 w 83"/>
                  <a:gd name="T21" fmla="*/ 63 h 97"/>
                  <a:gd name="T22" fmla="*/ 65 w 83"/>
                  <a:gd name="T23" fmla="*/ 56 h 97"/>
                  <a:gd name="T24" fmla="*/ 73 w 83"/>
                  <a:gd name="T25" fmla="*/ 48 h 97"/>
                  <a:gd name="T26" fmla="*/ 48 w 83"/>
                  <a:gd name="T27" fmla="*/ 48 h 97"/>
                  <a:gd name="T28" fmla="*/ 42 w 83"/>
                  <a:gd name="T29" fmla="*/ 40 h 97"/>
                  <a:gd name="T30" fmla="*/ 48 w 83"/>
                  <a:gd name="T31" fmla="*/ 31 h 97"/>
                  <a:gd name="T32" fmla="*/ 42 w 83"/>
                  <a:gd name="T33" fmla="*/ 31 h 97"/>
                  <a:gd name="T34" fmla="*/ 48 w 83"/>
                  <a:gd name="T35" fmla="*/ 0 h 97"/>
                  <a:gd name="T36" fmla="*/ 32 w 83"/>
                  <a:gd name="T37" fmla="*/ 6 h 97"/>
                  <a:gd name="T38" fmla="*/ 8 w 83"/>
                  <a:gd name="T39" fmla="*/ 56 h 97"/>
                  <a:gd name="T40" fmla="*/ 8 w 83"/>
                  <a:gd name="T41" fmla="*/ 63 h 97"/>
                  <a:gd name="T42" fmla="*/ 0 w 83"/>
                  <a:gd name="T43" fmla="*/ 7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6350" cap="rnd" cmpd="sng">
                <a:solidFill>
                  <a:srgbClr val="D0D0D0"/>
                </a:solidFill>
                <a:prstDash val="solid"/>
                <a:round/>
                <a:headEnd/>
                <a:tailEnd/>
              </a:ln>
              <a:effectLst/>
            </p:spPr>
            <p:txBody>
              <a:bodyPr/>
              <a:lstStyle/>
              <a:p>
                <a:endParaRPr lang="de-DE" dirty="0"/>
              </a:p>
            </p:txBody>
          </p:sp>
          <p:sp>
            <p:nvSpPr>
              <p:cNvPr id="100" name="Freeform 77">
                <a:extLst>
                  <a:ext uri="{FF2B5EF4-FFF2-40B4-BE49-F238E27FC236}">
                    <a16:creationId xmlns:a16="http://schemas.microsoft.com/office/drawing/2014/main" id="{C987CDE2-873F-0B0F-1B27-52F0D2942B43}"/>
                  </a:ext>
                </a:extLst>
              </p:cNvPr>
              <p:cNvSpPr>
                <a:spLocks/>
              </p:cNvSpPr>
              <p:nvPr/>
            </p:nvSpPr>
            <p:spPr bwMode="gray">
              <a:xfrm>
                <a:off x="2356623" y="3977497"/>
                <a:ext cx="539375" cy="368925"/>
              </a:xfrm>
              <a:custGeom>
                <a:avLst/>
                <a:gdLst>
                  <a:gd name="T0" fmla="*/ 243 w 383"/>
                  <a:gd name="T1" fmla="*/ 114 h 252"/>
                  <a:gd name="T2" fmla="*/ 251 w 383"/>
                  <a:gd name="T3" fmla="*/ 155 h 252"/>
                  <a:gd name="T4" fmla="*/ 268 w 383"/>
                  <a:gd name="T5" fmla="*/ 196 h 252"/>
                  <a:gd name="T6" fmla="*/ 317 w 383"/>
                  <a:gd name="T7" fmla="*/ 196 h 252"/>
                  <a:gd name="T8" fmla="*/ 323 w 383"/>
                  <a:gd name="T9" fmla="*/ 196 h 252"/>
                  <a:gd name="T10" fmla="*/ 341 w 383"/>
                  <a:gd name="T11" fmla="*/ 162 h 252"/>
                  <a:gd name="T12" fmla="*/ 373 w 383"/>
                  <a:gd name="T13" fmla="*/ 155 h 252"/>
                  <a:gd name="T14" fmla="*/ 373 w 383"/>
                  <a:gd name="T15" fmla="*/ 196 h 252"/>
                  <a:gd name="T16" fmla="*/ 364 w 383"/>
                  <a:gd name="T17" fmla="*/ 196 h 252"/>
                  <a:gd name="T18" fmla="*/ 332 w 383"/>
                  <a:gd name="T19" fmla="*/ 203 h 252"/>
                  <a:gd name="T20" fmla="*/ 341 w 383"/>
                  <a:gd name="T21" fmla="*/ 227 h 252"/>
                  <a:gd name="T22" fmla="*/ 317 w 383"/>
                  <a:gd name="T23" fmla="*/ 251 h 252"/>
                  <a:gd name="T24" fmla="*/ 276 w 383"/>
                  <a:gd name="T25" fmla="*/ 227 h 252"/>
                  <a:gd name="T26" fmla="*/ 243 w 383"/>
                  <a:gd name="T27" fmla="*/ 227 h 252"/>
                  <a:gd name="T28" fmla="*/ 195 w 383"/>
                  <a:gd name="T29" fmla="*/ 203 h 252"/>
                  <a:gd name="T30" fmla="*/ 155 w 383"/>
                  <a:gd name="T31" fmla="*/ 186 h 252"/>
                  <a:gd name="T32" fmla="*/ 155 w 383"/>
                  <a:gd name="T33" fmla="*/ 162 h 252"/>
                  <a:gd name="T34" fmla="*/ 114 w 383"/>
                  <a:gd name="T35" fmla="*/ 106 h 252"/>
                  <a:gd name="T36" fmla="*/ 96 w 383"/>
                  <a:gd name="T37" fmla="*/ 90 h 252"/>
                  <a:gd name="T38" fmla="*/ 81 w 383"/>
                  <a:gd name="T39" fmla="*/ 65 h 252"/>
                  <a:gd name="T40" fmla="*/ 64 w 383"/>
                  <a:gd name="T41" fmla="*/ 49 h 252"/>
                  <a:gd name="T42" fmla="*/ 40 w 383"/>
                  <a:gd name="T43" fmla="*/ 18 h 252"/>
                  <a:gd name="T44" fmla="*/ 32 w 383"/>
                  <a:gd name="T45" fmla="*/ 34 h 252"/>
                  <a:gd name="T46" fmla="*/ 81 w 383"/>
                  <a:gd name="T47" fmla="*/ 122 h 252"/>
                  <a:gd name="T48" fmla="*/ 96 w 383"/>
                  <a:gd name="T49" fmla="*/ 131 h 252"/>
                  <a:gd name="T50" fmla="*/ 81 w 383"/>
                  <a:gd name="T51" fmla="*/ 131 h 252"/>
                  <a:gd name="T52" fmla="*/ 64 w 383"/>
                  <a:gd name="T53" fmla="*/ 106 h 252"/>
                  <a:gd name="T54" fmla="*/ 32 w 383"/>
                  <a:gd name="T55" fmla="*/ 81 h 252"/>
                  <a:gd name="T56" fmla="*/ 32 w 383"/>
                  <a:gd name="T57" fmla="*/ 74 h 252"/>
                  <a:gd name="T58" fmla="*/ 16 w 383"/>
                  <a:gd name="T59" fmla="*/ 41 h 252"/>
                  <a:gd name="T60" fmla="*/ 24 w 383"/>
                  <a:gd name="T61" fmla="*/ 0 h 252"/>
                  <a:gd name="T62" fmla="*/ 137 w 383"/>
                  <a:gd name="T63" fmla="*/ 9 h 252"/>
                  <a:gd name="T64" fmla="*/ 155 w 383"/>
                  <a:gd name="T65" fmla="*/ 41 h 252"/>
                  <a:gd name="T66" fmla="*/ 179 w 383"/>
                  <a:gd name="T67" fmla="*/ 49 h 252"/>
                  <a:gd name="T68" fmla="*/ 195 w 383"/>
                  <a:gd name="T69" fmla="*/ 41 h 252"/>
                  <a:gd name="T70" fmla="*/ 251 w 383"/>
                  <a:gd name="T71" fmla="*/ 9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03" name="Freeform 78">
                <a:extLst>
                  <a:ext uri="{FF2B5EF4-FFF2-40B4-BE49-F238E27FC236}">
                    <a16:creationId xmlns:a16="http://schemas.microsoft.com/office/drawing/2014/main" id="{C6D772D6-B01A-32DD-20C4-FDBFCEFB6BEF}"/>
                  </a:ext>
                </a:extLst>
              </p:cNvPr>
              <p:cNvSpPr>
                <a:spLocks/>
              </p:cNvSpPr>
              <p:nvPr/>
            </p:nvSpPr>
            <p:spPr bwMode="gray">
              <a:xfrm>
                <a:off x="2859491" y="4264302"/>
                <a:ext cx="23553" cy="46574"/>
              </a:xfrm>
              <a:custGeom>
                <a:avLst/>
                <a:gdLst>
                  <a:gd name="T0" fmla="*/ 0 w 17"/>
                  <a:gd name="T1" fmla="*/ 31 h 32"/>
                  <a:gd name="T2" fmla="*/ 16 w 17"/>
                  <a:gd name="T3" fmla="*/ 31 h 32"/>
                  <a:gd name="T4" fmla="*/ 16 w 17"/>
                  <a:gd name="T5" fmla="*/ 0 h 32"/>
                  <a:gd name="T6" fmla="*/ 0 w 17"/>
                  <a:gd name="T7" fmla="*/ 7 h 32"/>
                  <a:gd name="T8" fmla="*/ 0 w 17"/>
                  <a:gd name="T9" fmla="*/ 31 h 32"/>
                </a:gdLst>
                <a:ahLst/>
                <a:cxnLst>
                  <a:cxn ang="0">
                    <a:pos x="T0" y="T1"/>
                  </a:cxn>
                  <a:cxn ang="0">
                    <a:pos x="T2" y="T3"/>
                  </a:cxn>
                  <a:cxn ang="0">
                    <a:pos x="T4" y="T5"/>
                  </a:cxn>
                  <a:cxn ang="0">
                    <a:pos x="T6" y="T7"/>
                  </a:cxn>
                  <a:cxn ang="0">
                    <a:pos x="T8" y="T9"/>
                  </a:cxn>
                </a:cxnLst>
                <a:rect l="0" t="0" r="r" b="b"/>
                <a:pathLst>
                  <a:path w="17" h="32">
                    <a:moveTo>
                      <a:pt x="0" y="31"/>
                    </a:moveTo>
                    <a:lnTo>
                      <a:pt x="16" y="31"/>
                    </a:lnTo>
                    <a:lnTo>
                      <a:pt x="16" y="0"/>
                    </a:lnTo>
                    <a:lnTo>
                      <a:pt x="0" y="7"/>
                    </a:lnTo>
                    <a:lnTo>
                      <a:pt x="0" y="31"/>
                    </a:lnTo>
                  </a:path>
                </a:pathLst>
              </a:custGeom>
              <a:grpFill/>
              <a:ln w="6350" cap="rnd" cmpd="sng">
                <a:solidFill>
                  <a:srgbClr val="D0D0D0"/>
                </a:solidFill>
                <a:prstDash val="solid"/>
                <a:round/>
                <a:headEnd/>
                <a:tailEnd/>
              </a:ln>
              <a:effectLst/>
            </p:spPr>
            <p:txBody>
              <a:bodyPr/>
              <a:lstStyle/>
              <a:p>
                <a:endParaRPr lang="de-DE" dirty="0"/>
              </a:p>
            </p:txBody>
          </p:sp>
          <p:sp>
            <p:nvSpPr>
              <p:cNvPr id="105" name="Freeform 79">
                <a:extLst>
                  <a:ext uri="{FF2B5EF4-FFF2-40B4-BE49-F238E27FC236}">
                    <a16:creationId xmlns:a16="http://schemas.microsoft.com/office/drawing/2014/main" id="{75456FCD-4DF5-8AB3-53B4-D184E624E603}"/>
                  </a:ext>
                </a:extLst>
              </p:cNvPr>
              <p:cNvSpPr>
                <a:spLocks/>
              </p:cNvSpPr>
              <p:nvPr/>
            </p:nvSpPr>
            <p:spPr bwMode="gray">
              <a:xfrm>
                <a:off x="2802961" y="4274107"/>
                <a:ext cx="67128" cy="87022"/>
              </a:xfrm>
              <a:custGeom>
                <a:avLst/>
                <a:gdLst>
                  <a:gd name="T0" fmla="*/ 40 w 48"/>
                  <a:gd name="T1" fmla="*/ 24 h 59"/>
                  <a:gd name="T2" fmla="*/ 47 w 48"/>
                  <a:gd name="T3" fmla="*/ 33 h 59"/>
                  <a:gd name="T4" fmla="*/ 31 w 48"/>
                  <a:gd name="T5" fmla="*/ 48 h 59"/>
                  <a:gd name="T6" fmla="*/ 24 w 48"/>
                  <a:gd name="T7" fmla="*/ 58 h 59"/>
                  <a:gd name="T8" fmla="*/ 0 w 48"/>
                  <a:gd name="T9" fmla="*/ 48 h 59"/>
                  <a:gd name="T10" fmla="*/ 6 w 48"/>
                  <a:gd name="T11" fmla="*/ 24 h 59"/>
                  <a:gd name="T12" fmla="*/ 24 w 48"/>
                  <a:gd name="T13" fmla="*/ 24 h 59"/>
                  <a:gd name="T14" fmla="*/ 6 w 48"/>
                  <a:gd name="T15" fmla="*/ 8 h 59"/>
                  <a:gd name="T16" fmla="*/ 15 w 48"/>
                  <a:gd name="T17" fmla="*/ 0 h 59"/>
                  <a:gd name="T18" fmla="*/ 40 w 48"/>
                  <a:gd name="T19" fmla="*/ 0 h 59"/>
                  <a:gd name="T20" fmla="*/ 40 w 48"/>
                  <a:gd name="T21"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6350" cap="rnd" cmpd="sng">
                <a:solidFill>
                  <a:srgbClr val="D0D0D0"/>
                </a:solidFill>
                <a:prstDash val="solid"/>
                <a:round/>
                <a:headEnd/>
                <a:tailEnd/>
              </a:ln>
              <a:effectLst/>
            </p:spPr>
            <p:txBody>
              <a:bodyPr/>
              <a:lstStyle/>
              <a:p>
                <a:endParaRPr lang="de-DE" dirty="0"/>
              </a:p>
            </p:txBody>
          </p:sp>
          <p:sp>
            <p:nvSpPr>
              <p:cNvPr id="108" name="Freeform 80">
                <a:extLst>
                  <a:ext uri="{FF2B5EF4-FFF2-40B4-BE49-F238E27FC236}">
                    <a16:creationId xmlns:a16="http://schemas.microsoft.com/office/drawing/2014/main" id="{796A0D35-D005-0A0A-BD9E-84C7CA8BF868}"/>
                  </a:ext>
                </a:extLst>
              </p:cNvPr>
              <p:cNvSpPr>
                <a:spLocks/>
              </p:cNvSpPr>
              <p:nvPr/>
            </p:nvSpPr>
            <p:spPr bwMode="gray">
              <a:xfrm>
                <a:off x="2846536" y="4323133"/>
                <a:ext cx="115412" cy="47801"/>
              </a:xfrm>
              <a:custGeom>
                <a:avLst/>
                <a:gdLst>
                  <a:gd name="T0" fmla="*/ 16 w 82"/>
                  <a:gd name="T1" fmla="*/ 0 h 33"/>
                  <a:gd name="T2" fmla="*/ 59 w 82"/>
                  <a:gd name="T3" fmla="*/ 0 h 33"/>
                  <a:gd name="T4" fmla="*/ 81 w 82"/>
                  <a:gd name="T5" fmla="*/ 7 h 33"/>
                  <a:gd name="T6" fmla="*/ 65 w 82"/>
                  <a:gd name="T7" fmla="*/ 15 h 33"/>
                  <a:gd name="T8" fmla="*/ 34 w 82"/>
                  <a:gd name="T9" fmla="*/ 32 h 33"/>
                  <a:gd name="T10" fmla="*/ 25 w 82"/>
                  <a:gd name="T11" fmla="*/ 32 h 33"/>
                  <a:gd name="T12" fmla="*/ 25 w 82"/>
                  <a:gd name="T13" fmla="*/ 25 h 33"/>
                  <a:gd name="T14" fmla="*/ 0 w 82"/>
                  <a:gd name="T15" fmla="*/ 15 h 33"/>
                  <a:gd name="T16" fmla="*/ 16 w 82"/>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grpFill/>
              <a:ln w="6350" cap="rnd" cmpd="sng">
                <a:solidFill>
                  <a:srgbClr val="D0D0D0"/>
                </a:solidFill>
                <a:prstDash val="solid"/>
                <a:round/>
                <a:headEnd/>
                <a:tailEnd/>
              </a:ln>
              <a:effectLst/>
            </p:spPr>
            <p:txBody>
              <a:bodyPr/>
              <a:lstStyle/>
              <a:p>
                <a:endParaRPr lang="de-DE" dirty="0"/>
              </a:p>
            </p:txBody>
          </p:sp>
          <p:sp>
            <p:nvSpPr>
              <p:cNvPr id="110" name="Freeform 81">
                <a:extLst>
                  <a:ext uri="{FF2B5EF4-FFF2-40B4-BE49-F238E27FC236}">
                    <a16:creationId xmlns:a16="http://schemas.microsoft.com/office/drawing/2014/main" id="{0C011755-8BA8-72E0-7142-6065ED5A370F}"/>
                  </a:ext>
                </a:extLst>
              </p:cNvPr>
              <p:cNvSpPr>
                <a:spLocks/>
              </p:cNvSpPr>
              <p:nvPr/>
            </p:nvSpPr>
            <p:spPr bwMode="gray">
              <a:xfrm>
                <a:off x="2837114" y="4345195"/>
                <a:ext cx="45930" cy="25739"/>
              </a:xfrm>
              <a:custGeom>
                <a:avLst/>
                <a:gdLst>
                  <a:gd name="T0" fmla="*/ 7 w 33"/>
                  <a:gd name="T1" fmla="*/ 0 h 18"/>
                  <a:gd name="T2" fmla="*/ 0 w 33"/>
                  <a:gd name="T3" fmla="*/ 10 h 18"/>
                  <a:gd name="T4" fmla="*/ 7 w 33"/>
                  <a:gd name="T5" fmla="*/ 17 h 18"/>
                  <a:gd name="T6" fmla="*/ 32 w 33"/>
                  <a:gd name="T7" fmla="*/ 17 h 18"/>
                  <a:gd name="T8" fmla="*/ 32 w 33"/>
                  <a:gd name="T9" fmla="*/ 10 h 18"/>
                  <a:gd name="T10" fmla="*/ 7 w 33"/>
                  <a:gd name="T11" fmla="*/ 0 h 18"/>
                </a:gdLst>
                <a:ahLst/>
                <a:cxnLst>
                  <a:cxn ang="0">
                    <a:pos x="T0" y="T1"/>
                  </a:cxn>
                  <a:cxn ang="0">
                    <a:pos x="T2" y="T3"/>
                  </a:cxn>
                  <a:cxn ang="0">
                    <a:pos x="T4" y="T5"/>
                  </a:cxn>
                  <a:cxn ang="0">
                    <a:pos x="T6" y="T7"/>
                  </a:cxn>
                  <a:cxn ang="0">
                    <a:pos x="T8" y="T9"/>
                  </a:cxn>
                  <a:cxn ang="0">
                    <a:pos x="T10" y="T11"/>
                  </a:cxn>
                </a:cxnLst>
                <a:rect l="0" t="0" r="r" b="b"/>
                <a:pathLst>
                  <a:path w="33" h="18">
                    <a:moveTo>
                      <a:pt x="7" y="0"/>
                    </a:moveTo>
                    <a:lnTo>
                      <a:pt x="0" y="10"/>
                    </a:lnTo>
                    <a:lnTo>
                      <a:pt x="7" y="17"/>
                    </a:lnTo>
                    <a:lnTo>
                      <a:pt x="32" y="17"/>
                    </a:lnTo>
                    <a:lnTo>
                      <a:pt x="32" y="10"/>
                    </a:lnTo>
                    <a:lnTo>
                      <a:pt x="7" y="0"/>
                    </a:lnTo>
                  </a:path>
                </a:pathLst>
              </a:custGeom>
              <a:grpFill/>
              <a:ln w="6350" cap="rnd" cmpd="sng">
                <a:solidFill>
                  <a:srgbClr val="D0D0D0"/>
                </a:solidFill>
                <a:prstDash val="solid"/>
                <a:round/>
                <a:headEnd/>
                <a:tailEnd/>
              </a:ln>
              <a:effectLst/>
            </p:spPr>
            <p:txBody>
              <a:bodyPr/>
              <a:lstStyle/>
              <a:p>
                <a:endParaRPr lang="de-DE" dirty="0"/>
              </a:p>
            </p:txBody>
          </p:sp>
          <p:sp>
            <p:nvSpPr>
              <p:cNvPr id="113" name="Freeform 82">
                <a:extLst>
                  <a:ext uri="{FF2B5EF4-FFF2-40B4-BE49-F238E27FC236}">
                    <a16:creationId xmlns:a16="http://schemas.microsoft.com/office/drawing/2014/main" id="{2472DFBA-4435-FF91-2813-A486B527DF87}"/>
                  </a:ext>
                </a:extLst>
              </p:cNvPr>
              <p:cNvSpPr>
                <a:spLocks/>
              </p:cNvSpPr>
              <p:nvPr/>
            </p:nvSpPr>
            <p:spPr bwMode="gray">
              <a:xfrm>
                <a:off x="2894821" y="4332939"/>
                <a:ext cx="67128" cy="87022"/>
              </a:xfrm>
              <a:custGeom>
                <a:avLst/>
                <a:gdLst>
                  <a:gd name="T0" fmla="*/ 47 w 48"/>
                  <a:gd name="T1" fmla="*/ 0 h 59"/>
                  <a:gd name="T2" fmla="*/ 47 w 48"/>
                  <a:gd name="T3" fmla="*/ 8 h 59"/>
                  <a:gd name="T4" fmla="*/ 40 w 48"/>
                  <a:gd name="T5" fmla="*/ 50 h 59"/>
                  <a:gd name="T6" fmla="*/ 47 w 48"/>
                  <a:gd name="T7" fmla="*/ 58 h 59"/>
                  <a:gd name="T8" fmla="*/ 40 w 48"/>
                  <a:gd name="T9" fmla="*/ 58 h 59"/>
                  <a:gd name="T10" fmla="*/ 15 w 48"/>
                  <a:gd name="T11" fmla="*/ 50 h 59"/>
                  <a:gd name="T12" fmla="*/ 0 w 48"/>
                  <a:gd name="T13" fmla="*/ 33 h 59"/>
                  <a:gd name="T14" fmla="*/ 0 w 48"/>
                  <a:gd name="T15" fmla="*/ 25 h 59"/>
                  <a:gd name="T16" fmla="*/ 31 w 48"/>
                  <a:gd name="T17" fmla="*/ 8 h 59"/>
                  <a:gd name="T18" fmla="*/ 47 w 48"/>
                  <a:gd name="T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6350" cap="rnd" cmpd="sng">
                <a:solidFill>
                  <a:srgbClr val="D0D0D0"/>
                </a:solidFill>
                <a:prstDash val="solid"/>
                <a:round/>
                <a:headEnd/>
                <a:tailEnd/>
              </a:ln>
              <a:effectLst/>
            </p:spPr>
            <p:txBody>
              <a:bodyPr/>
              <a:lstStyle/>
              <a:p>
                <a:endParaRPr lang="de-DE" dirty="0"/>
              </a:p>
            </p:txBody>
          </p:sp>
          <p:sp>
            <p:nvSpPr>
              <p:cNvPr id="114" name="Freeform 83">
                <a:extLst>
                  <a:ext uri="{FF2B5EF4-FFF2-40B4-BE49-F238E27FC236}">
                    <a16:creationId xmlns:a16="http://schemas.microsoft.com/office/drawing/2014/main" id="{14F34A30-3DB6-3B80-16F3-EF1C3FD7EABA}"/>
                  </a:ext>
                </a:extLst>
              </p:cNvPr>
              <p:cNvSpPr>
                <a:spLocks/>
              </p:cNvSpPr>
              <p:nvPr/>
            </p:nvSpPr>
            <p:spPr bwMode="gray">
              <a:xfrm>
                <a:off x="2916019" y="4406479"/>
                <a:ext cx="58884" cy="60057"/>
              </a:xfrm>
              <a:custGeom>
                <a:avLst/>
                <a:gdLst>
                  <a:gd name="T0" fmla="*/ 41 w 42"/>
                  <a:gd name="T1" fmla="*/ 40 h 41"/>
                  <a:gd name="T2" fmla="*/ 41 w 42"/>
                  <a:gd name="T3" fmla="*/ 24 h 41"/>
                  <a:gd name="T4" fmla="*/ 32 w 42"/>
                  <a:gd name="T5" fmla="*/ 15 h 41"/>
                  <a:gd name="T6" fmla="*/ 32 w 42"/>
                  <a:gd name="T7" fmla="*/ 8 h 41"/>
                  <a:gd name="T8" fmla="*/ 25 w 42"/>
                  <a:gd name="T9" fmla="*/ 8 h 41"/>
                  <a:gd name="T10" fmla="*/ 0 w 42"/>
                  <a:gd name="T11" fmla="*/ 0 h 41"/>
                  <a:gd name="T12" fmla="*/ 0 w 42"/>
                  <a:gd name="T13" fmla="*/ 15 h 41"/>
                  <a:gd name="T14" fmla="*/ 10 w 42"/>
                  <a:gd name="T15" fmla="*/ 24 h 41"/>
                  <a:gd name="T16" fmla="*/ 16 w 42"/>
                  <a:gd name="T17" fmla="*/ 15 h 41"/>
                  <a:gd name="T18" fmla="*/ 25 w 42"/>
                  <a:gd name="T19" fmla="*/ 31 h 41"/>
                  <a:gd name="T20" fmla="*/ 41 w 42"/>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6350" cap="rnd" cmpd="sng">
                <a:solidFill>
                  <a:srgbClr val="D0D0D0"/>
                </a:solidFill>
                <a:prstDash val="solid"/>
                <a:round/>
                <a:headEnd/>
                <a:tailEnd/>
              </a:ln>
              <a:effectLst/>
            </p:spPr>
            <p:txBody>
              <a:bodyPr/>
              <a:lstStyle/>
              <a:p>
                <a:endParaRPr lang="de-DE" dirty="0"/>
              </a:p>
            </p:txBody>
          </p:sp>
          <p:sp>
            <p:nvSpPr>
              <p:cNvPr id="115" name="Freeform 84">
                <a:extLst>
                  <a:ext uri="{FF2B5EF4-FFF2-40B4-BE49-F238E27FC236}">
                    <a16:creationId xmlns:a16="http://schemas.microsoft.com/office/drawing/2014/main" id="{73BB4E09-A066-7A21-2DC0-41FA6808395F}"/>
                  </a:ext>
                </a:extLst>
              </p:cNvPr>
              <p:cNvSpPr>
                <a:spLocks/>
              </p:cNvSpPr>
              <p:nvPr/>
            </p:nvSpPr>
            <p:spPr bwMode="gray">
              <a:xfrm>
                <a:off x="2973725" y="4440797"/>
                <a:ext cx="58884" cy="47801"/>
              </a:xfrm>
              <a:custGeom>
                <a:avLst/>
                <a:gdLst>
                  <a:gd name="T0" fmla="*/ 0 w 42"/>
                  <a:gd name="T1" fmla="*/ 16 h 32"/>
                  <a:gd name="T2" fmla="*/ 24 w 42"/>
                  <a:gd name="T3" fmla="*/ 25 h 32"/>
                  <a:gd name="T4" fmla="*/ 24 w 42"/>
                  <a:gd name="T5" fmla="*/ 31 h 32"/>
                  <a:gd name="T6" fmla="*/ 32 w 42"/>
                  <a:gd name="T7" fmla="*/ 25 h 32"/>
                  <a:gd name="T8" fmla="*/ 24 w 42"/>
                  <a:gd name="T9" fmla="*/ 16 h 32"/>
                  <a:gd name="T10" fmla="*/ 41 w 42"/>
                  <a:gd name="T11" fmla="*/ 7 h 32"/>
                  <a:gd name="T12" fmla="*/ 32 w 42"/>
                  <a:gd name="T13" fmla="*/ 0 h 32"/>
                  <a:gd name="T14" fmla="*/ 16 w 42"/>
                  <a:gd name="T15" fmla="*/ 7 h 32"/>
                  <a:gd name="T16" fmla="*/ 9 w 42"/>
                  <a:gd name="T17" fmla="*/ 7 h 32"/>
                  <a:gd name="T18" fmla="*/ 0 w 42"/>
                  <a:gd name="T19" fmla="*/ 0 h 32"/>
                  <a:gd name="T20" fmla="*/ 0 w 42"/>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116" name="Freeform 85">
                <a:extLst>
                  <a:ext uri="{FF2B5EF4-FFF2-40B4-BE49-F238E27FC236}">
                    <a16:creationId xmlns:a16="http://schemas.microsoft.com/office/drawing/2014/main" id="{A23AA6C4-5285-33B0-79D7-32F0900229A8}"/>
                  </a:ext>
                </a:extLst>
              </p:cNvPr>
              <p:cNvSpPr>
                <a:spLocks/>
              </p:cNvSpPr>
              <p:nvPr/>
            </p:nvSpPr>
            <p:spPr bwMode="gray">
              <a:xfrm>
                <a:off x="3031431" y="4440797"/>
                <a:ext cx="44752" cy="47801"/>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6350" cap="rnd" cmpd="sng">
                <a:solidFill>
                  <a:srgbClr val="D0D0D0"/>
                </a:solidFill>
                <a:prstDash val="solid"/>
                <a:round/>
                <a:headEnd/>
                <a:tailEnd/>
              </a:ln>
              <a:effectLst/>
            </p:spPr>
            <p:txBody>
              <a:bodyPr/>
              <a:lstStyle/>
              <a:p>
                <a:endParaRPr lang="de-DE" dirty="0"/>
              </a:p>
            </p:txBody>
          </p:sp>
          <p:sp>
            <p:nvSpPr>
              <p:cNvPr id="117" name="Freeform 86">
                <a:extLst>
                  <a:ext uri="{FF2B5EF4-FFF2-40B4-BE49-F238E27FC236}">
                    <a16:creationId xmlns:a16="http://schemas.microsoft.com/office/drawing/2014/main" id="{125ECBD8-8D62-EDDD-C8A3-B9FBC0DDCC49}"/>
                  </a:ext>
                </a:extLst>
              </p:cNvPr>
              <p:cNvSpPr>
                <a:spLocks/>
              </p:cNvSpPr>
              <p:nvPr/>
            </p:nvSpPr>
            <p:spPr bwMode="gray">
              <a:xfrm>
                <a:off x="3031431" y="4440797"/>
                <a:ext cx="44752" cy="47801"/>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18" name="Freeform 87">
                <a:extLst>
                  <a:ext uri="{FF2B5EF4-FFF2-40B4-BE49-F238E27FC236}">
                    <a16:creationId xmlns:a16="http://schemas.microsoft.com/office/drawing/2014/main" id="{67F2DF1B-1FF1-FD5B-7454-1BB469EB78E0}"/>
                  </a:ext>
                </a:extLst>
              </p:cNvPr>
              <p:cNvSpPr>
                <a:spLocks/>
              </p:cNvSpPr>
              <p:nvPr/>
            </p:nvSpPr>
            <p:spPr bwMode="gray">
              <a:xfrm>
                <a:off x="3018476" y="4440797"/>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grpFill/>
              <a:ln w="6350" cap="rnd" cmpd="sng">
                <a:solidFill>
                  <a:srgbClr val="D0D0D0"/>
                </a:solidFill>
                <a:prstDash val="solid"/>
                <a:round/>
                <a:headEnd/>
                <a:tailEnd/>
              </a:ln>
              <a:effectLst/>
            </p:spPr>
            <p:txBody>
              <a:bodyPr/>
              <a:lstStyle/>
              <a:p>
                <a:endParaRPr lang="de-DE" dirty="0"/>
              </a:p>
            </p:txBody>
          </p:sp>
          <p:sp>
            <p:nvSpPr>
              <p:cNvPr id="119" name="Freeform 88">
                <a:extLst>
                  <a:ext uri="{FF2B5EF4-FFF2-40B4-BE49-F238E27FC236}">
                    <a16:creationId xmlns:a16="http://schemas.microsoft.com/office/drawing/2014/main" id="{E8EA5CE4-6017-3D55-0429-EBA43E201FAA}"/>
                  </a:ext>
                </a:extLst>
              </p:cNvPr>
              <p:cNvSpPr>
                <a:spLocks/>
              </p:cNvSpPr>
              <p:nvPr/>
            </p:nvSpPr>
            <p:spPr bwMode="gray">
              <a:xfrm>
                <a:off x="3018476" y="4440797"/>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21" name="Freeform 89">
                <a:extLst>
                  <a:ext uri="{FF2B5EF4-FFF2-40B4-BE49-F238E27FC236}">
                    <a16:creationId xmlns:a16="http://schemas.microsoft.com/office/drawing/2014/main" id="{C73AED38-FBEB-E183-4768-89F4B1A00BCE}"/>
                  </a:ext>
                </a:extLst>
              </p:cNvPr>
              <p:cNvSpPr>
                <a:spLocks/>
              </p:cNvSpPr>
              <p:nvPr/>
            </p:nvSpPr>
            <p:spPr bwMode="gray">
              <a:xfrm>
                <a:off x="3018476" y="4440797"/>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grpFill/>
              <a:ln w="6350" cap="rnd" cmpd="sng">
                <a:solidFill>
                  <a:srgbClr val="D0D0D0"/>
                </a:solidFill>
                <a:prstDash val="solid"/>
                <a:round/>
                <a:headEnd/>
                <a:tailEnd/>
              </a:ln>
              <a:effectLst/>
            </p:spPr>
            <p:txBody>
              <a:bodyPr/>
              <a:lstStyle/>
              <a:p>
                <a:endParaRPr lang="de-DE" dirty="0"/>
              </a:p>
            </p:txBody>
          </p:sp>
          <p:sp>
            <p:nvSpPr>
              <p:cNvPr id="124" name="Freeform 90">
                <a:extLst>
                  <a:ext uri="{FF2B5EF4-FFF2-40B4-BE49-F238E27FC236}">
                    <a16:creationId xmlns:a16="http://schemas.microsoft.com/office/drawing/2014/main" id="{FA20B878-5E9D-F745-29D6-BA87E28CCEE8}"/>
                  </a:ext>
                </a:extLst>
              </p:cNvPr>
              <p:cNvSpPr>
                <a:spLocks/>
              </p:cNvSpPr>
              <p:nvPr/>
            </p:nvSpPr>
            <p:spPr bwMode="gray">
              <a:xfrm>
                <a:off x="3165685" y="4241014"/>
                <a:ext cx="70660" cy="46574"/>
              </a:xfrm>
              <a:custGeom>
                <a:avLst/>
                <a:gdLst>
                  <a:gd name="T0" fmla="*/ 0 w 50"/>
                  <a:gd name="T1" fmla="*/ 23 h 32"/>
                  <a:gd name="T2" fmla="*/ 0 w 50"/>
                  <a:gd name="T3" fmla="*/ 0 h 32"/>
                  <a:gd name="T4" fmla="*/ 24 w 50"/>
                  <a:gd name="T5" fmla="*/ 0 h 32"/>
                  <a:gd name="T6" fmla="*/ 24 w 50"/>
                  <a:gd name="T7" fmla="*/ 6 h 32"/>
                  <a:gd name="T8" fmla="*/ 34 w 50"/>
                  <a:gd name="T9" fmla="*/ 6 h 32"/>
                  <a:gd name="T10" fmla="*/ 49 w 50"/>
                  <a:gd name="T11" fmla="*/ 16 h 32"/>
                  <a:gd name="T12" fmla="*/ 41 w 50"/>
                  <a:gd name="T13" fmla="*/ 23 h 32"/>
                  <a:gd name="T14" fmla="*/ 41 w 50"/>
                  <a:gd name="T15" fmla="*/ 16 h 32"/>
                  <a:gd name="T16" fmla="*/ 18 w 50"/>
                  <a:gd name="T17" fmla="*/ 23 h 32"/>
                  <a:gd name="T18" fmla="*/ 18 w 50"/>
                  <a:gd name="T19" fmla="*/ 16 h 32"/>
                  <a:gd name="T20" fmla="*/ 9 w 50"/>
                  <a:gd name="T21" fmla="*/ 23 h 32"/>
                  <a:gd name="T22" fmla="*/ 9 w 50"/>
                  <a:gd name="T23" fmla="*/ 31 h 32"/>
                  <a:gd name="T24" fmla="*/ 0 w 50"/>
                  <a:gd name="T2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6350" cap="rnd" cmpd="sng">
                <a:solidFill>
                  <a:srgbClr val="D0D0D0"/>
                </a:solidFill>
                <a:prstDash val="solid"/>
                <a:round/>
                <a:headEnd/>
                <a:tailEnd/>
              </a:ln>
              <a:effectLst/>
            </p:spPr>
            <p:txBody>
              <a:bodyPr/>
              <a:lstStyle/>
              <a:p>
                <a:endParaRPr lang="de-DE" dirty="0"/>
              </a:p>
            </p:txBody>
          </p:sp>
          <p:sp>
            <p:nvSpPr>
              <p:cNvPr id="125" name="Freeform 91">
                <a:extLst>
                  <a:ext uri="{FF2B5EF4-FFF2-40B4-BE49-F238E27FC236}">
                    <a16:creationId xmlns:a16="http://schemas.microsoft.com/office/drawing/2014/main" id="{C05D4C64-FF86-1DEF-7D58-AA0FB3A7574C}"/>
                  </a:ext>
                </a:extLst>
              </p:cNvPr>
              <p:cNvSpPr>
                <a:spLocks/>
              </p:cNvSpPr>
              <p:nvPr/>
            </p:nvSpPr>
            <p:spPr bwMode="gray">
              <a:xfrm>
                <a:off x="3122112" y="4241014"/>
                <a:ext cx="45930" cy="34318"/>
              </a:xfrm>
              <a:custGeom>
                <a:avLst/>
                <a:gdLst>
                  <a:gd name="T0" fmla="*/ 31 w 32"/>
                  <a:gd name="T1" fmla="*/ 23 h 24"/>
                  <a:gd name="T2" fmla="*/ 31 w 32"/>
                  <a:gd name="T3" fmla="*/ 0 h 24"/>
                  <a:gd name="T4" fmla="*/ 15 w 32"/>
                  <a:gd name="T5" fmla="*/ 0 h 24"/>
                  <a:gd name="T6" fmla="*/ 24 w 32"/>
                  <a:gd name="T7" fmla="*/ 16 h 24"/>
                  <a:gd name="T8" fmla="*/ 0 w 32"/>
                  <a:gd name="T9" fmla="*/ 23 h 24"/>
                  <a:gd name="T10" fmla="*/ 6 w 32"/>
                  <a:gd name="T11" fmla="*/ 23 h 24"/>
                  <a:gd name="T12" fmla="*/ 31 w 32"/>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31" y="23"/>
                    </a:moveTo>
                    <a:lnTo>
                      <a:pt x="31" y="0"/>
                    </a:lnTo>
                    <a:lnTo>
                      <a:pt x="15" y="0"/>
                    </a:lnTo>
                    <a:lnTo>
                      <a:pt x="24" y="16"/>
                    </a:lnTo>
                    <a:lnTo>
                      <a:pt x="0" y="23"/>
                    </a:lnTo>
                    <a:lnTo>
                      <a:pt x="6" y="23"/>
                    </a:lnTo>
                    <a:lnTo>
                      <a:pt x="31" y="23"/>
                    </a:lnTo>
                  </a:path>
                </a:pathLst>
              </a:custGeom>
              <a:grpFill/>
              <a:ln w="6350" cap="rnd" cmpd="sng">
                <a:solidFill>
                  <a:srgbClr val="D0D0D0"/>
                </a:solidFill>
                <a:prstDash val="solid"/>
                <a:round/>
                <a:headEnd/>
                <a:tailEnd/>
              </a:ln>
              <a:effectLst/>
            </p:spPr>
            <p:txBody>
              <a:bodyPr/>
              <a:lstStyle/>
              <a:p>
                <a:endParaRPr lang="de-DE" dirty="0"/>
              </a:p>
            </p:txBody>
          </p:sp>
          <p:sp>
            <p:nvSpPr>
              <p:cNvPr id="126" name="Freeform 92">
                <a:extLst>
                  <a:ext uri="{FF2B5EF4-FFF2-40B4-BE49-F238E27FC236}">
                    <a16:creationId xmlns:a16="http://schemas.microsoft.com/office/drawing/2014/main" id="{8EA010D8-29A1-6E3A-4956-11DB4E400118}"/>
                  </a:ext>
                </a:extLst>
              </p:cNvPr>
              <p:cNvSpPr>
                <a:spLocks/>
              </p:cNvSpPr>
              <p:nvPr/>
            </p:nvSpPr>
            <p:spPr bwMode="gray">
              <a:xfrm>
                <a:off x="3042030" y="4380740"/>
                <a:ext cx="207271" cy="311318"/>
              </a:xfrm>
              <a:custGeom>
                <a:avLst/>
                <a:gdLst>
                  <a:gd name="T0" fmla="*/ 112 w 147"/>
                  <a:gd name="T1" fmla="*/ 211 h 212"/>
                  <a:gd name="T2" fmla="*/ 122 w 147"/>
                  <a:gd name="T3" fmla="*/ 178 h 212"/>
                  <a:gd name="T4" fmla="*/ 112 w 147"/>
                  <a:gd name="T5" fmla="*/ 154 h 212"/>
                  <a:gd name="T6" fmla="*/ 122 w 147"/>
                  <a:gd name="T7" fmla="*/ 154 h 212"/>
                  <a:gd name="T8" fmla="*/ 112 w 147"/>
                  <a:gd name="T9" fmla="*/ 146 h 212"/>
                  <a:gd name="T10" fmla="*/ 112 w 147"/>
                  <a:gd name="T11" fmla="*/ 137 h 212"/>
                  <a:gd name="T12" fmla="*/ 146 w 147"/>
                  <a:gd name="T13" fmla="*/ 137 h 212"/>
                  <a:gd name="T14" fmla="*/ 146 w 147"/>
                  <a:gd name="T15" fmla="*/ 122 h 212"/>
                  <a:gd name="T16" fmla="*/ 137 w 147"/>
                  <a:gd name="T17" fmla="*/ 106 h 212"/>
                  <a:gd name="T18" fmla="*/ 146 w 147"/>
                  <a:gd name="T19" fmla="*/ 81 h 212"/>
                  <a:gd name="T20" fmla="*/ 122 w 147"/>
                  <a:gd name="T21" fmla="*/ 81 h 212"/>
                  <a:gd name="T22" fmla="*/ 112 w 147"/>
                  <a:gd name="T23" fmla="*/ 72 h 212"/>
                  <a:gd name="T24" fmla="*/ 88 w 147"/>
                  <a:gd name="T25" fmla="*/ 72 h 212"/>
                  <a:gd name="T26" fmla="*/ 81 w 147"/>
                  <a:gd name="T27" fmla="*/ 66 h 212"/>
                  <a:gd name="T28" fmla="*/ 81 w 147"/>
                  <a:gd name="T29" fmla="*/ 57 h 212"/>
                  <a:gd name="T30" fmla="*/ 72 w 147"/>
                  <a:gd name="T31" fmla="*/ 41 h 212"/>
                  <a:gd name="T32" fmla="*/ 81 w 147"/>
                  <a:gd name="T33" fmla="*/ 25 h 212"/>
                  <a:gd name="T34" fmla="*/ 88 w 147"/>
                  <a:gd name="T35" fmla="*/ 17 h 212"/>
                  <a:gd name="T36" fmla="*/ 97 w 147"/>
                  <a:gd name="T37" fmla="*/ 7 h 212"/>
                  <a:gd name="T38" fmla="*/ 88 w 147"/>
                  <a:gd name="T39" fmla="*/ 0 h 212"/>
                  <a:gd name="T40" fmla="*/ 72 w 147"/>
                  <a:gd name="T41" fmla="*/ 17 h 212"/>
                  <a:gd name="T42" fmla="*/ 48 w 147"/>
                  <a:gd name="T43" fmla="*/ 25 h 212"/>
                  <a:gd name="T44" fmla="*/ 40 w 147"/>
                  <a:gd name="T45" fmla="*/ 41 h 212"/>
                  <a:gd name="T46" fmla="*/ 23 w 147"/>
                  <a:gd name="T47" fmla="*/ 48 h 212"/>
                  <a:gd name="T48" fmla="*/ 23 w 147"/>
                  <a:gd name="T49" fmla="*/ 66 h 212"/>
                  <a:gd name="T50" fmla="*/ 16 w 147"/>
                  <a:gd name="T51" fmla="*/ 48 h 212"/>
                  <a:gd name="T52" fmla="*/ 23 w 147"/>
                  <a:gd name="T53" fmla="*/ 57 h 212"/>
                  <a:gd name="T54" fmla="*/ 16 w 147"/>
                  <a:gd name="T55" fmla="*/ 66 h 212"/>
                  <a:gd name="T56" fmla="*/ 16 w 147"/>
                  <a:gd name="T57" fmla="*/ 72 h 212"/>
                  <a:gd name="T58" fmla="*/ 16 w 147"/>
                  <a:gd name="T59" fmla="*/ 81 h 212"/>
                  <a:gd name="T60" fmla="*/ 16 w 147"/>
                  <a:gd name="T61" fmla="*/ 113 h 212"/>
                  <a:gd name="T62" fmla="*/ 23 w 147"/>
                  <a:gd name="T63" fmla="*/ 113 h 212"/>
                  <a:gd name="T64" fmla="*/ 16 w 147"/>
                  <a:gd name="T65" fmla="*/ 131 h 212"/>
                  <a:gd name="T66" fmla="*/ 7 w 147"/>
                  <a:gd name="T67" fmla="*/ 131 h 212"/>
                  <a:gd name="T68" fmla="*/ 7 w 147"/>
                  <a:gd name="T69" fmla="*/ 137 h 212"/>
                  <a:gd name="T70" fmla="*/ 0 w 147"/>
                  <a:gd name="T71" fmla="*/ 137 h 212"/>
                  <a:gd name="T72" fmla="*/ 0 w 147"/>
                  <a:gd name="T73" fmla="*/ 146 h 212"/>
                  <a:gd name="T74" fmla="*/ 23 w 147"/>
                  <a:gd name="T75" fmla="*/ 162 h 212"/>
                  <a:gd name="T76" fmla="*/ 40 w 147"/>
                  <a:gd name="T77" fmla="*/ 154 h 212"/>
                  <a:gd name="T78" fmla="*/ 48 w 147"/>
                  <a:gd name="T79" fmla="*/ 162 h 212"/>
                  <a:gd name="T80" fmla="*/ 63 w 147"/>
                  <a:gd name="T81" fmla="*/ 178 h 212"/>
                  <a:gd name="T82" fmla="*/ 72 w 147"/>
                  <a:gd name="T83" fmla="*/ 194 h 212"/>
                  <a:gd name="T84" fmla="*/ 106 w 147"/>
                  <a:gd name="T85" fmla="*/ 187 h 212"/>
                  <a:gd name="T86" fmla="*/ 112 w 147"/>
                  <a:gd name="T87" fmla="*/ 194 h 212"/>
                  <a:gd name="T88" fmla="*/ 112 w 147"/>
                  <a:gd name="T89" fmla="*/ 203 h 212"/>
                  <a:gd name="T90" fmla="*/ 106 w 147"/>
                  <a:gd name="T91" fmla="*/ 203 h 212"/>
                  <a:gd name="T92" fmla="*/ 112 w 147"/>
                  <a:gd name="T93" fmla="*/ 21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27" name="Freeform 93">
                <a:extLst>
                  <a:ext uri="{FF2B5EF4-FFF2-40B4-BE49-F238E27FC236}">
                    <a16:creationId xmlns:a16="http://schemas.microsoft.com/office/drawing/2014/main" id="{98FF024B-F817-7019-EAF2-1CB28A827D5D}"/>
                  </a:ext>
                </a:extLst>
              </p:cNvPr>
              <p:cNvSpPr>
                <a:spLocks/>
              </p:cNvSpPr>
              <p:nvPr/>
            </p:nvSpPr>
            <p:spPr bwMode="gray">
              <a:xfrm>
                <a:off x="3006700" y="4595230"/>
                <a:ext cx="104813" cy="120114"/>
              </a:xfrm>
              <a:custGeom>
                <a:avLst/>
                <a:gdLst>
                  <a:gd name="T0" fmla="*/ 73 w 74"/>
                  <a:gd name="T1" fmla="*/ 16 h 82"/>
                  <a:gd name="T2" fmla="*/ 65 w 74"/>
                  <a:gd name="T3" fmla="*/ 8 h 82"/>
                  <a:gd name="T4" fmla="*/ 48 w 74"/>
                  <a:gd name="T5" fmla="*/ 16 h 82"/>
                  <a:gd name="T6" fmla="*/ 25 w 74"/>
                  <a:gd name="T7" fmla="*/ 0 h 82"/>
                  <a:gd name="T8" fmla="*/ 8 w 74"/>
                  <a:gd name="T9" fmla="*/ 8 h 82"/>
                  <a:gd name="T10" fmla="*/ 8 w 74"/>
                  <a:gd name="T11" fmla="*/ 16 h 82"/>
                  <a:gd name="T12" fmla="*/ 0 w 74"/>
                  <a:gd name="T13" fmla="*/ 25 h 82"/>
                  <a:gd name="T14" fmla="*/ 0 w 74"/>
                  <a:gd name="T15" fmla="*/ 41 h 82"/>
                  <a:gd name="T16" fmla="*/ 8 w 74"/>
                  <a:gd name="T17" fmla="*/ 57 h 82"/>
                  <a:gd name="T18" fmla="*/ 8 w 74"/>
                  <a:gd name="T19" fmla="*/ 48 h 82"/>
                  <a:gd name="T20" fmla="*/ 17 w 74"/>
                  <a:gd name="T21" fmla="*/ 48 h 82"/>
                  <a:gd name="T22" fmla="*/ 8 w 74"/>
                  <a:gd name="T23" fmla="*/ 57 h 82"/>
                  <a:gd name="T24" fmla="*/ 0 w 74"/>
                  <a:gd name="T25" fmla="*/ 73 h 82"/>
                  <a:gd name="T26" fmla="*/ 17 w 74"/>
                  <a:gd name="T27" fmla="*/ 81 h 82"/>
                  <a:gd name="T28" fmla="*/ 41 w 74"/>
                  <a:gd name="T29" fmla="*/ 57 h 82"/>
                  <a:gd name="T30" fmla="*/ 57 w 74"/>
                  <a:gd name="T31" fmla="*/ 48 h 82"/>
                  <a:gd name="T32" fmla="*/ 65 w 74"/>
                  <a:gd name="T33" fmla="*/ 41 h 82"/>
                  <a:gd name="T34" fmla="*/ 73 w 74"/>
                  <a:gd name="T35" fmla="*/ 25 h 82"/>
                  <a:gd name="T36" fmla="*/ 65 w 74"/>
                  <a:gd name="T37" fmla="*/ 16 h 82"/>
                  <a:gd name="T38" fmla="*/ 73 w 74"/>
                  <a:gd name="T3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28" name="Freeform 94">
                <a:extLst>
                  <a:ext uri="{FF2B5EF4-FFF2-40B4-BE49-F238E27FC236}">
                    <a16:creationId xmlns:a16="http://schemas.microsoft.com/office/drawing/2014/main" id="{70896D2E-B742-7087-31D5-3EBFE3061643}"/>
                  </a:ext>
                </a:extLst>
              </p:cNvPr>
              <p:cNvSpPr>
                <a:spLocks/>
              </p:cNvSpPr>
              <p:nvPr/>
            </p:nvSpPr>
            <p:spPr bwMode="gray">
              <a:xfrm>
                <a:off x="2996101" y="4618519"/>
                <a:ext cx="229647" cy="344410"/>
              </a:xfrm>
              <a:custGeom>
                <a:avLst/>
                <a:gdLst>
                  <a:gd name="T0" fmla="*/ 155 w 163"/>
                  <a:gd name="T1" fmla="*/ 137 h 235"/>
                  <a:gd name="T2" fmla="*/ 139 w 163"/>
                  <a:gd name="T3" fmla="*/ 137 h 235"/>
                  <a:gd name="T4" fmla="*/ 139 w 163"/>
                  <a:gd name="T5" fmla="*/ 122 h 235"/>
                  <a:gd name="T6" fmla="*/ 121 w 163"/>
                  <a:gd name="T7" fmla="*/ 131 h 235"/>
                  <a:gd name="T8" fmla="*/ 105 w 163"/>
                  <a:gd name="T9" fmla="*/ 122 h 235"/>
                  <a:gd name="T10" fmla="*/ 96 w 163"/>
                  <a:gd name="T11" fmla="*/ 97 h 235"/>
                  <a:gd name="T12" fmla="*/ 114 w 163"/>
                  <a:gd name="T13" fmla="*/ 65 h 235"/>
                  <a:gd name="T14" fmla="*/ 145 w 163"/>
                  <a:gd name="T15" fmla="*/ 49 h 235"/>
                  <a:gd name="T16" fmla="*/ 139 w 163"/>
                  <a:gd name="T17" fmla="*/ 41 h 235"/>
                  <a:gd name="T18" fmla="*/ 145 w 163"/>
                  <a:gd name="T19" fmla="*/ 41 h 235"/>
                  <a:gd name="T20" fmla="*/ 145 w 163"/>
                  <a:gd name="T21" fmla="*/ 32 h 235"/>
                  <a:gd name="T22" fmla="*/ 139 w 163"/>
                  <a:gd name="T23" fmla="*/ 25 h 235"/>
                  <a:gd name="T24" fmla="*/ 105 w 163"/>
                  <a:gd name="T25" fmla="*/ 32 h 235"/>
                  <a:gd name="T26" fmla="*/ 96 w 163"/>
                  <a:gd name="T27" fmla="*/ 16 h 235"/>
                  <a:gd name="T28" fmla="*/ 81 w 163"/>
                  <a:gd name="T29" fmla="*/ 0 h 235"/>
                  <a:gd name="T30" fmla="*/ 73 w 163"/>
                  <a:gd name="T31" fmla="*/ 0 h 235"/>
                  <a:gd name="T32" fmla="*/ 81 w 163"/>
                  <a:gd name="T33" fmla="*/ 9 h 235"/>
                  <a:gd name="T34" fmla="*/ 73 w 163"/>
                  <a:gd name="T35" fmla="*/ 25 h 235"/>
                  <a:gd name="T36" fmla="*/ 65 w 163"/>
                  <a:gd name="T37" fmla="*/ 32 h 235"/>
                  <a:gd name="T38" fmla="*/ 49 w 163"/>
                  <a:gd name="T39" fmla="*/ 41 h 235"/>
                  <a:gd name="T40" fmla="*/ 25 w 163"/>
                  <a:gd name="T41" fmla="*/ 65 h 235"/>
                  <a:gd name="T42" fmla="*/ 8 w 163"/>
                  <a:gd name="T43" fmla="*/ 57 h 235"/>
                  <a:gd name="T44" fmla="*/ 16 w 163"/>
                  <a:gd name="T45" fmla="*/ 41 h 235"/>
                  <a:gd name="T46" fmla="*/ 0 w 163"/>
                  <a:gd name="T47" fmla="*/ 57 h 235"/>
                  <a:gd name="T48" fmla="*/ 8 w 163"/>
                  <a:gd name="T49" fmla="*/ 72 h 235"/>
                  <a:gd name="T50" fmla="*/ 0 w 163"/>
                  <a:gd name="T51" fmla="*/ 72 h 235"/>
                  <a:gd name="T52" fmla="*/ 16 w 163"/>
                  <a:gd name="T53" fmla="*/ 89 h 235"/>
                  <a:gd name="T54" fmla="*/ 33 w 163"/>
                  <a:gd name="T55" fmla="*/ 106 h 235"/>
                  <a:gd name="T56" fmla="*/ 73 w 163"/>
                  <a:gd name="T57" fmla="*/ 186 h 235"/>
                  <a:gd name="T58" fmla="*/ 139 w 163"/>
                  <a:gd name="T59" fmla="*/ 234 h 235"/>
                  <a:gd name="T60" fmla="*/ 155 w 163"/>
                  <a:gd name="T61" fmla="*/ 227 h 235"/>
                  <a:gd name="T62" fmla="*/ 162 w 163"/>
                  <a:gd name="T63" fmla="*/ 211 h 235"/>
                  <a:gd name="T64" fmla="*/ 155 w 163"/>
                  <a:gd name="T65" fmla="*/ 203 h 235"/>
                  <a:gd name="T66" fmla="*/ 162 w 163"/>
                  <a:gd name="T67" fmla="*/ 154 h 235"/>
                  <a:gd name="T68" fmla="*/ 155 w 163"/>
                  <a:gd name="T69" fmla="*/ 13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29" name="Freeform 95">
                <a:extLst>
                  <a:ext uri="{FF2B5EF4-FFF2-40B4-BE49-F238E27FC236}">
                    <a16:creationId xmlns:a16="http://schemas.microsoft.com/office/drawing/2014/main" id="{AE351764-CA13-C775-3A45-258A457DC24F}"/>
                  </a:ext>
                </a:extLst>
              </p:cNvPr>
              <p:cNvSpPr>
                <a:spLocks/>
              </p:cNvSpPr>
              <p:nvPr/>
            </p:nvSpPr>
            <p:spPr bwMode="gray">
              <a:xfrm>
                <a:off x="3213970" y="4797464"/>
                <a:ext cx="207271" cy="261066"/>
              </a:xfrm>
              <a:custGeom>
                <a:avLst/>
                <a:gdLst>
                  <a:gd name="T0" fmla="*/ 146 w 147"/>
                  <a:gd name="T1" fmla="*/ 137 h 178"/>
                  <a:gd name="T2" fmla="*/ 146 w 147"/>
                  <a:gd name="T3" fmla="*/ 112 h 178"/>
                  <a:gd name="T4" fmla="*/ 137 w 147"/>
                  <a:gd name="T5" fmla="*/ 96 h 178"/>
                  <a:gd name="T6" fmla="*/ 137 w 147"/>
                  <a:gd name="T7" fmla="*/ 89 h 178"/>
                  <a:gd name="T8" fmla="*/ 121 w 147"/>
                  <a:gd name="T9" fmla="*/ 89 h 178"/>
                  <a:gd name="T10" fmla="*/ 112 w 147"/>
                  <a:gd name="T11" fmla="*/ 72 h 178"/>
                  <a:gd name="T12" fmla="*/ 112 w 147"/>
                  <a:gd name="T13" fmla="*/ 64 h 178"/>
                  <a:gd name="T14" fmla="*/ 105 w 147"/>
                  <a:gd name="T15" fmla="*/ 49 h 178"/>
                  <a:gd name="T16" fmla="*/ 56 w 147"/>
                  <a:gd name="T17" fmla="*/ 32 h 178"/>
                  <a:gd name="T18" fmla="*/ 49 w 147"/>
                  <a:gd name="T19" fmla="*/ 24 h 178"/>
                  <a:gd name="T20" fmla="*/ 49 w 147"/>
                  <a:gd name="T21" fmla="*/ 0 h 178"/>
                  <a:gd name="T22" fmla="*/ 32 w 147"/>
                  <a:gd name="T23" fmla="*/ 0 h 178"/>
                  <a:gd name="T24" fmla="*/ 15 w 147"/>
                  <a:gd name="T25" fmla="*/ 15 h 178"/>
                  <a:gd name="T26" fmla="*/ 0 w 147"/>
                  <a:gd name="T27" fmla="*/ 15 h 178"/>
                  <a:gd name="T28" fmla="*/ 7 w 147"/>
                  <a:gd name="T29" fmla="*/ 32 h 178"/>
                  <a:gd name="T30" fmla="*/ 0 w 147"/>
                  <a:gd name="T31" fmla="*/ 81 h 178"/>
                  <a:gd name="T32" fmla="*/ 7 w 147"/>
                  <a:gd name="T33" fmla="*/ 89 h 178"/>
                  <a:gd name="T34" fmla="*/ 0 w 147"/>
                  <a:gd name="T35" fmla="*/ 105 h 178"/>
                  <a:gd name="T36" fmla="*/ 7 w 147"/>
                  <a:gd name="T37" fmla="*/ 129 h 178"/>
                  <a:gd name="T38" fmla="*/ 7 w 147"/>
                  <a:gd name="T39" fmla="*/ 137 h 178"/>
                  <a:gd name="T40" fmla="*/ 15 w 147"/>
                  <a:gd name="T41" fmla="*/ 177 h 178"/>
                  <a:gd name="T42" fmla="*/ 24 w 147"/>
                  <a:gd name="T43" fmla="*/ 177 h 178"/>
                  <a:gd name="T44" fmla="*/ 40 w 147"/>
                  <a:gd name="T45" fmla="*/ 161 h 178"/>
                  <a:gd name="T46" fmla="*/ 65 w 147"/>
                  <a:gd name="T47" fmla="*/ 171 h 178"/>
                  <a:gd name="T48" fmla="*/ 72 w 147"/>
                  <a:gd name="T49" fmla="*/ 161 h 178"/>
                  <a:gd name="T50" fmla="*/ 89 w 147"/>
                  <a:gd name="T51" fmla="*/ 171 h 178"/>
                  <a:gd name="T52" fmla="*/ 97 w 147"/>
                  <a:gd name="T53" fmla="*/ 129 h 178"/>
                  <a:gd name="T54" fmla="*/ 129 w 147"/>
                  <a:gd name="T55" fmla="*/ 129 h 178"/>
                  <a:gd name="T56" fmla="*/ 146 w 147"/>
                  <a:gd name="T57" fmla="*/ 13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30" name="Freeform 96">
                <a:extLst>
                  <a:ext uri="{FF2B5EF4-FFF2-40B4-BE49-F238E27FC236}">
                    <a16:creationId xmlns:a16="http://schemas.microsoft.com/office/drawing/2014/main" id="{9CBC1CB0-246B-EE13-988C-3AE78F4E35FB}"/>
                  </a:ext>
                </a:extLst>
              </p:cNvPr>
              <p:cNvSpPr>
                <a:spLocks/>
              </p:cNvSpPr>
              <p:nvPr/>
            </p:nvSpPr>
            <p:spPr bwMode="gray">
              <a:xfrm>
                <a:off x="3338804" y="4986216"/>
                <a:ext cx="149565" cy="166690"/>
              </a:xfrm>
              <a:custGeom>
                <a:avLst/>
                <a:gdLst>
                  <a:gd name="T0" fmla="*/ 97 w 106"/>
                  <a:gd name="T1" fmla="*/ 82 h 114"/>
                  <a:gd name="T2" fmla="*/ 105 w 106"/>
                  <a:gd name="T3" fmla="*/ 66 h 114"/>
                  <a:gd name="T4" fmla="*/ 88 w 106"/>
                  <a:gd name="T5" fmla="*/ 57 h 114"/>
                  <a:gd name="T6" fmla="*/ 88 w 106"/>
                  <a:gd name="T7" fmla="*/ 42 h 114"/>
                  <a:gd name="T8" fmla="*/ 82 w 106"/>
                  <a:gd name="T9" fmla="*/ 42 h 114"/>
                  <a:gd name="T10" fmla="*/ 57 w 106"/>
                  <a:gd name="T11" fmla="*/ 32 h 114"/>
                  <a:gd name="T12" fmla="*/ 57 w 106"/>
                  <a:gd name="T13" fmla="*/ 8 h 114"/>
                  <a:gd name="T14" fmla="*/ 40 w 106"/>
                  <a:gd name="T15" fmla="*/ 0 h 114"/>
                  <a:gd name="T16" fmla="*/ 8 w 106"/>
                  <a:gd name="T17" fmla="*/ 0 h 114"/>
                  <a:gd name="T18" fmla="*/ 0 w 106"/>
                  <a:gd name="T19" fmla="*/ 42 h 114"/>
                  <a:gd name="T20" fmla="*/ 16 w 106"/>
                  <a:gd name="T21" fmla="*/ 66 h 114"/>
                  <a:gd name="T22" fmla="*/ 40 w 106"/>
                  <a:gd name="T23" fmla="*/ 66 h 114"/>
                  <a:gd name="T24" fmla="*/ 57 w 106"/>
                  <a:gd name="T25" fmla="*/ 82 h 114"/>
                  <a:gd name="T26" fmla="*/ 57 w 106"/>
                  <a:gd name="T27" fmla="*/ 89 h 114"/>
                  <a:gd name="T28" fmla="*/ 48 w 106"/>
                  <a:gd name="T29" fmla="*/ 106 h 114"/>
                  <a:gd name="T30" fmla="*/ 72 w 106"/>
                  <a:gd name="T31" fmla="*/ 113 h 114"/>
                  <a:gd name="T32" fmla="*/ 82 w 106"/>
                  <a:gd name="T33" fmla="*/ 106 h 114"/>
                  <a:gd name="T34" fmla="*/ 97 w 106"/>
                  <a:gd name="T35" fmla="*/ 97 h 114"/>
                  <a:gd name="T36" fmla="*/ 97 w 106"/>
                  <a:gd name="T37"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31" name="Freeform 97">
                <a:extLst>
                  <a:ext uri="{FF2B5EF4-FFF2-40B4-BE49-F238E27FC236}">
                    <a16:creationId xmlns:a16="http://schemas.microsoft.com/office/drawing/2014/main" id="{6FD844F8-C6F8-62E9-0F94-4888AEBF1883}"/>
                  </a:ext>
                </a:extLst>
              </p:cNvPr>
              <p:cNvSpPr>
                <a:spLocks/>
              </p:cNvSpPr>
              <p:nvPr/>
            </p:nvSpPr>
            <p:spPr bwMode="gray">
              <a:xfrm>
                <a:off x="3407109" y="5211738"/>
                <a:ext cx="104813" cy="96827"/>
              </a:xfrm>
              <a:custGeom>
                <a:avLst/>
                <a:gdLst>
                  <a:gd name="T0" fmla="*/ 65 w 75"/>
                  <a:gd name="T1" fmla="*/ 49 h 66"/>
                  <a:gd name="T2" fmla="*/ 74 w 75"/>
                  <a:gd name="T3" fmla="*/ 31 h 66"/>
                  <a:gd name="T4" fmla="*/ 65 w 75"/>
                  <a:gd name="T5" fmla="*/ 25 h 66"/>
                  <a:gd name="T6" fmla="*/ 40 w 75"/>
                  <a:gd name="T7" fmla="*/ 8 h 66"/>
                  <a:gd name="T8" fmla="*/ 34 w 75"/>
                  <a:gd name="T9" fmla="*/ 8 h 66"/>
                  <a:gd name="T10" fmla="*/ 24 w 75"/>
                  <a:gd name="T11" fmla="*/ 0 h 66"/>
                  <a:gd name="T12" fmla="*/ 15 w 75"/>
                  <a:gd name="T13" fmla="*/ 0 h 66"/>
                  <a:gd name="T14" fmla="*/ 0 w 75"/>
                  <a:gd name="T15" fmla="*/ 56 h 66"/>
                  <a:gd name="T16" fmla="*/ 9 w 75"/>
                  <a:gd name="T17" fmla="*/ 56 h 66"/>
                  <a:gd name="T18" fmla="*/ 34 w 75"/>
                  <a:gd name="T19" fmla="*/ 65 h 66"/>
                  <a:gd name="T20" fmla="*/ 57 w 75"/>
                  <a:gd name="T21" fmla="*/ 65 h 66"/>
                  <a:gd name="T22" fmla="*/ 65 w 75"/>
                  <a:gd name="T23"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6350" cap="rnd" cmpd="sng">
                <a:solidFill>
                  <a:srgbClr val="D0D0D0"/>
                </a:solidFill>
                <a:prstDash val="solid"/>
                <a:round/>
                <a:headEnd/>
                <a:tailEnd/>
              </a:ln>
              <a:effectLst/>
            </p:spPr>
            <p:txBody>
              <a:bodyPr/>
              <a:lstStyle/>
              <a:p>
                <a:endParaRPr lang="de-DE" dirty="0"/>
              </a:p>
            </p:txBody>
          </p:sp>
          <p:sp>
            <p:nvSpPr>
              <p:cNvPr id="132" name="Freeform 98">
                <a:extLst>
                  <a:ext uri="{FF2B5EF4-FFF2-40B4-BE49-F238E27FC236}">
                    <a16:creationId xmlns:a16="http://schemas.microsoft.com/office/drawing/2014/main" id="{608BA895-FC59-81A3-2813-0FB7BD0FC004}"/>
                  </a:ext>
                </a:extLst>
              </p:cNvPr>
              <p:cNvSpPr>
                <a:spLocks/>
              </p:cNvSpPr>
              <p:nvPr/>
            </p:nvSpPr>
            <p:spPr bwMode="gray">
              <a:xfrm>
                <a:off x="3130355" y="4522916"/>
                <a:ext cx="711316" cy="762362"/>
              </a:xfrm>
              <a:custGeom>
                <a:avLst/>
                <a:gdLst>
                  <a:gd name="T0" fmla="*/ 285 w 505"/>
                  <a:gd name="T1" fmla="*/ 16 h 520"/>
                  <a:gd name="T2" fmla="*/ 261 w 505"/>
                  <a:gd name="T3" fmla="*/ 40 h 520"/>
                  <a:gd name="T4" fmla="*/ 236 w 505"/>
                  <a:gd name="T5" fmla="*/ 34 h 520"/>
                  <a:gd name="T6" fmla="*/ 220 w 505"/>
                  <a:gd name="T7" fmla="*/ 40 h 520"/>
                  <a:gd name="T8" fmla="*/ 188 w 505"/>
                  <a:gd name="T9" fmla="*/ 49 h 520"/>
                  <a:gd name="T10" fmla="*/ 180 w 505"/>
                  <a:gd name="T11" fmla="*/ 9 h 520"/>
                  <a:gd name="T12" fmla="*/ 171 w 505"/>
                  <a:gd name="T13" fmla="*/ 0 h 520"/>
                  <a:gd name="T14" fmla="*/ 140 w 505"/>
                  <a:gd name="T15" fmla="*/ 16 h 520"/>
                  <a:gd name="T16" fmla="*/ 124 w 505"/>
                  <a:gd name="T17" fmla="*/ 16 h 520"/>
                  <a:gd name="T18" fmla="*/ 131 w 505"/>
                  <a:gd name="T19" fmla="*/ 40 h 520"/>
                  <a:gd name="T20" fmla="*/ 99 w 505"/>
                  <a:gd name="T21" fmla="*/ 57 h 520"/>
                  <a:gd name="T22" fmla="*/ 83 w 505"/>
                  <a:gd name="T23" fmla="*/ 40 h 520"/>
                  <a:gd name="T24" fmla="*/ 49 w 505"/>
                  <a:gd name="T25" fmla="*/ 49 h 520"/>
                  <a:gd name="T26" fmla="*/ 49 w 505"/>
                  <a:gd name="T27" fmla="*/ 57 h 520"/>
                  <a:gd name="T28" fmla="*/ 49 w 505"/>
                  <a:gd name="T29" fmla="*/ 114 h 520"/>
                  <a:gd name="T30" fmla="*/ 0 w 505"/>
                  <a:gd name="T31" fmla="*/ 162 h 520"/>
                  <a:gd name="T32" fmla="*/ 25 w 505"/>
                  <a:gd name="T33" fmla="*/ 196 h 520"/>
                  <a:gd name="T34" fmla="*/ 43 w 505"/>
                  <a:gd name="T35" fmla="*/ 202 h 520"/>
                  <a:gd name="T36" fmla="*/ 74 w 505"/>
                  <a:gd name="T37" fmla="*/ 202 h 520"/>
                  <a:gd name="T38" fmla="*/ 108 w 505"/>
                  <a:gd name="T39" fmla="*/ 187 h 520"/>
                  <a:gd name="T40" fmla="*/ 115 w 505"/>
                  <a:gd name="T41" fmla="*/ 219 h 520"/>
                  <a:gd name="T42" fmla="*/ 171 w 505"/>
                  <a:gd name="T43" fmla="*/ 251 h 520"/>
                  <a:gd name="T44" fmla="*/ 180 w 505"/>
                  <a:gd name="T45" fmla="*/ 276 h 520"/>
                  <a:gd name="T46" fmla="*/ 196 w 505"/>
                  <a:gd name="T47" fmla="*/ 283 h 520"/>
                  <a:gd name="T48" fmla="*/ 205 w 505"/>
                  <a:gd name="T49" fmla="*/ 324 h 520"/>
                  <a:gd name="T50" fmla="*/ 230 w 505"/>
                  <a:gd name="T51" fmla="*/ 358 h 520"/>
                  <a:gd name="T52" fmla="*/ 236 w 505"/>
                  <a:gd name="T53" fmla="*/ 373 h 520"/>
                  <a:gd name="T54" fmla="*/ 245 w 505"/>
                  <a:gd name="T55" fmla="*/ 398 h 520"/>
                  <a:gd name="T56" fmla="*/ 261 w 505"/>
                  <a:gd name="T57" fmla="*/ 422 h 520"/>
                  <a:gd name="T58" fmla="*/ 211 w 505"/>
                  <a:gd name="T59" fmla="*/ 470 h 520"/>
                  <a:gd name="T60" fmla="*/ 230 w 505"/>
                  <a:gd name="T61" fmla="*/ 478 h 520"/>
                  <a:gd name="T62" fmla="*/ 261 w 505"/>
                  <a:gd name="T63" fmla="*/ 495 h 520"/>
                  <a:gd name="T64" fmla="*/ 261 w 505"/>
                  <a:gd name="T65" fmla="*/ 519 h 520"/>
                  <a:gd name="T66" fmla="*/ 293 w 505"/>
                  <a:gd name="T67" fmla="*/ 485 h 520"/>
                  <a:gd name="T68" fmla="*/ 326 w 505"/>
                  <a:gd name="T69" fmla="*/ 438 h 520"/>
                  <a:gd name="T70" fmla="*/ 333 w 505"/>
                  <a:gd name="T71" fmla="*/ 389 h 520"/>
                  <a:gd name="T72" fmla="*/ 375 w 505"/>
                  <a:gd name="T73" fmla="*/ 364 h 520"/>
                  <a:gd name="T74" fmla="*/ 407 w 505"/>
                  <a:gd name="T75" fmla="*/ 358 h 520"/>
                  <a:gd name="T76" fmla="*/ 423 w 505"/>
                  <a:gd name="T77" fmla="*/ 341 h 520"/>
                  <a:gd name="T78" fmla="*/ 439 w 505"/>
                  <a:gd name="T79" fmla="*/ 299 h 520"/>
                  <a:gd name="T80" fmla="*/ 447 w 505"/>
                  <a:gd name="T81" fmla="*/ 236 h 520"/>
                  <a:gd name="T82" fmla="*/ 504 w 505"/>
                  <a:gd name="T83" fmla="*/ 162 h 520"/>
                  <a:gd name="T84" fmla="*/ 472 w 505"/>
                  <a:gd name="T85" fmla="*/ 130 h 520"/>
                  <a:gd name="T86" fmla="*/ 416 w 505"/>
                  <a:gd name="T87" fmla="*/ 106 h 520"/>
                  <a:gd name="T88" fmla="*/ 375 w 505"/>
                  <a:gd name="T89" fmla="*/ 97 h 520"/>
                  <a:gd name="T90" fmla="*/ 375 w 505"/>
                  <a:gd name="T91" fmla="*/ 81 h 520"/>
                  <a:gd name="T92" fmla="*/ 333 w 505"/>
                  <a:gd name="T93" fmla="*/ 74 h 520"/>
                  <a:gd name="T94" fmla="*/ 326 w 505"/>
                  <a:gd name="T95" fmla="*/ 65 h 520"/>
                  <a:gd name="T96" fmla="*/ 302 w 505"/>
                  <a:gd name="T97" fmla="*/ 65 h 520"/>
                  <a:gd name="T98" fmla="*/ 293 w 505"/>
                  <a:gd name="T99" fmla="*/ 74 h 520"/>
                  <a:gd name="T100" fmla="*/ 293 w 505"/>
                  <a:gd name="T101" fmla="*/ 65 h 520"/>
                  <a:gd name="T102" fmla="*/ 310 w 505"/>
                  <a:gd name="T103" fmla="*/ 40 h 520"/>
                  <a:gd name="T104" fmla="*/ 293 w 505"/>
                  <a:gd name="T105" fmla="*/ 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33" name="Freeform 99">
                <a:extLst>
                  <a:ext uri="{FF2B5EF4-FFF2-40B4-BE49-F238E27FC236}">
                    <a16:creationId xmlns:a16="http://schemas.microsoft.com/office/drawing/2014/main" id="{7B8CB544-FDBB-A644-69A8-D653F4F28AF9}"/>
                  </a:ext>
                </a:extLst>
              </p:cNvPr>
              <p:cNvSpPr>
                <a:spLocks/>
              </p:cNvSpPr>
              <p:nvPr/>
            </p:nvSpPr>
            <p:spPr bwMode="gray">
              <a:xfrm>
                <a:off x="3487191" y="4513111"/>
                <a:ext cx="45930" cy="69862"/>
              </a:xfrm>
              <a:custGeom>
                <a:avLst/>
                <a:gdLst>
                  <a:gd name="T0" fmla="*/ 0 w 33"/>
                  <a:gd name="T1" fmla="*/ 41 h 48"/>
                  <a:gd name="T2" fmla="*/ 8 w 33"/>
                  <a:gd name="T3" fmla="*/ 47 h 48"/>
                  <a:gd name="T4" fmla="*/ 17 w 33"/>
                  <a:gd name="T5" fmla="*/ 41 h 48"/>
                  <a:gd name="T6" fmla="*/ 32 w 33"/>
                  <a:gd name="T7" fmla="*/ 23 h 48"/>
                  <a:gd name="T8" fmla="*/ 0 w 33"/>
                  <a:gd name="T9" fmla="*/ 0 h 48"/>
                  <a:gd name="T10" fmla="*/ 0 w 33"/>
                  <a:gd name="T11" fmla="*/ 7 h 48"/>
                  <a:gd name="T12" fmla="*/ 0 w 33"/>
                  <a:gd name="T13" fmla="*/ 23 h 48"/>
                  <a:gd name="T14" fmla="*/ 0 w 33"/>
                  <a:gd name="T15" fmla="*/ 41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8">
                    <a:moveTo>
                      <a:pt x="0" y="41"/>
                    </a:moveTo>
                    <a:lnTo>
                      <a:pt x="8" y="47"/>
                    </a:lnTo>
                    <a:lnTo>
                      <a:pt x="17" y="41"/>
                    </a:lnTo>
                    <a:lnTo>
                      <a:pt x="32" y="23"/>
                    </a:lnTo>
                    <a:lnTo>
                      <a:pt x="0" y="0"/>
                    </a:lnTo>
                    <a:lnTo>
                      <a:pt x="0" y="7"/>
                    </a:lnTo>
                    <a:lnTo>
                      <a:pt x="0" y="23"/>
                    </a:lnTo>
                    <a:lnTo>
                      <a:pt x="0" y="41"/>
                    </a:lnTo>
                  </a:path>
                </a:pathLst>
              </a:custGeom>
              <a:grpFill/>
              <a:ln w="6350" cap="rnd" cmpd="sng">
                <a:solidFill>
                  <a:srgbClr val="D0D0D0"/>
                </a:solidFill>
                <a:prstDash val="solid"/>
                <a:round/>
                <a:headEnd/>
                <a:tailEnd/>
              </a:ln>
              <a:effectLst/>
            </p:spPr>
            <p:txBody>
              <a:bodyPr/>
              <a:lstStyle/>
              <a:p>
                <a:endParaRPr lang="de-DE" dirty="0"/>
              </a:p>
            </p:txBody>
          </p:sp>
          <p:sp>
            <p:nvSpPr>
              <p:cNvPr id="134" name="Freeform 100">
                <a:extLst>
                  <a:ext uri="{FF2B5EF4-FFF2-40B4-BE49-F238E27FC236}">
                    <a16:creationId xmlns:a16="http://schemas.microsoft.com/office/drawing/2014/main" id="{E8FCBEE9-79C1-D9FE-564D-8A6636E16AFE}"/>
                  </a:ext>
                </a:extLst>
              </p:cNvPr>
              <p:cNvSpPr>
                <a:spLocks/>
              </p:cNvSpPr>
              <p:nvPr/>
            </p:nvSpPr>
            <p:spPr bwMode="gray">
              <a:xfrm>
                <a:off x="3420064" y="4513111"/>
                <a:ext cx="68305" cy="69862"/>
              </a:xfrm>
              <a:custGeom>
                <a:avLst/>
                <a:gdLst>
                  <a:gd name="T0" fmla="*/ 48 w 49"/>
                  <a:gd name="T1" fmla="*/ 41 h 48"/>
                  <a:gd name="T2" fmla="*/ 48 w 49"/>
                  <a:gd name="T3" fmla="*/ 23 h 48"/>
                  <a:gd name="T4" fmla="*/ 48 w 49"/>
                  <a:gd name="T5" fmla="*/ 7 h 48"/>
                  <a:gd name="T6" fmla="*/ 48 w 49"/>
                  <a:gd name="T7" fmla="*/ 0 h 48"/>
                  <a:gd name="T8" fmla="*/ 15 w 49"/>
                  <a:gd name="T9" fmla="*/ 0 h 48"/>
                  <a:gd name="T10" fmla="*/ 0 w 49"/>
                  <a:gd name="T11" fmla="*/ 16 h 48"/>
                  <a:gd name="T12" fmla="*/ 15 w 49"/>
                  <a:gd name="T13" fmla="*/ 47 h 48"/>
                  <a:gd name="T14" fmla="*/ 25 w 49"/>
                  <a:gd name="T15" fmla="*/ 47 h 48"/>
                  <a:gd name="T16" fmla="*/ 31 w 49"/>
                  <a:gd name="T17" fmla="*/ 41 h 48"/>
                  <a:gd name="T18" fmla="*/ 48 w 49"/>
                  <a:gd name="T19"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6350" cap="rnd" cmpd="sng">
                <a:solidFill>
                  <a:srgbClr val="D0D0D0"/>
                </a:solidFill>
                <a:prstDash val="solid"/>
                <a:round/>
                <a:headEnd/>
                <a:tailEnd/>
              </a:ln>
              <a:effectLst/>
            </p:spPr>
            <p:txBody>
              <a:bodyPr/>
              <a:lstStyle/>
              <a:p>
                <a:endParaRPr lang="de-DE" dirty="0"/>
              </a:p>
            </p:txBody>
          </p:sp>
          <p:sp>
            <p:nvSpPr>
              <p:cNvPr id="135" name="Freeform 101">
                <a:extLst>
                  <a:ext uri="{FF2B5EF4-FFF2-40B4-BE49-F238E27FC236}">
                    <a16:creationId xmlns:a16="http://schemas.microsoft.com/office/drawing/2014/main" id="{8D424079-71B8-C677-5B83-04B8AD6FE62E}"/>
                  </a:ext>
                </a:extLst>
              </p:cNvPr>
              <p:cNvSpPr>
                <a:spLocks/>
              </p:cNvSpPr>
              <p:nvPr/>
            </p:nvSpPr>
            <p:spPr bwMode="gray">
              <a:xfrm>
                <a:off x="3361180" y="4465311"/>
                <a:ext cx="81260" cy="131146"/>
              </a:xfrm>
              <a:custGeom>
                <a:avLst/>
                <a:gdLst>
                  <a:gd name="T0" fmla="*/ 16 w 57"/>
                  <a:gd name="T1" fmla="*/ 0 h 90"/>
                  <a:gd name="T2" fmla="*/ 32 w 57"/>
                  <a:gd name="T3" fmla="*/ 9 h 90"/>
                  <a:gd name="T4" fmla="*/ 32 w 57"/>
                  <a:gd name="T5" fmla="*/ 15 h 90"/>
                  <a:gd name="T6" fmla="*/ 41 w 57"/>
                  <a:gd name="T7" fmla="*/ 15 h 90"/>
                  <a:gd name="T8" fmla="*/ 56 w 57"/>
                  <a:gd name="T9" fmla="*/ 33 h 90"/>
                  <a:gd name="T10" fmla="*/ 41 w 57"/>
                  <a:gd name="T11" fmla="*/ 49 h 90"/>
                  <a:gd name="T12" fmla="*/ 56 w 57"/>
                  <a:gd name="T13" fmla="*/ 80 h 90"/>
                  <a:gd name="T14" fmla="*/ 32 w 57"/>
                  <a:gd name="T15" fmla="*/ 89 h 90"/>
                  <a:gd name="T16" fmla="*/ 24 w 57"/>
                  <a:gd name="T17" fmla="*/ 89 h 90"/>
                  <a:gd name="T18" fmla="*/ 16 w 57"/>
                  <a:gd name="T19" fmla="*/ 74 h 90"/>
                  <a:gd name="T20" fmla="*/ 16 w 57"/>
                  <a:gd name="T21" fmla="*/ 49 h 90"/>
                  <a:gd name="T22" fmla="*/ 16 w 57"/>
                  <a:gd name="T23" fmla="*/ 40 h 90"/>
                  <a:gd name="T24" fmla="*/ 7 w 57"/>
                  <a:gd name="T25" fmla="*/ 40 h 90"/>
                  <a:gd name="T26" fmla="*/ 0 w 57"/>
                  <a:gd name="T27" fmla="*/ 33 h 90"/>
                  <a:gd name="T28" fmla="*/ 0 w 57"/>
                  <a:gd name="T29" fmla="*/ 15 h 90"/>
                  <a:gd name="T30" fmla="*/ 7 w 57"/>
                  <a:gd name="T31" fmla="*/ 15 h 90"/>
                  <a:gd name="T32" fmla="*/ 7 w 57"/>
                  <a:gd name="T33" fmla="*/ 9 h 90"/>
                  <a:gd name="T34" fmla="*/ 16 w 57"/>
                  <a:gd name="T3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6350" cap="rnd" cmpd="sng">
                <a:solidFill>
                  <a:srgbClr val="D0D0D0"/>
                </a:solidFill>
                <a:prstDash val="solid"/>
                <a:round/>
                <a:headEnd/>
                <a:tailEnd/>
              </a:ln>
              <a:effectLst/>
            </p:spPr>
            <p:txBody>
              <a:bodyPr/>
              <a:lstStyle/>
              <a:p>
                <a:endParaRPr lang="de-DE" dirty="0"/>
              </a:p>
            </p:txBody>
          </p:sp>
          <p:sp>
            <p:nvSpPr>
              <p:cNvPr id="136" name="Freeform 102">
                <a:extLst>
                  <a:ext uri="{FF2B5EF4-FFF2-40B4-BE49-F238E27FC236}">
                    <a16:creationId xmlns:a16="http://schemas.microsoft.com/office/drawing/2014/main" id="{22230442-4C1F-670E-45A7-B3FDE49F9092}"/>
                  </a:ext>
                </a:extLst>
              </p:cNvPr>
              <p:cNvSpPr>
                <a:spLocks/>
              </p:cNvSpPr>
              <p:nvPr/>
            </p:nvSpPr>
            <p:spPr bwMode="gray">
              <a:xfrm>
                <a:off x="3143310" y="4391771"/>
                <a:ext cx="242601" cy="216942"/>
              </a:xfrm>
              <a:custGeom>
                <a:avLst/>
                <a:gdLst>
                  <a:gd name="T0" fmla="*/ 171 w 172"/>
                  <a:gd name="T1" fmla="*/ 50 h 148"/>
                  <a:gd name="T2" fmla="*/ 162 w 172"/>
                  <a:gd name="T3" fmla="*/ 59 h 148"/>
                  <a:gd name="T4" fmla="*/ 162 w 172"/>
                  <a:gd name="T5" fmla="*/ 65 h 148"/>
                  <a:gd name="T6" fmla="*/ 155 w 172"/>
                  <a:gd name="T7" fmla="*/ 65 h 148"/>
                  <a:gd name="T8" fmla="*/ 155 w 172"/>
                  <a:gd name="T9" fmla="*/ 83 h 148"/>
                  <a:gd name="T10" fmla="*/ 162 w 172"/>
                  <a:gd name="T11" fmla="*/ 90 h 148"/>
                  <a:gd name="T12" fmla="*/ 155 w 172"/>
                  <a:gd name="T13" fmla="*/ 99 h 148"/>
                  <a:gd name="T14" fmla="*/ 131 w 172"/>
                  <a:gd name="T15" fmla="*/ 106 h 148"/>
                  <a:gd name="T16" fmla="*/ 106 w 172"/>
                  <a:gd name="T17" fmla="*/ 99 h 148"/>
                  <a:gd name="T18" fmla="*/ 115 w 172"/>
                  <a:gd name="T19" fmla="*/ 106 h 148"/>
                  <a:gd name="T20" fmla="*/ 115 w 172"/>
                  <a:gd name="T21" fmla="*/ 124 h 148"/>
                  <a:gd name="T22" fmla="*/ 122 w 172"/>
                  <a:gd name="T23" fmla="*/ 130 h 148"/>
                  <a:gd name="T24" fmla="*/ 99 w 172"/>
                  <a:gd name="T25" fmla="*/ 147 h 148"/>
                  <a:gd name="T26" fmla="*/ 90 w 172"/>
                  <a:gd name="T27" fmla="*/ 147 h 148"/>
                  <a:gd name="T28" fmla="*/ 82 w 172"/>
                  <a:gd name="T29" fmla="*/ 139 h 148"/>
                  <a:gd name="T30" fmla="*/ 74 w 172"/>
                  <a:gd name="T31" fmla="*/ 130 h 148"/>
                  <a:gd name="T32" fmla="*/ 74 w 172"/>
                  <a:gd name="T33" fmla="*/ 115 h 148"/>
                  <a:gd name="T34" fmla="*/ 65 w 172"/>
                  <a:gd name="T35" fmla="*/ 99 h 148"/>
                  <a:gd name="T36" fmla="*/ 74 w 172"/>
                  <a:gd name="T37" fmla="*/ 74 h 148"/>
                  <a:gd name="T38" fmla="*/ 50 w 172"/>
                  <a:gd name="T39" fmla="*/ 74 h 148"/>
                  <a:gd name="T40" fmla="*/ 40 w 172"/>
                  <a:gd name="T41" fmla="*/ 65 h 148"/>
                  <a:gd name="T42" fmla="*/ 16 w 172"/>
                  <a:gd name="T43" fmla="*/ 65 h 148"/>
                  <a:gd name="T44" fmla="*/ 9 w 172"/>
                  <a:gd name="T45" fmla="*/ 59 h 148"/>
                  <a:gd name="T46" fmla="*/ 9 w 172"/>
                  <a:gd name="T47" fmla="*/ 50 h 148"/>
                  <a:gd name="T48" fmla="*/ 0 w 172"/>
                  <a:gd name="T49" fmla="*/ 34 h 148"/>
                  <a:gd name="T50" fmla="*/ 9 w 172"/>
                  <a:gd name="T51" fmla="*/ 18 h 148"/>
                  <a:gd name="T52" fmla="*/ 16 w 172"/>
                  <a:gd name="T53" fmla="*/ 10 h 148"/>
                  <a:gd name="T54" fmla="*/ 25 w 172"/>
                  <a:gd name="T55" fmla="*/ 18 h 148"/>
                  <a:gd name="T56" fmla="*/ 16 w 172"/>
                  <a:gd name="T57" fmla="*/ 25 h 148"/>
                  <a:gd name="T58" fmla="*/ 16 w 172"/>
                  <a:gd name="T59" fmla="*/ 41 h 148"/>
                  <a:gd name="T60" fmla="*/ 25 w 172"/>
                  <a:gd name="T61" fmla="*/ 34 h 148"/>
                  <a:gd name="T62" fmla="*/ 25 w 172"/>
                  <a:gd name="T63" fmla="*/ 18 h 148"/>
                  <a:gd name="T64" fmla="*/ 40 w 172"/>
                  <a:gd name="T65" fmla="*/ 10 h 148"/>
                  <a:gd name="T66" fmla="*/ 40 w 172"/>
                  <a:gd name="T67" fmla="*/ 0 h 148"/>
                  <a:gd name="T68" fmla="*/ 40 w 172"/>
                  <a:gd name="T69" fmla="*/ 10 h 148"/>
                  <a:gd name="T70" fmla="*/ 65 w 172"/>
                  <a:gd name="T71" fmla="*/ 10 h 148"/>
                  <a:gd name="T72" fmla="*/ 65 w 172"/>
                  <a:gd name="T73" fmla="*/ 18 h 148"/>
                  <a:gd name="T74" fmla="*/ 90 w 172"/>
                  <a:gd name="T75" fmla="*/ 18 h 148"/>
                  <a:gd name="T76" fmla="*/ 106 w 172"/>
                  <a:gd name="T77" fmla="*/ 25 h 148"/>
                  <a:gd name="T78" fmla="*/ 122 w 172"/>
                  <a:gd name="T79" fmla="*/ 18 h 148"/>
                  <a:gd name="T80" fmla="*/ 139 w 172"/>
                  <a:gd name="T81" fmla="*/ 18 h 148"/>
                  <a:gd name="T82" fmla="*/ 131 w 172"/>
                  <a:gd name="T83" fmla="*/ 18 h 148"/>
                  <a:gd name="T84" fmla="*/ 139 w 172"/>
                  <a:gd name="T85" fmla="*/ 25 h 148"/>
                  <a:gd name="T86" fmla="*/ 155 w 172"/>
                  <a:gd name="T87" fmla="*/ 34 h 148"/>
                  <a:gd name="T88" fmla="*/ 155 w 172"/>
                  <a:gd name="T89" fmla="*/ 50 h 148"/>
                  <a:gd name="T90" fmla="*/ 162 w 172"/>
                  <a:gd name="T91" fmla="*/ 41 h 148"/>
                  <a:gd name="T92" fmla="*/ 171 w 172"/>
                  <a:gd name="T93" fmla="*/ 5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37" name="Freeform 197">
                <a:extLst>
                  <a:ext uri="{FF2B5EF4-FFF2-40B4-BE49-F238E27FC236}">
                    <a16:creationId xmlns:a16="http://schemas.microsoft.com/office/drawing/2014/main" id="{D656A558-88A2-4581-6671-50E5F733D487}"/>
                  </a:ext>
                </a:extLst>
              </p:cNvPr>
              <p:cNvSpPr>
                <a:spLocks/>
              </p:cNvSpPr>
              <p:nvPr/>
            </p:nvSpPr>
            <p:spPr bwMode="gray">
              <a:xfrm>
                <a:off x="3122112" y="5474029"/>
                <a:ext cx="24732" cy="49026"/>
              </a:xfrm>
              <a:custGeom>
                <a:avLst/>
                <a:gdLst>
                  <a:gd name="T0" fmla="*/ 6 w 17"/>
                  <a:gd name="T1" fmla="*/ 0 h 33"/>
                  <a:gd name="T2" fmla="*/ 0 w 17"/>
                  <a:gd name="T3" fmla="*/ 23 h 33"/>
                  <a:gd name="T4" fmla="*/ 6 w 17"/>
                  <a:gd name="T5" fmla="*/ 32 h 33"/>
                  <a:gd name="T6" fmla="*/ 16 w 17"/>
                  <a:gd name="T7" fmla="*/ 7 h 33"/>
                  <a:gd name="T8" fmla="*/ 6 w 17"/>
                  <a:gd name="T9" fmla="*/ 0 h 33"/>
                </a:gdLst>
                <a:ahLst/>
                <a:cxnLst>
                  <a:cxn ang="0">
                    <a:pos x="T0" y="T1"/>
                  </a:cxn>
                  <a:cxn ang="0">
                    <a:pos x="T2" y="T3"/>
                  </a:cxn>
                  <a:cxn ang="0">
                    <a:pos x="T4" y="T5"/>
                  </a:cxn>
                  <a:cxn ang="0">
                    <a:pos x="T6" y="T7"/>
                  </a:cxn>
                  <a:cxn ang="0">
                    <a:pos x="T8" y="T9"/>
                  </a:cxn>
                </a:cxnLst>
                <a:rect l="0" t="0" r="r" b="b"/>
                <a:pathLst>
                  <a:path w="17" h="33">
                    <a:moveTo>
                      <a:pt x="6" y="0"/>
                    </a:moveTo>
                    <a:lnTo>
                      <a:pt x="0" y="23"/>
                    </a:lnTo>
                    <a:lnTo>
                      <a:pt x="6" y="32"/>
                    </a:lnTo>
                    <a:lnTo>
                      <a:pt x="16" y="7"/>
                    </a:lnTo>
                    <a:lnTo>
                      <a:pt x="6" y="0"/>
                    </a:lnTo>
                  </a:path>
                </a:pathLst>
              </a:custGeom>
              <a:grpFill/>
              <a:ln w="6350" cap="rnd" cmpd="sng">
                <a:solidFill>
                  <a:srgbClr val="D0D0D0"/>
                </a:solidFill>
                <a:prstDash val="solid"/>
                <a:round/>
                <a:headEnd/>
                <a:tailEnd/>
              </a:ln>
              <a:effectLst/>
            </p:spPr>
            <p:txBody>
              <a:bodyPr/>
              <a:lstStyle/>
              <a:p>
                <a:endParaRPr lang="de-DE" dirty="0"/>
              </a:p>
            </p:txBody>
          </p:sp>
          <p:sp>
            <p:nvSpPr>
              <p:cNvPr id="138" name="Freeform 198">
                <a:extLst>
                  <a:ext uri="{FF2B5EF4-FFF2-40B4-BE49-F238E27FC236}">
                    <a16:creationId xmlns:a16="http://schemas.microsoft.com/office/drawing/2014/main" id="{EA4673B7-5487-E76B-8DF2-DDD2B764AEE8}"/>
                  </a:ext>
                </a:extLst>
              </p:cNvPr>
              <p:cNvSpPr>
                <a:spLocks/>
              </p:cNvSpPr>
              <p:nvPr/>
            </p:nvSpPr>
            <p:spPr bwMode="gray">
              <a:xfrm>
                <a:off x="3052629" y="4264302"/>
                <a:ext cx="36508" cy="24513"/>
              </a:xfrm>
              <a:custGeom>
                <a:avLst/>
                <a:gdLst>
                  <a:gd name="T0" fmla="*/ 0 w 26"/>
                  <a:gd name="T1" fmla="*/ 7 h 17"/>
                  <a:gd name="T2" fmla="*/ 16 w 26"/>
                  <a:gd name="T3" fmla="*/ 16 h 17"/>
                  <a:gd name="T4" fmla="*/ 25 w 26"/>
                  <a:gd name="T5" fmla="*/ 7 h 17"/>
                  <a:gd name="T6" fmla="*/ 9 w 26"/>
                  <a:gd name="T7" fmla="*/ 0 h 17"/>
                  <a:gd name="T8" fmla="*/ 0 w 26"/>
                  <a:gd name="T9" fmla="*/ 7 h 17"/>
                </a:gdLst>
                <a:ahLst/>
                <a:cxnLst>
                  <a:cxn ang="0">
                    <a:pos x="T0" y="T1"/>
                  </a:cxn>
                  <a:cxn ang="0">
                    <a:pos x="T2" y="T3"/>
                  </a:cxn>
                  <a:cxn ang="0">
                    <a:pos x="T4" y="T5"/>
                  </a:cxn>
                  <a:cxn ang="0">
                    <a:pos x="T6" y="T7"/>
                  </a:cxn>
                  <a:cxn ang="0">
                    <a:pos x="T8" y="T9"/>
                  </a:cxn>
                </a:cxnLst>
                <a:rect l="0" t="0" r="r" b="b"/>
                <a:pathLst>
                  <a:path w="26" h="17">
                    <a:moveTo>
                      <a:pt x="0" y="7"/>
                    </a:moveTo>
                    <a:lnTo>
                      <a:pt x="16" y="16"/>
                    </a:lnTo>
                    <a:lnTo>
                      <a:pt x="25" y="7"/>
                    </a:lnTo>
                    <a:lnTo>
                      <a:pt x="9" y="0"/>
                    </a:lnTo>
                    <a:lnTo>
                      <a:pt x="0" y="7"/>
                    </a:lnTo>
                  </a:path>
                </a:pathLst>
              </a:custGeom>
              <a:grpFill/>
              <a:ln w="6350" cap="rnd" cmpd="sng">
                <a:solidFill>
                  <a:srgbClr val="D0D0D0"/>
                </a:solidFill>
                <a:prstDash val="solid"/>
                <a:round/>
                <a:headEnd/>
                <a:tailEnd/>
              </a:ln>
              <a:effectLst/>
            </p:spPr>
            <p:txBody>
              <a:bodyPr/>
              <a:lstStyle/>
              <a:p>
                <a:endParaRPr lang="de-DE" dirty="0"/>
              </a:p>
            </p:txBody>
          </p:sp>
          <p:sp>
            <p:nvSpPr>
              <p:cNvPr id="139" name="Freeform 199">
                <a:extLst>
                  <a:ext uri="{FF2B5EF4-FFF2-40B4-BE49-F238E27FC236}">
                    <a16:creationId xmlns:a16="http://schemas.microsoft.com/office/drawing/2014/main" id="{2C7B7D70-37CC-B6A2-9D4B-17EC53ACE6D7}"/>
                  </a:ext>
                </a:extLst>
              </p:cNvPr>
              <p:cNvSpPr>
                <a:spLocks/>
              </p:cNvSpPr>
              <p:nvPr/>
            </p:nvSpPr>
            <p:spPr bwMode="gray">
              <a:xfrm>
                <a:off x="2938395" y="4168700"/>
                <a:ext cx="184895" cy="73540"/>
              </a:xfrm>
              <a:custGeom>
                <a:avLst/>
                <a:gdLst>
                  <a:gd name="T0" fmla="*/ 0 w 132"/>
                  <a:gd name="T1" fmla="*/ 24 h 50"/>
                  <a:gd name="T2" fmla="*/ 9 w 132"/>
                  <a:gd name="T3" fmla="*/ 24 h 50"/>
                  <a:gd name="T4" fmla="*/ 25 w 132"/>
                  <a:gd name="T5" fmla="*/ 8 h 50"/>
                  <a:gd name="T6" fmla="*/ 41 w 132"/>
                  <a:gd name="T7" fmla="*/ 15 h 50"/>
                  <a:gd name="T8" fmla="*/ 34 w 132"/>
                  <a:gd name="T9" fmla="*/ 15 h 50"/>
                  <a:gd name="T10" fmla="*/ 41 w 132"/>
                  <a:gd name="T11" fmla="*/ 15 h 50"/>
                  <a:gd name="T12" fmla="*/ 74 w 132"/>
                  <a:gd name="T13" fmla="*/ 24 h 50"/>
                  <a:gd name="T14" fmla="*/ 81 w 132"/>
                  <a:gd name="T15" fmla="*/ 40 h 50"/>
                  <a:gd name="T16" fmla="*/ 97 w 132"/>
                  <a:gd name="T17" fmla="*/ 40 h 50"/>
                  <a:gd name="T18" fmla="*/ 90 w 132"/>
                  <a:gd name="T19" fmla="*/ 49 h 50"/>
                  <a:gd name="T20" fmla="*/ 131 w 132"/>
                  <a:gd name="T21" fmla="*/ 49 h 50"/>
                  <a:gd name="T22" fmla="*/ 122 w 132"/>
                  <a:gd name="T23" fmla="*/ 40 h 50"/>
                  <a:gd name="T24" fmla="*/ 114 w 132"/>
                  <a:gd name="T25" fmla="*/ 40 h 50"/>
                  <a:gd name="T26" fmla="*/ 114 w 132"/>
                  <a:gd name="T27" fmla="*/ 31 h 50"/>
                  <a:gd name="T28" fmla="*/ 81 w 132"/>
                  <a:gd name="T29" fmla="*/ 15 h 50"/>
                  <a:gd name="T30" fmla="*/ 41 w 132"/>
                  <a:gd name="T31" fmla="*/ 0 h 50"/>
                  <a:gd name="T32" fmla="*/ 16 w 132"/>
                  <a:gd name="T33" fmla="*/ 8 h 50"/>
                  <a:gd name="T34" fmla="*/ 0 w 132"/>
                  <a:gd name="T35"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6350" cap="rnd" cmpd="sng">
                <a:solidFill>
                  <a:srgbClr val="D0D0D0"/>
                </a:solidFill>
                <a:prstDash val="solid"/>
                <a:round/>
                <a:headEnd/>
                <a:tailEnd/>
              </a:ln>
              <a:effectLst/>
            </p:spPr>
            <p:txBody>
              <a:bodyPr/>
              <a:lstStyle/>
              <a:p>
                <a:endParaRPr lang="de-DE" dirty="0"/>
              </a:p>
            </p:txBody>
          </p:sp>
          <p:sp>
            <p:nvSpPr>
              <p:cNvPr id="140" name="Freeform 200">
                <a:extLst>
                  <a:ext uri="{FF2B5EF4-FFF2-40B4-BE49-F238E27FC236}">
                    <a16:creationId xmlns:a16="http://schemas.microsoft.com/office/drawing/2014/main" id="{58911BB8-BA55-3AEB-24F0-876A39572BE4}"/>
                  </a:ext>
                </a:extLst>
              </p:cNvPr>
              <p:cNvSpPr>
                <a:spLocks/>
              </p:cNvSpPr>
              <p:nvPr/>
            </p:nvSpPr>
            <p:spPr bwMode="gray">
              <a:xfrm>
                <a:off x="3052629" y="4131930"/>
                <a:ext cx="23553" cy="37996"/>
              </a:xfrm>
              <a:custGeom>
                <a:avLst/>
                <a:gdLst>
                  <a:gd name="T0" fmla="*/ 0 w 17"/>
                  <a:gd name="T1" fmla="*/ 0 h 26"/>
                  <a:gd name="T2" fmla="*/ 0 w 17"/>
                  <a:gd name="T3" fmla="*/ 8 h 26"/>
                  <a:gd name="T4" fmla="*/ 16 w 17"/>
                  <a:gd name="T5" fmla="*/ 25 h 26"/>
                  <a:gd name="T6" fmla="*/ 16 w 17"/>
                  <a:gd name="T7" fmla="*/ 8 h 26"/>
                  <a:gd name="T8" fmla="*/ 0 w 17"/>
                  <a:gd name="T9" fmla="*/ 0 h 26"/>
                </a:gdLst>
                <a:ahLst/>
                <a:cxnLst>
                  <a:cxn ang="0">
                    <a:pos x="T0" y="T1"/>
                  </a:cxn>
                  <a:cxn ang="0">
                    <a:pos x="T2" y="T3"/>
                  </a:cxn>
                  <a:cxn ang="0">
                    <a:pos x="T4" y="T5"/>
                  </a:cxn>
                  <a:cxn ang="0">
                    <a:pos x="T6" y="T7"/>
                  </a:cxn>
                  <a:cxn ang="0">
                    <a:pos x="T8" y="T9"/>
                  </a:cxn>
                </a:cxnLst>
                <a:rect l="0" t="0" r="r" b="b"/>
                <a:pathLst>
                  <a:path w="17" h="26">
                    <a:moveTo>
                      <a:pt x="0" y="0"/>
                    </a:moveTo>
                    <a:lnTo>
                      <a:pt x="0" y="8"/>
                    </a:lnTo>
                    <a:lnTo>
                      <a:pt x="16" y="25"/>
                    </a:lnTo>
                    <a:lnTo>
                      <a:pt x="16" y="8"/>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141" name="Freeform 201">
                <a:extLst>
                  <a:ext uri="{FF2B5EF4-FFF2-40B4-BE49-F238E27FC236}">
                    <a16:creationId xmlns:a16="http://schemas.microsoft.com/office/drawing/2014/main" id="{1383EEB4-DBA3-9038-4128-1BD07D17EFA9}"/>
                  </a:ext>
                </a:extLst>
              </p:cNvPr>
              <p:cNvSpPr>
                <a:spLocks/>
              </p:cNvSpPr>
              <p:nvPr/>
            </p:nvSpPr>
            <p:spPr bwMode="gray">
              <a:xfrm>
                <a:off x="2894821" y="2957747"/>
                <a:ext cx="124834" cy="132371"/>
              </a:xfrm>
              <a:custGeom>
                <a:avLst/>
                <a:gdLst>
                  <a:gd name="T0" fmla="*/ 0 w 89"/>
                  <a:gd name="T1" fmla="*/ 73 h 91"/>
                  <a:gd name="T2" fmla="*/ 15 w 89"/>
                  <a:gd name="T3" fmla="*/ 73 h 91"/>
                  <a:gd name="T4" fmla="*/ 15 w 89"/>
                  <a:gd name="T5" fmla="*/ 90 h 91"/>
                  <a:gd name="T6" fmla="*/ 31 w 89"/>
                  <a:gd name="T7" fmla="*/ 90 h 91"/>
                  <a:gd name="T8" fmla="*/ 47 w 89"/>
                  <a:gd name="T9" fmla="*/ 65 h 91"/>
                  <a:gd name="T10" fmla="*/ 56 w 89"/>
                  <a:gd name="T11" fmla="*/ 65 h 91"/>
                  <a:gd name="T12" fmla="*/ 72 w 89"/>
                  <a:gd name="T13" fmla="*/ 81 h 91"/>
                  <a:gd name="T14" fmla="*/ 88 w 89"/>
                  <a:gd name="T15" fmla="*/ 65 h 91"/>
                  <a:gd name="T16" fmla="*/ 72 w 89"/>
                  <a:gd name="T17" fmla="*/ 65 h 91"/>
                  <a:gd name="T18" fmla="*/ 56 w 89"/>
                  <a:gd name="T19" fmla="*/ 40 h 91"/>
                  <a:gd name="T20" fmla="*/ 31 w 89"/>
                  <a:gd name="T21" fmla="*/ 16 h 91"/>
                  <a:gd name="T22" fmla="*/ 25 w 89"/>
                  <a:gd name="T23" fmla="*/ 0 h 91"/>
                  <a:gd name="T24" fmla="*/ 15 w 89"/>
                  <a:gd name="T25" fmla="*/ 16 h 91"/>
                  <a:gd name="T26" fmla="*/ 6 w 89"/>
                  <a:gd name="T27" fmla="*/ 25 h 91"/>
                  <a:gd name="T28" fmla="*/ 15 w 89"/>
                  <a:gd name="T29" fmla="*/ 65 h 91"/>
                  <a:gd name="T30" fmla="*/ 0 w 89"/>
                  <a:gd name="T31" fmla="*/ 7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6350" cap="rnd" cmpd="sng">
                <a:solidFill>
                  <a:srgbClr val="D0D0D0"/>
                </a:solidFill>
                <a:prstDash val="solid"/>
                <a:round/>
                <a:headEnd/>
                <a:tailEnd/>
              </a:ln>
              <a:effectLst/>
            </p:spPr>
            <p:txBody>
              <a:bodyPr/>
              <a:lstStyle/>
              <a:p>
                <a:endParaRPr lang="de-DE" dirty="0"/>
              </a:p>
            </p:txBody>
          </p:sp>
          <p:sp>
            <p:nvSpPr>
              <p:cNvPr id="142" name="Freeform 202">
                <a:extLst>
                  <a:ext uri="{FF2B5EF4-FFF2-40B4-BE49-F238E27FC236}">
                    <a16:creationId xmlns:a16="http://schemas.microsoft.com/office/drawing/2014/main" id="{E407295B-D295-C960-E9BE-5CE3AAA9811F}"/>
                  </a:ext>
                </a:extLst>
              </p:cNvPr>
              <p:cNvSpPr>
                <a:spLocks/>
              </p:cNvSpPr>
              <p:nvPr/>
            </p:nvSpPr>
            <p:spPr bwMode="gray">
              <a:xfrm>
                <a:off x="3075004" y="2851115"/>
                <a:ext cx="36508" cy="60057"/>
              </a:xfrm>
              <a:custGeom>
                <a:avLst/>
                <a:gdLst>
                  <a:gd name="T0" fmla="*/ 0 w 26"/>
                  <a:gd name="T1" fmla="*/ 25 h 41"/>
                  <a:gd name="T2" fmla="*/ 0 w 26"/>
                  <a:gd name="T3" fmla="*/ 40 h 41"/>
                  <a:gd name="T4" fmla="*/ 17 w 26"/>
                  <a:gd name="T5" fmla="*/ 31 h 41"/>
                  <a:gd name="T6" fmla="*/ 25 w 26"/>
                  <a:gd name="T7" fmla="*/ 25 h 41"/>
                  <a:gd name="T8" fmla="*/ 25 w 26"/>
                  <a:gd name="T9" fmla="*/ 16 h 41"/>
                  <a:gd name="T10" fmla="*/ 25 w 26"/>
                  <a:gd name="T11" fmla="*/ 0 h 41"/>
                  <a:gd name="T12" fmla="*/ 9 w 26"/>
                  <a:gd name="T13" fmla="*/ 0 h 41"/>
                  <a:gd name="T14" fmla="*/ 0 w 26"/>
                  <a:gd name="T15" fmla="*/ 2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1">
                    <a:moveTo>
                      <a:pt x="0" y="25"/>
                    </a:moveTo>
                    <a:lnTo>
                      <a:pt x="0" y="40"/>
                    </a:lnTo>
                    <a:lnTo>
                      <a:pt x="17" y="31"/>
                    </a:lnTo>
                    <a:lnTo>
                      <a:pt x="25" y="25"/>
                    </a:lnTo>
                    <a:lnTo>
                      <a:pt x="25" y="16"/>
                    </a:lnTo>
                    <a:lnTo>
                      <a:pt x="25" y="0"/>
                    </a:lnTo>
                    <a:lnTo>
                      <a:pt x="9" y="0"/>
                    </a:lnTo>
                    <a:lnTo>
                      <a:pt x="0" y="25"/>
                    </a:lnTo>
                  </a:path>
                </a:pathLst>
              </a:custGeom>
              <a:grpFill/>
              <a:ln w="6350" cap="rnd" cmpd="sng">
                <a:solidFill>
                  <a:srgbClr val="D0D0D0"/>
                </a:solidFill>
                <a:prstDash val="solid"/>
                <a:round/>
                <a:headEnd/>
                <a:tailEnd/>
              </a:ln>
              <a:effectLst/>
            </p:spPr>
            <p:txBody>
              <a:bodyPr/>
              <a:lstStyle/>
              <a:p>
                <a:endParaRPr lang="de-DE" dirty="0"/>
              </a:p>
            </p:txBody>
          </p:sp>
          <p:sp>
            <p:nvSpPr>
              <p:cNvPr id="143" name="Freeform 203">
                <a:extLst>
                  <a:ext uri="{FF2B5EF4-FFF2-40B4-BE49-F238E27FC236}">
                    <a16:creationId xmlns:a16="http://schemas.microsoft.com/office/drawing/2014/main" id="{FED8CE38-3B26-E668-38F9-627210ACDBB5}"/>
                  </a:ext>
                </a:extLst>
              </p:cNvPr>
              <p:cNvSpPr>
                <a:spLocks/>
              </p:cNvSpPr>
              <p:nvPr/>
            </p:nvSpPr>
            <p:spPr bwMode="gray">
              <a:xfrm>
                <a:off x="3006700" y="2528766"/>
                <a:ext cx="82437" cy="63735"/>
              </a:xfrm>
              <a:custGeom>
                <a:avLst/>
                <a:gdLst>
                  <a:gd name="T0" fmla="*/ 0 w 58"/>
                  <a:gd name="T1" fmla="*/ 0 h 43"/>
                  <a:gd name="T2" fmla="*/ 0 w 58"/>
                  <a:gd name="T3" fmla="*/ 17 h 43"/>
                  <a:gd name="T4" fmla="*/ 0 w 58"/>
                  <a:gd name="T5" fmla="*/ 42 h 43"/>
                  <a:gd name="T6" fmla="*/ 25 w 58"/>
                  <a:gd name="T7" fmla="*/ 42 h 43"/>
                  <a:gd name="T8" fmla="*/ 32 w 58"/>
                  <a:gd name="T9" fmla="*/ 42 h 43"/>
                  <a:gd name="T10" fmla="*/ 57 w 58"/>
                  <a:gd name="T11" fmla="*/ 42 h 43"/>
                  <a:gd name="T12" fmla="*/ 57 w 58"/>
                  <a:gd name="T13" fmla="*/ 34 h 43"/>
                  <a:gd name="T14" fmla="*/ 48 w 58"/>
                  <a:gd name="T15" fmla="*/ 9 h 43"/>
                  <a:gd name="T16" fmla="*/ 41 w 58"/>
                  <a:gd name="T17" fmla="*/ 0 h 43"/>
                  <a:gd name="T18" fmla="*/ 17 w 58"/>
                  <a:gd name="T19" fmla="*/ 0 h 43"/>
                  <a:gd name="T20" fmla="*/ 0 w 58"/>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44" name="Freeform 212">
                <a:extLst>
                  <a:ext uri="{FF2B5EF4-FFF2-40B4-BE49-F238E27FC236}">
                    <a16:creationId xmlns:a16="http://schemas.microsoft.com/office/drawing/2014/main" id="{BEB1CE70-1341-9A33-451F-D4467F75A37D}"/>
                  </a:ext>
                </a:extLst>
              </p:cNvPr>
              <p:cNvSpPr>
                <a:spLocks/>
              </p:cNvSpPr>
              <p:nvPr/>
            </p:nvSpPr>
            <p:spPr bwMode="gray">
              <a:xfrm>
                <a:off x="2722879" y="2413554"/>
                <a:ext cx="57707" cy="60057"/>
              </a:xfrm>
              <a:custGeom>
                <a:avLst/>
                <a:gdLst>
                  <a:gd name="T0" fmla="*/ 0 w 41"/>
                  <a:gd name="T1" fmla="*/ 23 h 41"/>
                  <a:gd name="T2" fmla="*/ 40 w 41"/>
                  <a:gd name="T3" fmla="*/ 40 h 41"/>
                  <a:gd name="T4" fmla="*/ 40 w 41"/>
                  <a:gd name="T5" fmla="*/ 16 h 41"/>
                  <a:gd name="T6" fmla="*/ 23 w 41"/>
                  <a:gd name="T7" fmla="*/ 0 h 41"/>
                  <a:gd name="T8" fmla="*/ 16 w 41"/>
                  <a:gd name="T9" fmla="*/ 0 h 41"/>
                  <a:gd name="T10" fmla="*/ 0 w 41"/>
                  <a:gd name="T11" fmla="*/ 23 h 41"/>
                </a:gdLst>
                <a:ahLst/>
                <a:cxnLst>
                  <a:cxn ang="0">
                    <a:pos x="T0" y="T1"/>
                  </a:cxn>
                  <a:cxn ang="0">
                    <a:pos x="T2" y="T3"/>
                  </a:cxn>
                  <a:cxn ang="0">
                    <a:pos x="T4" y="T5"/>
                  </a:cxn>
                  <a:cxn ang="0">
                    <a:pos x="T6" y="T7"/>
                  </a:cxn>
                  <a:cxn ang="0">
                    <a:pos x="T8" y="T9"/>
                  </a:cxn>
                  <a:cxn ang="0">
                    <a:pos x="T10" y="T11"/>
                  </a:cxn>
                </a:cxnLst>
                <a:rect l="0" t="0" r="r" b="b"/>
                <a:pathLst>
                  <a:path w="41" h="41">
                    <a:moveTo>
                      <a:pt x="0" y="23"/>
                    </a:moveTo>
                    <a:lnTo>
                      <a:pt x="40" y="40"/>
                    </a:lnTo>
                    <a:lnTo>
                      <a:pt x="40" y="16"/>
                    </a:lnTo>
                    <a:lnTo>
                      <a:pt x="23" y="0"/>
                    </a:lnTo>
                    <a:lnTo>
                      <a:pt x="16" y="0"/>
                    </a:lnTo>
                    <a:lnTo>
                      <a:pt x="0" y="23"/>
                    </a:lnTo>
                  </a:path>
                </a:pathLst>
              </a:custGeom>
              <a:grpFill/>
              <a:ln w="6350" cap="rnd" cmpd="sng">
                <a:solidFill>
                  <a:srgbClr val="D0D0D0"/>
                </a:solidFill>
                <a:prstDash val="solid"/>
                <a:round/>
                <a:headEnd/>
                <a:tailEnd/>
              </a:ln>
              <a:effectLst/>
            </p:spPr>
            <p:txBody>
              <a:bodyPr/>
              <a:lstStyle/>
              <a:p>
                <a:endParaRPr lang="de-DE" dirty="0"/>
              </a:p>
            </p:txBody>
          </p:sp>
          <p:sp>
            <p:nvSpPr>
              <p:cNvPr id="145" name="Freeform 213">
                <a:extLst>
                  <a:ext uri="{FF2B5EF4-FFF2-40B4-BE49-F238E27FC236}">
                    <a16:creationId xmlns:a16="http://schemas.microsoft.com/office/drawing/2014/main" id="{B5A6900B-0EA1-3259-1D28-AA9BA2A5DF69}"/>
                  </a:ext>
                </a:extLst>
              </p:cNvPr>
              <p:cNvSpPr>
                <a:spLocks/>
              </p:cNvSpPr>
              <p:nvPr/>
            </p:nvSpPr>
            <p:spPr bwMode="gray">
              <a:xfrm>
                <a:off x="2733479" y="2294664"/>
                <a:ext cx="299130" cy="202234"/>
              </a:xfrm>
              <a:custGeom>
                <a:avLst/>
                <a:gdLst>
                  <a:gd name="T0" fmla="*/ 0 w 212"/>
                  <a:gd name="T1" fmla="*/ 0 h 138"/>
                  <a:gd name="T2" fmla="*/ 0 w 212"/>
                  <a:gd name="T3" fmla="*/ 16 h 138"/>
                  <a:gd name="T4" fmla="*/ 15 w 212"/>
                  <a:gd name="T5" fmla="*/ 40 h 138"/>
                  <a:gd name="T6" fmla="*/ 32 w 212"/>
                  <a:gd name="T7" fmla="*/ 40 h 138"/>
                  <a:gd name="T8" fmla="*/ 49 w 212"/>
                  <a:gd name="T9" fmla="*/ 47 h 138"/>
                  <a:gd name="T10" fmla="*/ 49 w 212"/>
                  <a:gd name="T11" fmla="*/ 121 h 138"/>
                  <a:gd name="T12" fmla="*/ 120 w 212"/>
                  <a:gd name="T13" fmla="*/ 137 h 138"/>
                  <a:gd name="T14" fmla="*/ 145 w 212"/>
                  <a:gd name="T15" fmla="*/ 137 h 138"/>
                  <a:gd name="T16" fmla="*/ 161 w 212"/>
                  <a:gd name="T17" fmla="*/ 121 h 138"/>
                  <a:gd name="T18" fmla="*/ 179 w 212"/>
                  <a:gd name="T19" fmla="*/ 129 h 138"/>
                  <a:gd name="T20" fmla="*/ 202 w 212"/>
                  <a:gd name="T21" fmla="*/ 121 h 138"/>
                  <a:gd name="T22" fmla="*/ 211 w 212"/>
                  <a:gd name="T23" fmla="*/ 81 h 138"/>
                  <a:gd name="T24" fmla="*/ 186 w 212"/>
                  <a:gd name="T25" fmla="*/ 72 h 138"/>
                  <a:gd name="T26" fmla="*/ 145 w 212"/>
                  <a:gd name="T27" fmla="*/ 63 h 138"/>
                  <a:gd name="T28" fmla="*/ 120 w 212"/>
                  <a:gd name="T29" fmla="*/ 81 h 138"/>
                  <a:gd name="T30" fmla="*/ 96 w 212"/>
                  <a:gd name="T31" fmla="*/ 72 h 138"/>
                  <a:gd name="T32" fmla="*/ 73 w 212"/>
                  <a:gd name="T33" fmla="*/ 56 h 138"/>
                  <a:gd name="T34" fmla="*/ 80 w 212"/>
                  <a:gd name="T35" fmla="*/ 47 h 138"/>
                  <a:gd name="T36" fmla="*/ 64 w 212"/>
                  <a:gd name="T37" fmla="*/ 23 h 138"/>
                  <a:gd name="T38" fmla="*/ 40 w 212"/>
                  <a:gd name="T39" fmla="*/ 23 h 138"/>
                  <a:gd name="T40" fmla="*/ 24 w 212"/>
                  <a:gd name="T41" fmla="*/ 7 h 138"/>
                  <a:gd name="T42" fmla="*/ 0 w 212"/>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146" name="Freeform 214">
                <a:extLst>
                  <a:ext uri="{FF2B5EF4-FFF2-40B4-BE49-F238E27FC236}">
                    <a16:creationId xmlns:a16="http://schemas.microsoft.com/office/drawing/2014/main" id="{77B81CBA-15AF-2572-8F1F-E443EC4B066D}"/>
                  </a:ext>
                </a:extLst>
              </p:cNvPr>
              <p:cNvSpPr>
                <a:spLocks/>
              </p:cNvSpPr>
              <p:nvPr/>
            </p:nvSpPr>
            <p:spPr bwMode="gray">
              <a:xfrm>
                <a:off x="2754677" y="1866908"/>
                <a:ext cx="162519" cy="334605"/>
              </a:xfrm>
              <a:custGeom>
                <a:avLst/>
                <a:gdLst>
                  <a:gd name="T0" fmla="*/ 0 w 115"/>
                  <a:gd name="T1" fmla="*/ 97 h 228"/>
                  <a:gd name="T2" fmla="*/ 25 w 115"/>
                  <a:gd name="T3" fmla="*/ 146 h 228"/>
                  <a:gd name="T4" fmla="*/ 17 w 115"/>
                  <a:gd name="T5" fmla="*/ 169 h 228"/>
                  <a:gd name="T6" fmla="*/ 17 w 115"/>
                  <a:gd name="T7" fmla="*/ 202 h 228"/>
                  <a:gd name="T8" fmla="*/ 34 w 115"/>
                  <a:gd name="T9" fmla="*/ 227 h 228"/>
                  <a:gd name="T10" fmla="*/ 74 w 115"/>
                  <a:gd name="T11" fmla="*/ 227 h 228"/>
                  <a:gd name="T12" fmla="*/ 99 w 115"/>
                  <a:gd name="T13" fmla="*/ 169 h 228"/>
                  <a:gd name="T14" fmla="*/ 114 w 115"/>
                  <a:gd name="T15" fmla="*/ 153 h 228"/>
                  <a:gd name="T16" fmla="*/ 114 w 115"/>
                  <a:gd name="T17" fmla="*/ 128 h 228"/>
                  <a:gd name="T18" fmla="*/ 90 w 115"/>
                  <a:gd name="T19" fmla="*/ 122 h 228"/>
                  <a:gd name="T20" fmla="*/ 99 w 115"/>
                  <a:gd name="T21" fmla="*/ 88 h 228"/>
                  <a:gd name="T22" fmla="*/ 90 w 115"/>
                  <a:gd name="T23" fmla="*/ 65 h 228"/>
                  <a:gd name="T24" fmla="*/ 58 w 115"/>
                  <a:gd name="T25" fmla="*/ 65 h 228"/>
                  <a:gd name="T26" fmla="*/ 40 w 115"/>
                  <a:gd name="T27" fmla="*/ 40 h 228"/>
                  <a:gd name="T28" fmla="*/ 34 w 115"/>
                  <a:gd name="T29" fmla="*/ 0 h 228"/>
                  <a:gd name="T30" fmla="*/ 17 w 115"/>
                  <a:gd name="T31" fmla="*/ 0 h 228"/>
                  <a:gd name="T32" fmla="*/ 17 w 115"/>
                  <a:gd name="T33" fmla="*/ 40 h 228"/>
                  <a:gd name="T34" fmla="*/ 0 w 115"/>
                  <a:gd name="T35" fmla="*/ 65 h 228"/>
                  <a:gd name="T36" fmla="*/ 0 w 115"/>
                  <a:gd name="T37" fmla="*/ 9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47" name="Freeform 215">
                <a:extLst>
                  <a:ext uri="{FF2B5EF4-FFF2-40B4-BE49-F238E27FC236}">
                    <a16:creationId xmlns:a16="http://schemas.microsoft.com/office/drawing/2014/main" id="{073C40E6-928A-6A44-4856-1E5E7048F382}"/>
                  </a:ext>
                </a:extLst>
              </p:cNvPr>
              <p:cNvSpPr>
                <a:spLocks/>
              </p:cNvSpPr>
              <p:nvPr/>
            </p:nvSpPr>
            <p:spPr bwMode="gray">
              <a:xfrm>
                <a:off x="2837114" y="1616873"/>
                <a:ext cx="526420" cy="748879"/>
              </a:xfrm>
              <a:custGeom>
                <a:avLst/>
                <a:gdLst>
                  <a:gd name="T0" fmla="*/ 0 w 374"/>
                  <a:gd name="T1" fmla="*/ 156 h 511"/>
                  <a:gd name="T2" fmla="*/ 7 w 374"/>
                  <a:gd name="T3" fmla="*/ 196 h 511"/>
                  <a:gd name="T4" fmla="*/ 23 w 374"/>
                  <a:gd name="T5" fmla="*/ 219 h 511"/>
                  <a:gd name="T6" fmla="*/ 66 w 374"/>
                  <a:gd name="T7" fmla="*/ 219 h 511"/>
                  <a:gd name="T8" fmla="*/ 88 w 374"/>
                  <a:gd name="T9" fmla="*/ 211 h 511"/>
                  <a:gd name="T10" fmla="*/ 162 w 374"/>
                  <a:gd name="T11" fmla="*/ 203 h 511"/>
                  <a:gd name="T12" fmla="*/ 138 w 374"/>
                  <a:gd name="T13" fmla="*/ 219 h 511"/>
                  <a:gd name="T14" fmla="*/ 97 w 374"/>
                  <a:gd name="T15" fmla="*/ 236 h 511"/>
                  <a:gd name="T16" fmla="*/ 88 w 374"/>
                  <a:gd name="T17" fmla="*/ 251 h 511"/>
                  <a:gd name="T18" fmla="*/ 56 w 374"/>
                  <a:gd name="T19" fmla="*/ 236 h 511"/>
                  <a:gd name="T20" fmla="*/ 47 w 374"/>
                  <a:gd name="T21" fmla="*/ 276 h 511"/>
                  <a:gd name="T22" fmla="*/ 66 w 374"/>
                  <a:gd name="T23" fmla="*/ 293 h 511"/>
                  <a:gd name="T24" fmla="*/ 72 w 374"/>
                  <a:gd name="T25" fmla="*/ 348 h 511"/>
                  <a:gd name="T26" fmla="*/ 56 w 374"/>
                  <a:gd name="T27" fmla="*/ 358 h 511"/>
                  <a:gd name="T28" fmla="*/ 32 w 374"/>
                  <a:gd name="T29" fmla="*/ 398 h 511"/>
                  <a:gd name="T30" fmla="*/ 66 w 374"/>
                  <a:gd name="T31" fmla="*/ 405 h 511"/>
                  <a:gd name="T32" fmla="*/ 32 w 374"/>
                  <a:gd name="T33" fmla="*/ 413 h 511"/>
                  <a:gd name="T34" fmla="*/ 32 w 374"/>
                  <a:gd name="T35" fmla="*/ 438 h 511"/>
                  <a:gd name="T36" fmla="*/ 41 w 374"/>
                  <a:gd name="T37" fmla="*/ 445 h 511"/>
                  <a:gd name="T38" fmla="*/ 7 w 374"/>
                  <a:gd name="T39" fmla="*/ 470 h 511"/>
                  <a:gd name="T40" fmla="*/ 7 w 374"/>
                  <a:gd name="T41" fmla="*/ 495 h 511"/>
                  <a:gd name="T42" fmla="*/ 66 w 374"/>
                  <a:gd name="T43" fmla="*/ 503 h 511"/>
                  <a:gd name="T44" fmla="*/ 81 w 374"/>
                  <a:gd name="T45" fmla="*/ 495 h 511"/>
                  <a:gd name="T46" fmla="*/ 97 w 374"/>
                  <a:gd name="T47" fmla="*/ 503 h 511"/>
                  <a:gd name="T48" fmla="*/ 113 w 374"/>
                  <a:gd name="T49" fmla="*/ 495 h 511"/>
                  <a:gd name="T50" fmla="*/ 121 w 374"/>
                  <a:gd name="T51" fmla="*/ 510 h 511"/>
                  <a:gd name="T52" fmla="*/ 146 w 374"/>
                  <a:gd name="T53" fmla="*/ 495 h 511"/>
                  <a:gd name="T54" fmla="*/ 162 w 374"/>
                  <a:gd name="T55" fmla="*/ 470 h 511"/>
                  <a:gd name="T56" fmla="*/ 146 w 374"/>
                  <a:gd name="T57" fmla="*/ 445 h 511"/>
                  <a:gd name="T58" fmla="*/ 162 w 374"/>
                  <a:gd name="T59" fmla="*/ 430 h 511"/>
                  <a:gd name="T60" fmla="*/ 162 w 374"/>
                  <a:gd name="T61" fmla="*/ 405 h 511"/>
                  <a:gd name="T62" fmla="*/ 186 w 374"/>
                  <a:gd name="T63" fmla="*/ 405 h 511"/>
                  <a:gd name="T64" fmla="*/ 209 w 374"/>
                  <a:gd name="T65" fmla="*/ 308 h 511"/>
                  <a:gd name="T66" fmla="*/ 243 w 374"/>
                  <a:gd name="T67" fmla="*/ 293 h 511"/>
                  <a:gd name="T68" fmla="*/ 275 w 374"/>
                  <a:gd name="T69" fmla="*/ 227 h 511"/>
                  <a:gd name="T70" fmla="*/ 333 w 374"/>
                  <a:gd name="T71" fmla="*/ 156 h 511"/>
                  <a:gd name="T72" fmla="*/ 333 w 374"/>
                  <a:gd name="T73" fmla="*/ 137 h 511"/>
                  <a:gd name="T74" fmla="*/ 373 w 374"/>
                  <a:gd name="T75" fmla="*/ 90 h 511"/>
                  <a:gd name="T76" fmla="*/ 373 w 374"/>
                  <a:gd name="T77" fmla="*/ 65 h 511"/>
                  <a:gd name="T78" fmla="*/ 349 w 374"/>
                  <a:gd name="T79" fmla="*/ 57 h 511"/>
                  <a:gd name="T80" fmla="*/ 333 w 374"/>
                  <a:gd name="T81" fmla="*/ 25 h 511"/>
                  <a:gd name="T82" fmla="*/ 268 w 374"/>
                  <a:gd name="T83" fmla="*/ 0 h 511"/>
                  <a:gd name="T84" fmla="*/ 227 w 374"/>
                  <a:gd name="T85" fmla="*/ 0 h 511"/>
                  <a:gd name="T86" fmla="*/ 203 w 374"/>
                  <a:gd name="T87" fmla="*/ 9 h 511"/>
                  <a:gd name="T88" fmla="*/ 169 w 374"/>
                  <a:gd name="T89" fmla="*/ 0 h 511"/>
                  <a:gd name="T90" fmla="*/ 121 w 374"/>
                  <a:gd name="T91" fmla="*/ 17 h 511"/>
                  <a:gd name="T92" fmla="*/ 97 w 374"/>
                  <a:gd name="T93" fmla="*/ 49 h 511"/>
                  <a:gd name="T94" fmla="*/ 47 w 374"/>
                  <a:gd name="T95" fmla="*/ 90 h 511"/>
                  <a:gd name="T96" fmla="*/ 47 w 374"/>
                  <a:gd name="T97" fmla="*/ 113 h 511"/>
                  <a:gd name="T98" fmla="*/ 16 w 374"/>
                  <a:gd name="T99" fmla="*/ 113 h 511"/>
                  <a:gd name="T100" fmla="*/ 0 w 374"/>
                  <a:gd name="T101" fmla="*/ 15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48" name="Freeform 216">
                <a:extLst>
                  <a:ext uri="{FF2B5EF4-FFF2-40B4-BE49-F238E27FC236}">
                    <a16:creationId xmlns:a16="http://schemas.microsoft.com/office/drawing/2014/main" id="{728D7494-1100-3156-5807-C8859922E215}"/>
                  </a:ext>
                </a:extLst>
              </p:cNvPr>
              <p:cNvSpPr>
                <a:spLocks/>
              </p:cNvSpPr>
              <p:nvPr/>
            </p:nvSpPr>
            <p:spPr bwMode="gray">
              <a:xfrm>
                <a:off x="2549762" y="2081399"/>
                <a:ext cx="196672" cy="154433"/>
              </a:xfrm>
              <a:custGeom>
                <a:avLst/>
                <a:gdLst>
                  <a:gd name="T0" fmla="*/ 0 w 140"/>
                  <a:gd name="T1" fmla="*/ 7 h 106"/>
                  <a:gd name="T2" fmla="*/ 0 w 140"/>
                  <a:gd name="T3" fmla="*/ 23 h 106"/>
                  <a:gd name="T4" fmla="*/ 24 w 140"/>
                  <a:gd name="T5" fmla="*/ 31 h 106"/>
                  <a:gd name="T6" fmla="*/ 18 w 140"/>
                  <a:gd name="T7" fmla="*/ 56 h 106"/>
                  <a:gd name="T8" fmla="*/ 24 w 140"/>
                  <a:gd name="T9" fmla="*/ 72 h 106"/>
                  <a:gd name="T10" fmla="*/ 65 w 140"/>
                  <a:gd name="T11" fmla="*/ 81 h 106"/>
                  <a:gd name="T12" fmla="*/ 83 w 140"/>
                  <a:gd name="T13" fmla="*/ 105 h 106"/>
                  <a:gd name="T14" fmla="*/ 98 w 140"/>
                  <a:gd name="T15" fmla="*/ 88 h 106"/>
                  <a:gd name="T16" fmla="*/ 131 w 140"/>
                  <a:gd name="T17" fmla="*/ 88 h 106"/>
                  <a:gd name="T18" fmla="*/ 139 w 140"/>
                  <a:gd name="T19" fmla="*/ 72 h 106"/>
                  <a:gd name="T20" fmla="*/ 131 w 140"/>
                  <a:gd name="T21" fmla="*/ 56 h 106"/>
                  <a:gd name="T22" fmla="*/ 106 w 140"/>
                  <a:gd name="T23" fmla="*/ 31 h 106"/>
                  <a:gd name="T24" fmla="*/ 98 w 140"/>
                  <a:gd name="T25" fmla="*/ 81 h 106"/>
                  <a:gd name="T26" fmla="*/ 83 w 140"/>
                  <a:gd name="T27" fmla="*/ 81 h 106"/>
                  <a:gd name="T28" fmla="*/ 83 w 140"/>
                  <a:gd name="T29" fmla="*/ 31 h 106"/>
                  <a:gd name="T30" fmla="*/ 65 w 140"/>
                  <a:gd name="T31" fmla="*/ 7 h 106"/>
                  <a:gd name="T32" fmla="*/ 9 w 140"/>
                  <a:gd name="T33" fmla="*/ 0 h 106"/>
                  <a:gd name="T34" fmla="*/ 0 w 140"/>
                  <a:gd name="T35" fmla="*/ 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49" name="Freeform 217">
                <a:extLst>
                  <a:ext uri="{FF2B5EF4-FFF2-40B4-BE49-F238E27FC236}">
                    <a16:creationId xmlns:a16="http://schemas.microsoft.com/office/drawing/2014/main" id="{8472EE46-D73E-41AD-FA91-10BE2C040012}"/>
                  </a:ext>
                </a:extLst>
              </p:cNvPr>
              <p:cNvSpPr>
                <a:spLocks/>
              </p:cNvSpPr>
              <p:nvPr/>
            </p:nvSpPr>
            <p:spPr bwMode="gray">
              <a:xfrm>
                <a:off x="2722879" y="2221125"/>
                <a:ext cx="81260" cy="49026"/>
              </a:xfrm>
              <a:custGeom>
                <a:avLst/>
                <a:gdLst>
                  <a:gd name="T0" fmla="*/ 0 w 58"/>
                  <a:gd name="T1" fmla="*/ 9 h 33"/>
                  <a:gd name="T2" fmla="*/ 48 w 58"/>
                  <a:gd name="T3" fmla="*/ 32 h 33"/>
                  <a:gd name="T4" fmla="*/ 57 w 58"/>
                  <a:gd name="T5" fmla="*/ 17 h 33"/>
                  <a:gd name="T6" fmla="*/ 57 w 58"/>
                  <a:gd name="T7" fmla="*/ 0 h 33"/>
                  <a:gd name="T8" fmla="*/ 23 w 58"/>
                  <a:gd name="T9" fmla="*/ 0 h 33"/>
                  <a:gd name="T10" fmla="*/ 0 w 58"/>
                  <a:gd name="T11" fmla="*/ 9 h 33"/>
                </a:gdLst>
                <a:ahLst/>
                <a:cxnLst>
                  <a:cxn ang="0">
                    <a:pos x="T0" y="T1"/>
                  </a:cxn>
                  <a:cxn ang="0">
                    <a:pos x="T2" y="T3"/>
                  </a:cxn>
                  <a:cxn ang="0">
                    <a:pos x="T4" y="T5"/>
                  </a:cxn>
                  <a:cxn ang="0">
                    <a:pos x="T6" y="T7"/>
                  </a:cxn>
                  <a:cxn ang="0">
                    <a:pos x="T8" y="T9"/>
                  </a:cxn>
                  <a:cxn ang="0">
                    <a:pos x="T10" y="T11"/>
                  </a:cxn>
                </a:cxnLst>
                <a:rect l="0" t="0" r="r" b="b"/>
                <a:pathLst>
                  <a:path w="58" h="33">
                    <a:moveTo>
                      <a:pt x="0" y="9"/>
                    </a:moveTo>
                    <a:lnTo>
                      <a:pt x="48" y="32"/>
                    </a:lnTo>
                    <a:lnTo>
                      <a:pt x="57" y="17"/>
                    </a:lnTo>
                    <a:lnTo>
                      <a:pt x="57" y="0"/>
                    </a:lnTo>
                    <a:lnTo>
                      <a:pt x="23" y="0"/>
                    </a:lnTo>
                    <a:lnTo>
                      <a:pt x="0" y="9"/>
                    </a:lnTo>
                  </a:path>
                </a:pathLst>
              </a:custGeom>
              <a:grpFill/>
              <a:ln w="6350" cap="rnd" cmpd="sng">
                <a:solidFill>
                  <a:srgbClr val="D0D0D0"/>
                </a:solidFill>
                <a:prstDash val="solid"/>
                <a:round/>
                <a:headEnd/>
                <a:tailEnd/>
              </a:ln>
              <a:effectLst/>
            </p:spPr>
            <p:txBody>
              <a:bodyPr/>
              <a:lstStyle/>
              <a:p>
                <a:endParaRPr lang="de-DE" dirty="0"/>
              </a:p>
            </p:txBody>
          </p:sp>
          <p:sp>
            <p:nvSpPr>
              <p:cNvPr id="150" name="Freeform 218">
                <a:extLst>
                  <a:ext uri="{FF2B5EF4-FFF2-40B4-BE49-F238E27FC236}">
                    <a16:creationId xmlns:a16="http://schemas.microsoft.com/office/drawing/2014/main" id="{02559D44-752E-8BB4-668A-9C6909FABEC3}"/>
                  </a:ext>
                </a:extLst>
              </p:cNvPr>
              <p:cNvSpPr>
                <a:spLocks/>
              </p:cNvSpPr>
              <p:nvPr/>
            </p:nvSpPr>
            <p:spPr bwMode="gray">
              <a:xfrm>
                <a:off x="2562716" y="2234607"/>
                <a:ext cx="36508" cy="61283"/>
              </a:xfrm>
              <a:custGeom>
                <a:avLst/>
                <a:gdLst>
                  <a:gd name="T0" fmla="*/ 0 w 26"/>
                  <a:gd name="T1" fmla="*/ 0 h 42"/>
                  <a:gd name="T2" fmla="*/ 0 w 26"/>
                  <a:gd name="T3" fmla="*/ 33 h 42"/>
                  <a:gd name="T4" fmla="*/ 25 w 26"/>
                  <a:gd name="T5" fmla="*/ 41 h 42"/>
                  <a:gd name="T6" fmla="*/ 9 w 26"/>
                  <a:gd name="T7" fmla="*/ 0 h 42"/>
                  <a:gd name="T8" fmla="*/ 0 w 26"/>
                  <a:gd name="T9" fmla="*/ 0 h 42"/>
                </a:gdLst>
                <a:ahLst/>
                <a:cxnLst>
                  <a:cxn ang="0">
                    <a:pos x="T0" y="T1"/>
                  </a:cxn>
                  <a:cxn ang="0">
                    <a:pos x="T2" y="T3"/>
                  </a:cxn>
                  <a:cxn ang="0">
                    <a:pos x="T4" y="T5"/>
                  </a:cxn>
                  <a:cxn ang="0">
                    <a:pos x="T6" y="T7"/>
                  </a:cxn>
                  <a:cxn ang="0">
                    <a:pos x="T8" y="T9"/>
                  </a:cxn>
                </a:cxnLst>
                <a:rect l="0" t="0" r="r" b="b"/>
                <a:pathLst>
                  <a:path w="26" h="42">
                    <a:moveTo>
                      <a:pt x="0" y="0"/>
                    </a:moveTo>
                    <a:lnTo>
                      <a:pt x="0" y="33"/>
                    </a:lnTo>
                    <a:lnTo>
                      <a:pt x="25" y="41"/>
                    </a:lnTo>
                    <a:lnTo>
                      <a:pt x="9"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151" name="Freeform 219">
                <a:extLst>
                  <a:ext uri="{FF2B5EF4-FFF2-40B4-BE49-F238E27FC236}">
                    <a16:creationId xmlns:a16="http://schemas.microsoft.com/office/drawing/2014/main" id="{18E706D2-20B9-B955-64E3-CC8FD6DC74B6}"/>
                  </a:ext>
                </a:extLst>
              </p:cNvPr>
              <p:cNvSpPr>
                <a:spLocks/>
              </p:cNvSpPr>
              <p:nvPr/>
            </p:nvSpPr>
            <p:spPr bwMode="gray">
              <a:xfrm>
                <a:off x="2574492" y="2317951"/>
                <a:ext cx="126012" cy="131146"/>
              </a:xfrm>
              <a:custGeom>
                <a:avLst/>
                <a:gdLst>
                  <a:gd name="T0" fmla="*/ 0 w 89"/>
                  <a:gd name="T1" fmla="*/ 7 h 89"/>
                  <a:gd name="T2" fmla="*/ 24 w 89"/>
                  <a:gd name="T3" fmla="*/ 71 h 89"/>
                  <a:gd name="T4" fmla="*/ 40 w 89"/>
                  <a:gd name="T5" fmla="*/ 56 h 89"/>
                  <a:gd name="T6" fmla="*/ 56 w 89"/>
                  <a:gd name="T7" fmla="*/ 88 h 89"/>
                  <a:gd name="T8" fmla="*/ 80 w 89"/>
                  <a:gd name="T9" fmla="*/ 88 h 89"/>
                  <a:gd name="T10" fmla="*/ 88 w 89"/>
                  <a:gd name="T11" fmla="*/ 65 h 89"/>
                  <a:gd name="T12" fmla="*/ 88 w 89"/>
                  <a:gd name="T13" fmla="*/ 16 h 89"/>
                  <a:gd name="T14" fmla="*/ 71 w 89"/>
                  <a:gd name="T15" fmla="*/ 0 h 89"/>
                  <a:gd name="T16" fmla="*/ 47 w 89"/>
                  <a:gd name="T17" fmla="*/ 0 h 89"/>
                  <a:gd name="T18" fmla="*/ 40 w 89"/>
                  <a:gd name="T19" fmla="*/ 40 h 89"/>
                  <a:gd name="T20" fmla="*/ 16 w 89"/>
                  <a:gd name="T21" fmla="*/ 7 h 89"/>
                  <a:gd name="T22" fmla="*/ 0 w 89"/>
                  <a:gd name="T23"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6350" cap="rnd" cmpd="sng">
                <a:solidFill>
                  <a:srgbClr val="D0D0D0"/>
                </a:solidFill>
                <a:prstDash val="solid"/>
                <a:round/>
                <a:headEnd/>
                <a:tailEnd/>
              </a:ln>
              <a:effectLst/>
            </p:spPr>
            <p:txBody>
              <a:bodyPr/>
              <a:lstStyle/>
              <a:p>
                <a:endParaRPr lang="de-DE" dirty="0"/>
              </a:p>
            </p:txBody>
          </p:sp>
          <p:sp>
            <p:nvSpPr>
              <p:cNvPr id="152" name="Freeform 220">
                <a:extLst>
                  <a:ext uri="{FF2B5EF4-FFF2-40B4-BE49-F238E27FC236}">
                    <a16:creationId xmlns:a16="http://schemas.microsoft.com/office/drawing/2014/main" id="{B8F0503F-30B2-6AF3-3D36-A8EA75EA334B}"/>
                  </a:ext>
                </a:extLst>
              </p:cNvPr>
              <p:cNvSpPr>
                <a:spLocks/>
              </p:cNvSpPr>
              <p:nvPr/>
            </p:nvSpPr>
            <p:spPr bwMode="gray">
              <a:xfrm>
                <a:off x="2413151" y="2150036"/>
                <a:ext cx="94214" cy="37996"/>
              </a:xfrm>
              <a:custGeom>
                <a:avLst/>
                <a:gdLst>
                  <a:gd name="T0" fmla="*/ 0 w 67"/>
                  <a:gd name="T1" fmla="*/ 25 h 26"/>
                  <a:gd name="T2" fmla="*/ 56 w 67"/>
                  <a:gd name="T3" fmla="*/ 25 h 26"/>
                  <a:gd name="T4" fmla="*/ 66 w 67"/>
                  <a:gd name="T5" fmla="*/ 16 h 26"/>
                  <a:gd name="T6" fmla="*/ 41 w 67"/>
                  <a:gd name="T7" fmla="*/ 0 h 26"/>
                  <a:gd name="T8" fmla="*/ 9 w 67"/>
                  <a:gd name="T9" fmla="*/ 9 h 26"/>
                  <a:gd name="T10" fmla="*/ 0 w 67"/>
                  <a:gd name="T11" fmla="*/ 25 h 26"/>
                </a:gdLst>
                <a:ahLst/>
                <a:cxnLst>
                  <a:cxn ang="0">
                    <a:pos x="T0" y="T1"/>
                  </a:cxn>
                  <a:cxn ang="0">
                    <a:pos x="T2" y="T3"/>
                  </a:cxn>
                  <a:cxn ang="0">
                    <a:pos x="T4" y="T5"/>
                  </a:cxn>
                  <a:cxn ang="0">
                    <a:pos x="T6" y="T7"/>
                  </a:cxn>
                  <a:cxn ang="0">
                    <a:pos x="T8" y="T9"/>
                  </a:cxn>
                  <a:cxn ang="0">
                    <a:pos x="T10" y="T11"/>
                  </a:cxn>
                </a:cxnLst>
                <a:rect l="0" t="0" r="r" b="b"/>
                <a:pathLst>
                  <a:path w="67" h="26">
                    <a:moveTo>
                      <a:pt x="0" y="25"/>
                    </a:moveTo>
                    <a:lnTo>
                      <a:pt x="56" y="25"/>
                    </a:lnTo>
                    <a:lnTo>
                      <a:pt x="66" y="16"/>
                    </a:lnTo>
                    <a:lnTo>
                      <a:pt x="41" y="0"/>
                    </a:lnTo>
                    <a:lnTo>
                      <a:pt x="9" y="9"/>
                    </a:lnTo>
                    <a:lnTo>
                      <a:pt x="0" y="25"/>
                    </a:lnTo>
                  </a:path>
                </a:pathLst>
              </a:custGeom>
              <a:grpFill/>
              <a:ln w="6350" cap="rnd" cmpd="sng">
                <a:solidFill>
                  <a:srgbClr val="D0D0D0"/>
                </a:solidFill>
                <a:prstDash val="solid"/>
                <a:round/>
                <a:headEnd/>
                <a:tailEnd/>
              </a:ln>
              <a:effectLst/>
            </p:spPr>
            <p:txBody>
              <a:bodyPr/>
              <a:lstStyle/>
              <a:p>
                <a:endParaRPr lang="de-DE" dirty="0"/>
              </a:p>
            </p:txBody>
          </p:sp>
          <p:sp>
            <p:nvSpPr>
              <p:cNvPr id="153" name="Freeform 221">
                <a:extLst>
                  <a:ext uri="{FF2B5EF4-FFF2-40B4-BE49-F238E27FC236}">
                    <a16:creationId xmlns:a16="http://schemas.microsoft.com/office/drawing/2014/main" id="{25548077-06AE-C764-EE96-011F3528F78B}"/>
                  </a:ext>
                </a:extLst>
              </p:cNvPr>
              <p:cNvSpPr>
                <a:spLocks/>
              </p:cNvSpPr>
              <p:nvPr/>
            </p:nvSpPr>
            <p:spPr bwMode="gray">
              <a:xfrm>
                <a:off x="2378999" y="2199062"/>
                <a:ext cx="35330" cy="36769"/>
              </a:xfrm>
              <a:custGeom>
                <a:avLst/>
                <a:gdLst>
                  <a:gd name="T0" fmla="*/ 0 w 25"/>
                  <a:gd name="T1" fmla="*/ 7 h 25"/>
                  <a:gd name="T2" fmla="*/ 8 w 25"/>
                  <a:gd name="T3" fmla="*/ 24 h 25"/>
                  <a:gd name="T4" fmla="*/ 24 w 25"/>
                  <a:gd name="T5" fmla="*/ 24 h 25"/>
                  <a:gd name="T6" fmla="*/ 16 w 25"/>
                  <a:gd name="T7" fmla="*/ 0 h 25"/>
                  <a:gd name="T8" fmla="*/ 0 w 25"/>
                  <a:gd name="T9" fmla="*/ 7 h 25"/>
                </a:gdLst>
                <a:ahLst/>
                <a:cxnLst>
                  <a:cxn ang="0">
                    <a:pos x="T0" y="T1"/>
                  </a:cxn>
                  <a:cxn ang="0">
                    <a:pos x="T2" y="T3"/>
                  </a:cxn>
                  <a:cxn ang="0">
                    <a:pos x="T4" y="T5"/>
                  </a:cxn>
                  <a:cxn ang="0">
                    <a:pos x="T6" y="T7"/>
                  </a:cxn>
                  <a:cxn ang="0">
                    <a:pos x="T8" y="T9"/>
                  </a:cxn>
                </a:cxnLst>
                <a:rect l="0" t="0" r="r" b="b"/>
                <a:pathLst>
                  <a:path w="25" h="25">
                    <a:moveTo>
                      <a:pt x="0" y="7"/>
                    </a:moveTo>
                    <a:lnTo>
                      <a:pt x="8" y="24"/>
                    </a:lnTo>
                    <a:lnTo>
                      <a:pt x="24" y="24"/>
                    </a:lnTo>
                    <a:lnTo>
                      <a:pt x="16" y="0"/>
                    </a:lnTo>
                    <a:lnTo>
                      <a:pt x="0" y="7"/>
                    </a:lnTo>
                  </a:path>
                </a:pathLst>
              </a:custGeom>
              <a:grpFill/>
              <a:ln w="6350" cap="rnd" cmpd="sng">
                <a:solidFill>
                  <a:srgbClr val="D0D0D0"/>
                </a:solidFill>
                <a:prstDash val="solid"/>
                <a:round/>
                <a:headEnd/>
                <a:tailEnd/>
              </a:ln>
              <a:effectLst/>
            </p:spPr>
            <p:txBody>
              <a:bodyPr/>
              <a:lstStyle/>
              <a:p>
                <a:endParaRPr lang="de-DE" dirty="0"/>
              </a:p>
            </p:txBody>
          </p:sp>
          <p:sp>
            <p:nvSpPr>
              <p:cNvPr id="154" name="Freeform 222">
                <a:extLst>
                  <a:ext uri="{FF2B5EF4-FFF2-40B4-BE49-F238E27FC236}">
                    <a16:creationId xmlns:a16="http://schemas.microsoft.com/office/drawing/2014/main" id="{420D0141-747C-12F0-1F01-B88BF71BF174}"/>
                  </a:ext>
                </a:extLst>
              </p:cNvPr>
              <p:cNvSpPr>
                <a:spLocks/>
              </p:cNvSpPr>
              <p:nvPr/>
            </p:nvSpPr>
            <p:spPr bwMode="gray">
              <a:xfrm>
                <a:off x="2413151" y="2210094"/>
                <a:ext cx="70660" cy="60057"/>
              </a:xfrm>
              <a:custGeom>
                <a:avLst/>
                <a:gdLst>
                  <a:gd name="T0" fmla="*/ 0 w 50"/>
                  <a:gd name="T1" fmla="*/ 17 h 41"/>
                  <a:gd name="T2" fmla="*/ 9 w 50"/>
                  <a:gd name="T3" fmla="*/ 33 h 41"/>
                  <a:gd name="T4" fmla="*/ 24 w 50"/>
                  <a:gd name="T5" fmla="*/ 40 h 41"/>
                  <a:gd name="T6" fmla="*/ 49 w 50"/>
                  <a:gd name="T7" fmla="*/ 25 h 41"/>
                  <a:gd name="T8" fmla="*/ 49 w 50"/>
                  <a:gd name="T9" fmla="*/ 0 h 41"/>
                  <a:gd name="T10" fmla="*/ 0 w 50"/>
                  <a:gd name="T11" fmla="*/ 17 h 41"/>
                </a:gdLst>
                <a:ahLst/>
                <a:cxnLst>
                  <a:cxn ang="0">
                    <a:pos x="T0" y="T1"/>
                  </a:cxn>
                  <a:cxn ang="0">
                    <a:pos x="T2" y="T3"/>
                  </a:cxn>
                  <a:cxn ang="0">
                    <a:pos x="T4" y="T5"/>
                  </a:cxn>
                  <a:cxn ang="0">
                    <a:pos x="T6" y="T7"/>
                  </a:cxn>
                  <a:cxn ang="0">
                    <a:pos x="T8" y="T9"/>
                  </a:cxn>
                  <a:cxn ang="0">
                    <a:pos x="T10" y="T11"/>
                  </a:cxn>
                </a:cxnLst>
                <a:rect l="0" t="0" r="r" b="b"/>
                <a:pathLst>
                  <a:path w="50" h="41">
                    <a:moveTo>
                      <a:pt x="0" y="17"/>
                    </a:moveTo>
                    <a:lnTo>
                      <a:pt x="9" y="33"/>
                    </a:lnTo>
                    <a:lnTo>
                      <a:pt x="24" y="40"/>
                    </a:lnTo>
                    <a:lnTo>
                      <a:pt x="49" y="25"/>
                    </a:lnTo>
                    <a:lnTo>
                      <a:pt x="49" y="0"/>
                    </a:lnTo>
                    <a:lnTo>
                      <a:pt x="0" y="17"/>
                    </a:lnTo>
                  </a:path>
                </a:pathLst>
              </a:custGeom>
              <a:grpFill/>
              <a:ln w="6350" cap="rnd" cmpd="sng">
                <a:solidFill>
                  <a:srgbClr val="D0D0D0"/>
                </a:solidFill>
                <a:prstDash val="solid"/>
                <a:round/>
                <a:headEnd/>
                <a:tailEnd/>
              </a:ln>
              <a:effectLst/>
            </p:spPr>
            <p:txBody>
              <a:bodyPr/>
              <a:lstStyle/>
              <a:p>
                <a:endParaRPr lang="de-DE" dirty="0"/>
              </a:p>
            </p:txBody>
          </p:sp>
          <p:sp>
            <p:nvSpPr>
              <p:cNvPr id="155" name="Freeform 223">
                <a:extLst>
                  <a:ext uri="{FF2B5EF4-FFF2-40B4-BE49-F238E27FC236}">
                    <a16:creationId xmlns:a16="http://schemas.microsoft.com/office/drawing/2014/main" id="{E0922A2F-52C8-1948-064B-BBCB5D879639}"/>
                  </a:ext>
                </a:extLst>
              </p:cNvPr>
              <p:cNvSpPr>
                <a:spLocks/>
              </p:cNvSpPr>
              <p:nvPr/>
            </p:nvSpPr>
            <p:spPr bwMode="gray">
              <a:xfrm>
                <a:off x="2229434" y="2246863"/>
                <a:ext cx="150742" cy="142177"/>
              </a:xfrm>
              <a:custGeom>
                <a:avLst/>
                <a:gdLst>
                  <a:gd name="T0" fmla="*/ 0 w 107"/>
                  <a:gd name="T1" fmla="*/ 73 h 97"/>
                  <a:gd name="T2" fmla="*/ 9 w 107"/>
                  <a:gd name="T3" fmla="*/ 96 h 97"/>
                  <a:gd name="T4" fmla="*/ 40 w 107"/>
                  <a:gd name="T5" fmla="*/ 96 h 97"/>
                  <a:gd name="T6" fmla="*/ 65 w 107"/>
                  <a:gd name="T7" fmla="*/ 65 h 97"/>
                  <a:gd name="T8" fmla="*/ 81 w 107"/>
                  <a:gd name="T9" fmla="*/ 73 h 97"/>
                  <a:gd name="T10" fmla="*/ 99 w 107"/>
                  <a:gd name="T11" fmla="*/ 49 h 97"/>
                  <a:gd name="T12" fmla="*/ 99 w 107"/>
                  <a:gd name="T13" fmla="*/ 33 h 97"/>
                  <a:gd name="T14" fmla="*/ 106 w 107"/>
                  <a:gd name="T15" fmla="*/ 15 h 97"/>
                  <a:gd name="T16" fmla="*/ 90 w 107"/>
                  <a:gd name="T17" fmla="*/ 0 h 97"/>
                  <a:gd name="T18" fmla="*/ 81 w 107"/>
                  <a:gd name="T19" fmla="*/ 15 h 97"/>
                  <a:gd name="T20" fmla="*/ 58 w 107"/>
                  <a:gd name="T21" fmla="*/ 15 h 97"/>
                  <a:gd name="T22" fmla="*/ 0 w 107"/>
                  <a:gd name="T23" fmla="*/ 7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6350" cap="rnd" cmpd="sng">
                <a:solidFill>
                  <a:srgbClr val="D0D0D0"/>
                </a:solidFill>
                <a:prstDash val="solid"/>
                <a:round/>
                <a:headEnd/>
                <a:tailEnd/>
              </a:ln>
              <a:effectLst/>
            </p:spPr>
            <p:txBody>
              <a:bodyPr/>
              <a:lstStyle/>
              <a:p>
                <a:endParaRPr lang="de-DE" dirty="0"/>
              </a:p>
            </p:txBody>
          </p:sp>
          <p:sp>
            <p:nvSpPr>
              <p:cNvPr id="156" name="Freeform 224">
                <a:extLst>
                  <a:ext uri="{FF2B5EF4-FFF2-40B4-BE49-F238E27FC236}">
                    <a16:creationId xmlns:a16="http://schemas.microsoft.com/office/drawing/2014/main" id="{3E1BE238-C5D6-E5EB-5842-0B7D06196E0F}"/>
                  </a:ext>
                </a:extLst>
              </p:cNvPr>
              <p:cNvSpPr>
                <a:spLocks/>
              </p:cNvSpPr>
              <p:nvPr/>
            </p:nvSpPr>
            <p:spPr bwMode="gray">
              <a:xfrm>
                <a:off x="2343669" y="2317951"/>
                <a:ext cx="220225" cy="178947"/>
              </a:xfrm>
              <a:custGeom>
                <a:avLst/>
                <a:gdLst>
                  <a:gd name="T0" fmla="*/ 0 w 156"/>
                  <a:gd name="T1" fmla="*/ 81 h 122"/>
                  <a:gd name="T2" fmla="*/ 33 w 156"/>
                  <a:gd name="T3" fmla="*/ 88 h 122"/>
                  <a:gd name="T4" fmla="*/ 41 w 156"/>
                  <a:gd name="T5" fmla="*/ 81 h 122"/>
                  <a:gd name="T6" fmla="*/ 58 w 156"/>
                  <a:gd name="T7" fmla="*/ 96 h 122"/>
                  <a:gd name="T8" fmla="*/ 41 w 156"/>
                  <a:gd name="T9" fmla="*/ 105 h 122"/>
                  <a:gd name="T10" fmla="*/ 49 w 156"/>
                  <a:gd name="T11" fmla="*/ 113 h 122"/>
                  <a:gd name="T12" fmla="*/ 65 w 156"/>
                  <a:gd name="T13" fmla="*/ 121 h 122"/>
                  <a:gd name="T14" fmla="*/ 105 w 156"/>
                  <a:gd name="T15" fmla="*/ 88 h 122"/>
                  <a:gd name="T16" fmla="*/ 146 w 156"/>
                  <a:gd name="T17" fmla="*/ 88 h 122"/>
                  <a:gd name="T18" fmla="*/ 155 w 156"/>
                  <a:gd name="T19" fmla="*/ 47 h 122"/>
                  <a:gd name="T20" fmla="*/ 115 w 156"/>
                  <a:gd name="T21" fmla="*/ 24 h 122"/>
                  <a:gd name="T22" fmla="*/ 105 w 156"/>
                  <a:gd name="T23" fmla="*/ 0 h 122"/>
                  <a:gd name="T24" fmla="*/ 90 w 156"/>
                  <a:gd name="T25" fmla="*/ 24 h 122"/>
                  <a:gd name="T26" fmla="*/ 98 w 156"/>
                  <a:gd name="T27" fmla="*/ 31 h 122"/>
                  <a:gd name="T28" fmla="*/ 98 w 156"/>
                  <a:gd name="T29" fmla="*/ 47 h 122"/>
                  <a:gd name="T30" fmla="*/ 105 w 156"/>
                  <a:gd name="T31" fmla="*/ 65 h 122"/>
                  <a:gd name="T32" fmla="*/ 81 w 156"/>
                  <a:gd name="T33" fmla="*/ 65 h 122"/>
                  <a:gd name="T34" fmla="*/ 65 w 156"/>
                  <a:gd name="T35" fmla="*/ 31 h 122"/>
                  <a:gd name="T36" fmla="*/ 25 w 156"/>
                  <a:gd name="T37" fmla="*/ 16 h 122"/>
                  <a:gd name="T38" fmla="*/ 0 w 156"/>
                  <a:gd name="T39" fmla="*/ 8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57" name="Freeform 225">
                <a:extLst>
                  <a:ext uri="{FF2B5EF4-FFF2-40B4-BE49-F238E27FC236}">
                    <a16:creationId xmlns:a16="http://schemas.microsoft.com/office/drawing/2014/main" id="{396331A5-914B-84B0-0C6C-8B4B5C58D0CD}"/>
                  </a:ext>
                </a:extLst>
              </p:cNvPr>
              <p:cNvSpPr>
                <a:spLocks/>
              </p:cNvSpPr>
              <p:nvPr/>
            </p:nvSpPr>
            <p:spPr bwMode="gray">
              <a:xfrm>
                <a:off x="2608645" y="2505478"/>
                <a:ext cx="127189" cy="180173"/>
              </a:xfrm>
              <a:custGeom>
                <a:avLst/>
                <a:gdLst>
                  <a:gd name="T0" fmla="*/ 0 w 90"/>
                  <a:gd name="T1" fmla="*/ 58 h 123"/>
                  <a:gd name="T2" fmla="*/ 16 w 90"/>
                  <a:gd name="T3" fmla="*/ 90 h 123"/>
                  <a:gd name="T4" fmla="*/ 23 w 90"/>
                  <a:gd name="T5" fmla="*/ 90 h 123"/>
                  <a:gd name="T6" fmla="*/ 47 w 90"/>
                  <a:gd name="T7" fmla="*/ 122 h 123"/>
                  <a:gd name="T8" fmla="*/ 64 w 90"/>
                  <a:gd name="T9" fmla="*/ 114 h 123"/>
                  <a:gd name="T10" fmla="*/ 81 w 90"/>
                  <a:gd name="T11" fmla="*/ 105 h 123"/>
                  <a:gd name="T12" fmla="*/ 89 w 90"/>
                  <a:gd name="T13" fmla="*/ 81 h 123"/>
                  <a:gd name="T14" fmla="*/ 81 w 90"/>
                  <a:gd name="T15" fmla="*/ 58 h 123"/>
                  <a:gd name="T16" fmla="*/ 64 w 90"/>
                  <a:gd name="T17" fmla="*/ 50 h 123"/>
                  <a:gd name="T18" fmla="*/ 72 w 90"/>
                  <a:gd name="T19" fmla="*/ 25 h 123"/>
                  <a:gd name="T20" fmla="*/ 64 w 90"/>
                  <a:gd name="T21" fmla="*/ 0 h 123"/>
                  <a:gd name="T22" fmla="*/ 56 w 90"/>
                  <a:gd name="T23" fmla="*/ 16 h 123"/>
                  <a:gd name="T24" fmla="*/ 32 w 90"/>
                  <a:gd name="T25" fmla="*/ 9 h 123"/>
                  <a:gd name="T26" fmla="*/ 23 w 90"/>
                  <a:gd name="T27" fmla="*/ 16 h 123"/>
                  <a:gd name="T28" fmla="*/ 16 w 90"/>
                  <a:gd name="T29" fmla="*/ 33 h 123"/>
                  <a:gd name="T30" fmla="*/ 32 w 90"/>
                  <a:gd name="T31" fmla="*/ 50 h 123"/>
                  <a:gd name="T32" fmla="*/ 16 w 90"/>
                  <a:gd name="T33" fmla="*/ 50 h 123"/>
                  <a:gd name="T34" fmla="*/ 0 w 90"/>
                  <a:gd name="T35" fmla="*/ 5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6350" cap="rnd" cmpd="sng">
                <a:solidFill>
                  <a:srgbClr val="D0D0D0"/>
                </a:solidFill>
                <a:prstDash val="solid"/>
                <a:round/>
                <a:headEnd/>
                <a:tailEnd/>
              </a:ln>
              <a:effectLst/>
            </p:spPr>
            <p:txBody>
              <a:bodyPr/>
              <a:lstStyle/>
              <a:p>
                <a:endParaRPr lang="de-DE" dirty="0"/>
              </a:p>
            </p:txBody>
          </p:sp>
          <p:sp>
            <p:nvSpPr>
              <p:cNvPr id="158" name="Freeform 226">
                <a:extLst>
                  <a:ext uri="{FF2B5EF4-FFF2-40B4-BE49-F238E27FC236}">
                    <a16:creationId xmlns:a16="http://schemas.microsoft.com/office/drawing/2014/main" id="{5EC18F16-B967-515C-8A2A-E3976723BF95}"/>
                  </a:ext>
                </a:extLst>
              </p:cNvPr>
              <p:cNvSpPr>
                <a:spLocks/>
              </p:cNvSpPr>
              <p:nvPr/>
            </p:nvSpPr>
            <p:spPr bwMode="gray">
              <a:xfrm>
                <a:off x="2207058" y="2483416"/>
                <a:ext cx="184895" cy="214490"/>
              </a:xfrm>
              <a:custGeom>
                <a:avLst/>
                <a:gdLst>
                  <a:gd name="T0" fmla="*/ 0 w 131"/>
                  <a:gd name="T1" fmla="*/ 105 h 146"/>
                  <a:gd name="T2" fmla="*/ 16 w 131"/>
                  <a:gd name="T3" fmla="*/ 129 h 146"/>
                  <a:gd name="T4" fmla="*/ 25 w 131"/>
                  <a:gd name="T5" fmla="*/ 145 h 146"/>
                  <a:gd name="T6" fmla="*/ 56 w 131"/>
                  <a:gd name="T7" fmla="*/ 137 h 146"/>
                  <a:gd name="T8" fmla="*/ 74 w 131"/>
                  <a:gd name="T9" fmla="*/ 114 h 146"/>
                  <a:gd name="T10" fmla="*/ 74 w 131"/>
                  <a:gd name="T11" fmla="*/ 89 h 146"/>
                  <a:gd name="T12" fmla="*/ 130 w 131"/>
                  <a:gd name="T13" fmla="*/ 48 h 146"/>
                  <a:gd name="T14" fmla="*/ 115 w 131"/>
                  <a:gd name="T15" fmla="*/ 31 h 146"/>
                  <a:gd name="T16" fmla="*/ 97 w 131"/>
                  <a:gd name="T17" fmla="*/ 15 h 146"/>
                  <a:gd name="T18" fmla="*/ 74 w 131"/>
                  <a:gd name="T19" fmla="*/ 15 h 146"/>
                  <a:gd name="T20" fmla="*/ 50 w 131"/>
                  <a:gd name="T21" fmla="*/ 0 h 146"/>
                  <a:gd name="T22" fmla="*/ 9 w 131"/>
                  <a:gd name="T23" fmla="*/ 24 h 146"/>
                  <a:gd name="T24" fmla="*/ 16 w 131"/>
                  <a:gd name="T25" fmla="*/ 48 h 146"/>
                  <a:gd name="T26" fmla="*/ 16 w 131"/>
                  <a:gd name="T27" fmla="*/ 73 h 146"/>
                  <a:gd name="T28" fmla="*/ 0 w 131"/>
                  <a:gd name="T29" fmla="*/ 10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59" name="Freeform 228">
                <a:extLst>
                  <a:ext uri="{FF2B5EF4-FFF2-40B4-BE49-F238E27FC236}">
                    <a16:creationId xmlns:a16="http://schemas.microsoft.com/office/drawing/2014/main" id="{AE57DA00-3F1C-FB14-85A4-B14B9E7913DE}"/>
                  </a:ext>
                </a:extLst>
              </p:cNvPr>
              <p:cNvSpPr>
                <a:spLocks/>
              </p:cNvSpPr>
              <p:nvPr/>
            </p:nvSpPr>
            <p:spPr bwMode="gray">
              <a:xfrm>
                <a:off x="1441569" y="3194299"/>
                <a:ext cx="36508" cy="26964"/>
              </a:xfrm>
              <a:custGeom>
                <a:avLst/>
                <a:gdLst>
                  <a:gd name="T0" fmla="*/ 0 w 26"/>
                  <a:gd name="T1" fmla="*/ 8 h 18"/>
                  <a:gd name="T2" fmla="*/ 18 w 26"/>
                  <a:gd name="T3" fmla="*/ 17 h 18"/>
                  <a:gd name="T4" fmla="*/ 25 w 26"/>
                  <a:gd name="T5" fmla="*/ 8 h 18"/>
                  <a:gd name="T6" fmla="*/ 18 w 26"/>
                  <a:gd name="T7" fmla="*/ 0 h 18"/>
                  <a:gd name="T8" fmla="*/ 0 w 26"/>
                  <a:gd name="T9" fmla="*/ 8 h 18"/>
                </a:gdLst>
                <a:ahLst/>
                <a:cxnLst>
                  <a:cxn ang="0">
                    <a:pos x="T0" y="T1"/>
                  </a:cxn>
                  <a:cxn ang="0">
                    <a:pos x="T2" y="T3"/>
                  </a:cxn>
                  <a:cxn ang="0">
                    <a:pos x="T4" y="T5"/>
                  </a:cxn>
                  <a:cxn ang="0">
                    <a:pos x="T6" y="T7"/>
                  </a:cxn>
                  <a:cxn ang="0">
                    <a:pos x="T8" y="T9"/>
                  </a:cxn>
                </a:cxnLst>
                <a:rect l="0" t="0" r="r" b="b"/>
                <a:pathLst>
                  <a:path w="26" h="18">
                    <a:moveTo>
                      <a:pt x="0" y="8"/>
                    </a:moveTo>
                    <a:lnTo>
                      <a:pt x="18" y="17"/>
                    </a:lnTo>
                    <a:lnTo>
                      <a:pt x="25" y="8"/>
                    </a:lnTo>
                    <a:lnTo>
                      <a:pt x="18"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160" name="Freeform 229">
                <a:extLst>
                  <a:ext uri="{FF2B5EF4-FFF2-40B4-BE49-F238E27FC236}">
                    <a16:creationId xmlns:a16="http://schemas.microsoft.com/office/drawing/2014/main" id="{D70C89FD-514A-84D5-04C5-8A2643F573AF}"/>
                  </a:ext>
                </a:extLst>
              </p:cNvPr>
              <p:cNvSpPr>
                <a:spLocks/>
              </p:cNvSpPr>
              <p:nvPr/>
            </p:nvSpPr>
            <p:spPr bwMode="gray">
              <a:xfrm>
                <a:off x="1441569" y="3194299"/>
                <a:ext cx="36508" cy="26964"/>
              </a:xfrm>
              <a:custGeom>
                <a:avLst/>
                <a:gdLst>
                  <a:gd name="T0" fmla="*/ 0 w 26"/>
                  <a:gd name="T1" fmla="*/ 8 h 18"/>
                  <a:gd name="T2" fmla="*/ 18 w 26"/>
                  <a:gd name="T3" fmla="*/ 17 h 18"/>
                  <a:gd name="T4" fmla="*/ 25 w 26"/>
                  <a:gd name="T5" fmla="*/ 8 h 18"/>
                  <a:gd name="T6" fmla="*/ 18 w 26"/>
                  <a:gd name="T7" fmla="*/ 0 h 18"/>
                  <a:gd name="T8" fmla="*/ 0 w 26"/>
                  <a:gd name="T9" fmla="*/ 8 h 18"/>
                </a:gdLst>
                <a:ahLst/>
                <a:cxnLst>
                  <a:cxn ang="0">
                    <a:pos x="T0" y="T1"/>
                  </a:cxn>
                  <a:cxn ang="0">
                    <a:pos x="T2" y="T3"/>
                  </a:cxn>
                  <a:cxn ang="0">
                    <a:pos x="T4" y="T5"/>
                  </a:cxn>
                  <a:cxn ang="0">
                    <a:pos x="T6" y="T7"/>
                  </a:cxn>
                  <a:cxn ang="0">
                    <a:pos x="T8" y="T9"/>
                  </a:cxn>
                </a:cxnLst>
                <a:rect l="0" t="0" r="r" b="b"/>
                <a:pathLst>
                  <a:path w="26" h="18">
                    <a:moveTo>
                      <a:pt x="0" y="8"/>
                    </a:moveTo>
                    <a:lnTo>
                      <a:pt x="18" y="17"/>
                    </a:lnTo>
                    <a:lnTo>
                      <a:pt x="25" y="8"/>
                    </a:lnTo>
                    <a:lnTo>
                      <a:pt x="18" y="0"/>
                    </a:lnTo>
                    <a:lnTo>
                      <a:pt x="0"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61" name="Freeform 230">
                <a:extLst>
                  <a:ext uri="{FF2B5EF4-FFF2-40B4-BE49-F238E27FC236}">
                    <a16:creationId xmlns:a16="http://schemas.microsoft.com/office/drawing/2014/main" id="{D70816D3-45FC-E915-5B81-AFEC3D1E6C96}"/>
                  </a:ext>
                </a:extLst>
              </p:cNvPr>
              <p:cNvSpPr>
                <a:spLocks/>
              </p:cNvSpPr>
              <p:nvPr/>
            </p:nvSpPr>
            <p:spPr bwMode="gray">
              <a:xfrm>
                <a:off x="1670038" y="3265389"/>
                <a:ext cx="57707" cy="62509"/>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6350" cap="rnd" cmpd="sng">
                <a:solidFill>
                  <a:srgbClr val="D0D0D0"/>
                </a:solidFill>
                <a:prstDash val="solid"/>
                <a:round/>
                <a:headEnd/>
                <a:tailEnd/>
              </a:ln>
              <a:effectLst/>
            </p:spPr>
            <p:txBody>
              <a:bodyPr/>
              <a:lstStyle/>
              <a:p>
                <a:endParaRPr lang="de-DE" dirty="0"/>
              </a:p>
            </p:txBody>
          </p:sp>
          <p:sp>
            <p:nvSpPr>
              <p:cNvPr id="162" name="Freeform 231">
                <a:extLst>
                  <a:ext uri="{FF2B5EF4-FFF2-40B4-BE49-F238E27FC236}">
                    <a16:creationId xmlns:a16="http://schemas.microsoft.com/office/drawing/2014/main" id="{754D52FE-9381-3A3D-4CC6-0F31C5133F40}"/>
                  </a:ext>
                </a:extLst>
              </p:cNvPr>
              <p:cNvSpPr>
                <a:spLocks/>
              </p:cNvSpPr>
              <p:nvPr/>
            </p:nvSpPr>
            <p:spPr bwMode="gray">
              <a:xfrm>
                <a:off x="1670038" y="3265389"/>
                <a:ext cx="57707" cy="62509"/>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63" name="Freeform 232">
                <a:extLst>
                  <a:ext uri="{FF2B5EF4-FFF2-40B4-BE49-F238E27FC236}">
                    <a16:creationId xmlns:a16="http://schemas.microsoft.com/office/drawing/2014/main" id="{7E3C7262-D4EE-1DBE-964F-221E115AFDF1}"/>
                  </a:ext>
                </a:extLst>
              </p:cNvPr>
              <p:cNvSpPr>
                <a:spLocks/>
              </p:cNvSpPr>
              <p:nvPr/>
            </p:nvSpPr>
            <p:spPr bwMode="gray">
              <a:xfrm>
                <a:off x="2070447" y="3407564"/>
                <a:ext cx="36508" cy="73540"/>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164" name="Freeform 233">
                <a:extLst>
                  <a:ext uri="{FF2B5EF4-FFF2-40B4-BE49-F238E27FC236}">
                    <a16:creationId xmlns:a16="http://schemas.microsoft.com/office/drawing/2014/main" id="{6EE09491-7F94-12B6-361A-662718F27ABC}"/>
                  </a:ext>
                </a:extLst>
              </p:cNvPr>
              <p:cNvSpPr>
                <a:spLocks/>
              </p:cNvSpPr>
              <p:nvPr/>
            </p:nvSpPr>
            <p:spPr bwMode="gray">
              <a:xfrm>
                <a:off x="2070447" y="3407564"/>
                <a:ext cx="36508" cy="73540"/>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65" name="Freeform 234">
                <a:extLst>
                  <a:ext uri="{FF2B5EF4-FFF2-40B4-BE49-F238E27FC236}">
                    <a16:creationId xmlns:a16="http://schemas.microsoft.com/office/drawing/2014/main" id="{28841B09-FC0B-7B92-32CD-C128DCF7180D}"/>
                  </a:ext>
                </a:extLst>
              </p:cNvPr>
              <p:cNvSpPr>
                <a:spLocks/>
              </p:cNvSpPr>
              <p:nvPr/>
            </p:nvSpPr>
            <p:spPr bwMode="gray">
              <a:xfrm>
                <a:off x="2149352" y="3515423"/>
                <a:ext cx="94214" cy="72314"/>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166" name="Freeform 235">
                <a:extLst>
                  <a:ext uri="{FF2B5EF4-FFF2-40B4-BE49-F238E27FC236}">
                    <a16:creationId xmlns:a16="http://schemas.microsoft.com/office/drawing/2014/main" id="{35105C94-9488-FCE5-2EB7-F7CC9ED04AA6}"/>
                  </a:ext>
                </a:extLst>
              </p:cNvPr>
              <p:cNvSpPr>
                <a:spLocks/>
              </p:cNvSpPr>
              <p:nvPr/>
            </p:nvSpPr>
            <p:spPr bwMode="gray">
              <a:xfrm>
                <a:off x="2149352" y="3515423"/>
                <a:ext cx="94214" cy="72314"/>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167" name="Freeform 309">
                <a:extLst>
                  <a:ext uri="{FF2B5EF4-FFF2-40B4-BE49-F238E27FC236}">
                    <a16:creationId xmlns:a16="http://schemas.microsoft.com/office/drawing/2014/main" id="{9BCBB302-5761-AD32-C08C-6241FF08ACF9}"/>
                  </a:ext>
                </a:extLst>
              </p:cNvPr>
              <p:cNvSpPr>
                <a:spLocks/>
              </p:cNvSpPr>
              <p:nvPr/>
            </p:nvSpPr>
            <p:spPr bwMode="gray">
              <a:xfrm>
                <a:off x="1580534" y="4190762"/>
                <a:ext cx="24732" cy="24513"/>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168" name="Line 310">
                <a:extLst>
                  <a:ext uri="{FF2B5EF4-FFF2-40B4-BE49-F238E27FC236}">
                    <a16:creationId xmlns:a16="http://schemas.microsoft.com/office/drawing/2014/main" id="{BBED4E0D-1FDD-937D-E9F5-8E2C92307579}"/>
                  </a:ext>
                </a:extLst>
              </p:cNvPr>
              <p:cNvSpPr>
                <a:spLocks noChangeShapeType="1"/>
              </p:cNvSpPr>
              <p:nvPr/>
            </p:nvSpPr>
            <p:spPr bwMode="gray">
              <a:xfrm>
                <a:off x="1613510" y="4204245"/>
                <a:ext cx="12955" cy="9805"/>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169" name="Line 311">
                <a:extLst>
                  <a:ext uri="{FF2B5EF4-FFF2-40B4-BE49-F238E27FC236}">
                    <a16:creationId xmlns:a16="http://schemas.microsoft.com/office/drawing/2014/main" id="{A0980011-8703-D797-A34D-E6852E9DF15C}"/>
                  </a:ext>
                </a:extLst>
              </p:cNvPr>
              <p:cNvSpPr>
                <a:spLocks noChangeShapeType="1"/>
              </p:cNvSpPr>
              <p:nvPr/>
            </p:nvSpPr>
            <p:spPr bwMode="gray">
              <a:xfrm>
                <a:off x="1637063" y="4214050"/>
                <a:ext cx="11777" cy="13483"/>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170" name="Freeform 312">
                <a:extLst>
                  <a:ext uri="{FF2B5EF4-FFF2-40B4-BE49-F238E27FC236}">
                    <a16:creationId xmlns:a16="http://schemas.microsoft.com/office/drawing/2014/main" id="{02208713-72AE-CC5D-01CA-F647F2FC3FD3}"/>
                  </a:ext>
                </a:extLst>
              </p:cNvPr>
              <p:cNvSpPr>
                <a:spLocks/>
              </p:cNvSpPr>
              <p:nvPr/>
            </p:nvSpPr>
            <p:spPr bwMode="gray">
              <a:xfrm>
                <a:off x="1648840" y="4227533"/>
                <a:ext cx="23553" cy="37996"/>
              </a:xfrm>
              <a:custGeom>
                <a:avLst/>
                <a:gdLst>
                  <a:gd name="T0" fmla="*/ 8 w 17"/>
                  <a:gd name="T1" fmla="*/ 0 h 26"/>
                  <a:gd name="T2" fmla="*/ 0 w 17"/>
                  <a:gd name="T3" fmla="*/ 9 h 26"/>
                  <a:gd name="T4" fmla="*/ 8 w 17"/>
                  <a:gd name="T5" fmla="*/ 25 h 26"/>
                  <a:gd name="T6" fmla="*/ 16 w 17"/>
                  <a:gd name="T7" fmla="*/ 15 h 26"/>
                  <a:gd name="T8" fmla="*/ 8 w 17"/>
                  <a:gd name="T9" fmla="*/ 0 h 26"/>
                </a:gdLst>
                <a:ahLst/>
                <a:cxnLst>
                  <a:cxn ang="0">
                    <a:pos x="T0" y="T1"/>
                  </a:cxn>
                  <a:cxn ang="0">
                    <a:pos x="T2" y="T3"/>
                  </a:cxn>
                  <a:cxn ang="0">
                    <a:pos x="T4" y="T5"/>
                  </a:cxn>
                  <a:cxn ang="0">
                    <a:pos x="T6" y="T7"/>
                  </a:cxn>
                  <a:cxn ang="0">
                    <a:pos x="T8" y="T9"/>
                  </a:cxn>
                </a:cxnLst>
                <a:rect l="0" t="0" r="r" b="b"/>
                <a:pathLst>
                  <a:path w="17" h="26">
                    <a:moveTo>
                      <a:pt x="8" y="0"/>
                    </a:moveTo>
                    <a:lnTo>
                      <a:pt x="0" y="9"/>
                    </a:lnTo>
                    <a:lnTo>
                      <a:pt x="8" y="25"/>
                    </a:lnTo>
                    <a:lnTo>
                      <a:pt x="16" y="15"/>
                    </a:lnTo>
                    <a:lnTo>
                      <a:pt x="8" y="0"/>
                    </a:lnTo>
                  </a:path>
                </a:pathLst>
              </a:custGeom>
              <a:grpFill/>
              <a:ln w="6350" cap="rnd" cmpd="sng">
                <a:solidFill>
                  <a:srgbClr val="D0D0D0"/>
                </a:solidFill>
                <a:prstDash val="solid"/>
                <a:round/>
                <a:headEnd/>
                <a:tailEnd/>
              </a:ln>
              <a:effectLst/>
            </p:spPr>
            <p:txBody>
              <a:bodyPr/>
              <a:lstStyle/>
              <a:p>
                <a:endParaRPr lang="de-DE" dirty="0"/>
              </a:p>
            </p:txBody>
          </p:sp>
        </p:grpSp>
      </p:grpSp>
      <p:sp>
        <p:nvSpPr>
          <p:cNvPr id="407" name="Freeform 3">
            <a:extLst>
              <a:ext uri="{FF2B5EF4-FFF2-40B4-BE49-F238E27FC236}">
                <a16:creationId xmlns:a16="http://schemas.microsoft.com/office/drawing/2014/main" id="{C63218A1-BB77-ADDD-17DB-82CCD42E0C52}"/>
              </a:ext>
            </a:extLst>
          </p:cNvPr>
          <p:cNvSpPr>
            <a:spLocks noChangeAspect="1"/>
          </p:cNvSpPr>
          <p:nvPr/>
        </p:nvSpPr>
        <p:spPr bwMode="gray">
          <a:xfrm>
            <a:off x="3548321" y="1847114"/>
            <a:ext cx="711570" cy="834141"/>
          </a:xfrm>
          <a:custGeom>
            <a:avLst/>
            <a:gdLst>
              <a:gd name="T0" fmla="*/ 826 w 3011"/>
              <a:gd name="T1" fmla="*/ 139 h 3675"/>
              <a:gd name="T2" fmla="*/ 826 w 3011"/>
              <a:gd name="T3" fmla="*/ 397 h 3675"/>
              <a:gd name="T4" fmla="*/ 975 w 3011"/>
              <a:gd name="T5" fmla="*/ 455 h 3675"/>
              <a:gd name="T6" fmla="*/ 920 w 3011"/>
              <a:gd name="T7" fmla="*/ 574 h 3675"/>
              <a:gd name="T8" fmla="*/ 985 w 3011"/>
              <a:gd name="T9" fmla="*/ 605 h 3675"/>
              <a:gd name="T10" fmla="*/ 797 w 3011"/>
              <a:gd name="T11" fmla="*/ 685 h 3675"/>
              <a:gd name="T12" fmla="*/ 797 w 3011"/>
              <a:gd name="T13" fmla="*/ 774 h 3675"/>
              <a:gd name="T14" fmla="*/ 702 w 3011"/>
              <a:gd name="T15" fmla="*/ 624 h 3675"/>
              <a:gd name="T16" fmla="*/ 477 w 3011"/>
              <a:gd name="T17" fmla="*/ 813 h 3675"/>
              <a:gd name="T18" fmla="*/ 516 w 3011"/>
              <a:gd name="T19" fmla="*/ 994 h 3675"/>
              <a:gd name="T20" fmla="*/ 356 w 3011"/>
              <a:gd name="T21" fmla="*/ 1182 h 3675"/>
              <a:gd name="T22" fmla="*/ 430 w 3011"/>
              <a:gd name="T23" fmla="*/ 1321 h 3675"/>
              <a:gd name="T24" fmla="*/ 309 w 3011"/>
              <a:gd name="T25" fmla="*/ 1479 h 3675"/>
              <a:gd name="T26" fmla="*/ 205 w 3011"/>
              <a:gd name="T27" fmla="*/ 1609 h 3675"/>
              <a:gd name="T28" fmla="*/ 131 w 3011"/>
              <a:gd name="T29" fmla="*/ 1828 h 3675"/>
              <a:gd name="T30" fmla="*/ 0 w 3011"/>
              <a:gd name="T31" fmla="*/ 1908 h 3675"/>
              <a:gd name="T32" fmla="*/ 205 w 3011"/>
              <a:gd name="T33" fmla="*/ 2096 h 3675"/>
              <a:gd name="T34" fmla="*/ 205 w 3011"/>
              <a:gd name="T35" fmla="*/ 2393 h 3675"/>
              <a:gd name="T36" fmla="*/ 328 w 3011"/>
              <a:gd name="T37" fmla="*/ 2601 h 3675"/>
              <a:gd name="T38" fmla="*/ 450 w 3011"/>
              <a:gd name="T39" fmla="*/ 2711 h 3675"/>
              <a:gd name="T40" fmla="*/ 702 w 3011"/>
              <a:gd name="T41" fmla="*/ 2782 h 3675"/>
              <a:gd name="T42" fmla="*/ 693 w 3011"/>
              <a:gd name="T43" fmla="*/ 2891 h 3675"/>
              <a:gd name="T44" fmla="*/ 581 w 3011"/>
              <a:gd name="T45" fmla="*/ 3209 h 3675"/>
              <a:gd name="T46" fmla="*/ 487 w 3011"/>
              <a:gd name="T47" fmla="*/ 3486 h 3675"/>
              <a:gd name="T48" fmla="*/ 750 w 3011"/>
              <a:gd name="T49" fmla="*/ 3478 h 3675"/>
              <a:gd name="T50" fmla="*/ 807 w 3011"/>
              <a:gd name="T51" fmla="*/ 3428 h 3675"/>
              <a:gd name="T52" fmla="*/ 1079 w 3011"/>
              <a:gd name="T53" fmla="*/ 3486 h 3675"/>
              <a:gd name="T54" fmla="*/ 1341 w 3011"/>
              <a:gd name="T55" fmla="*/ 3566 h 3675"/>
              <a:gd name="T56" fmla="*/ 1445 w 3011"/>
              <a:gd name="T57" fmla="*/ 3517 h 3675"/>
              <a:gd name="T58" fmla="*/ 1631 w 3011"/>
              <a:gd name="T59" fmla="*/ 3606 h 3675"/>
              <a:gd name="T60" fmla="*/ 1997 w 3011"/>
              <a:gd name="T61" fmla="*/ 3428 h 3675"/>
              <a:gd name="T62" fmla="*/ 2250 w 3011"/>
              <a:gd name="T63" fmla="*/ 3577 h 3675"/>
              <a:gd name="T64" fmla="*/ 2214 w 3011"/>
              <a:gd name="T65" fmla="*/ 3389 h 3675"/>
              <a:gd name="T66" fmla="*/ 2240 w 3011"/>
              <a:gd name="T67" fmla="*/ 3120 h 3675"/>
              <a:gd name="T68" fmla="*/ 2354 w 3011"/>
              <a:gd name="T69" fmla="*/ 3010 h 3675"/>
              <a:gd name="T70" fmla="*/ 2393 w 3011"/>
              <a:gd name="T71" fmla="*/ 2813 h 3675"/>
              <a:gd name="T72" fmla="*/ 2081 w 3011"/>
              <a:gd name="T73" fmla="*/ 2542 h 3675"/>
              <a:gd name="T74" fmla="*/ 1923 w 3011"/>
              <a:gd name="T75" fmla="*/ 2244 h 3675"/>
              <a:gd name="T76" fmla="*/ 2063 w 3011"/>
              <a:gd name="T77" fmla="*/ 2155 h 3675"/>
              <a:gd name="T78" fmla="*/ 2261 w 3011"/>
              <a:gd name="T79" fmla="*/ 2055 h 3675"/>
              <a:gd name="T80" fmla="*/ 2581 w 3011"/>
              <a:gd name="T81" fmla="*/ 1956 h 3675"/>
              <a:gd name="T82" fmla="*/ 2898 w 3011"/>
              <a:gd name="T83" fmla="*/ 1997 h 3675"/>
              <a:gd name="T84" fmla="*/ 2918 w 3011"/>
              <a:gd name="T85" fmla="*/ 1798 h 3675"/>
              <a:gd name="T86" fmla="*/ 2974 w 3011"/>
              <a:gd name="T87" fmla="*/ 1501 h 3675"/>
              <a:gd name="T88" fmla="*/ 2945 w 3011"/>
              <a:gd name="T89" fmla="*/ 1262 h 3675"/>
              <a:gd name="T90" fmla="*/ 2767 w 3011"/>
              <a:gd name="T91" fmla="*/ 1053 h 3675"/>
              <a:gd name="T92" fmla="*/ 2571 w 3011"/>
              <a:gd name="T93" fmla="*/ 793 h 3675"/>
              <a:gd name="T94" fmla="*/ 2673 w 3011"/>
              <a:gd name="T95" fmla="*/ 477 h 3675"/>
              <a:gd name="T96" fmla="*/ 2412 w 3011"/>
              <a:gd name="T97" fmla="*/ 267 h 3675"/>
              <a:gd name="T98" fmla="*/ 2203 w 3011"/>
              <a:gd name="T99" fmla="*/ 148 h 3675"/>
              <a:gd name="T100" fmla="*/ 2128 w 3011"/>
              <a:gd name="T101" fmla="*/ 9 h 3675"/>
              <a:gd name="T102" fmla="*/ 2026 w 3011"/>
              <a:gd name="T103" fmla="*/ 286 h 3675"/>
              <a:gd name="T104" fmla="*/ 1838 w 3011"/>
              <a:gd name="T105" fmla="*/ 247 h 3675"/>
              <a:gd name="T106" fmla="*/ 1613 w 3011"/>
              <a:gd name="T107" fmla="*/ 327 h 3675"/>
              <a:gd name="T108" fmla="*/ 1323 w 3011"/>
              <a:gd name="T109" fmla="*/ 386 h 3675"/>
              <a:gd name="T110" fmla="*/ 1220 w 3011"/>
              <a:gd name="T111" fmla="*/ 267 h 3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11" h="3675">
                <a:moveTo>
                  <a:pt x="1051" y="139"/>
                </a:moveTo>
                <a:lnTo>
                  <a:pt x="854" y="98"/>
                </a:lnTo>
                <a:lnTo>
                  <a:pt x="826" y="139"/>
                </a:lnTo>
                <a:lnTo>
                  <a:pt x="920" y="308"/>
                </a:lnTo>
                <a:lnTo>
                  <a:pt x="836" y="317"/>
                </a:lnTo>
                <a:lnTo>
                  <a:pt x="826" y="397"/>
                </a:lnTo>
                <a:lnTo>
                  <a:pt x="928" y="386"/>
                </a:lnTo>
                <a:lnTo>
                  <a:pt x="920" y="436"/>
                </a:lnTo>
                <a:lnTo>
                  <a:pt x="975" y="455"/>
                </a:lnTo>
                <a:lnTo>
                  <a:pt x="957" y="496"/>
                </a:lnTo>
                <a:lnTo>
                  <a:pt x="891" y="496"/>
                </a:lnTo>
                <a:lnTo>
                  <a:pt x="920" y="574"/>
                </a:lnTo>
                <a:lnTo>
                  <a:pt x="1051" y="585"/>
                </a:lnTo>
                <a:lnTo>
                  <a:pt x="1061" y="665"/>
                </a:lnTo>
                <a:lnTo>
                  <a:pt x="985" y="605"/>
                </a:lnTo>
                <a:lnTo>
                  <a:pt x="883" y="605"/>
                </a:lnTo>
                <a:lnTo>
                  <a:pt x="854" y="596"/>
                </a:lnTo>
                <a:lnTo>
                  <a:pt x="797" y="685"/>
                </a:lnTo>
                <a:lnTo>
                  <a:pt x="761" y="694"/>
                </a:lnTo>
                <a:lnTo>
                  <a:pt x="750" y="715"/>
                </a:lnTo>
                <a:lnTo>
                  <a:pt x="797" y="774"/>
                </a:lnTo>
                <a:lnTo>
                  <a:pt x="750" y="793"/>
                </a:lnTo>
                <a:lnTo>
                  <a:pt x="740" y="754"/>
                </a:lnTo>
                <a:lnTo>
                  <a:pt x="702" y="624"/>
                </a:lnTo>
                <a:lnTo>
                  <a:pt x="477" y="674"/>
                </a:lnTo>
                <a:lnTo>
                  <a:pt x="440" y="754"/>
                </a:lnTo>
                <a:lnTo>
                  <a:pt x="477" y="813"/>
                </a:lnTo>
                <a:lnTo>
                  <a:pt x="552" y="774"/>
                </a:lnTo>
                <a:lnTo>
                  <a:pt x="477" y="862"/>
                </a:lnTo>
                <a:lnTo>
                  <a:pt x="516" y="994"/>
                </a:lnTo>
                <a:lnTo>
                  <a:pt x="440" y="1083"/>
                </a:lnTo>
                <a:lnTo>
                  <a:pt x="318" y="1143"/>
                </a:lnTo>
                <a:lnTo>
                  <a:pt x="356" y="1182"/>
                </a:lnTo>
                <a:lnTo>
                  <a:pt x="430" y="1193"/>
                </a:lnTo>
                <a:lnTo>
                  <a:pt x="440" y="1232"/>
                </a:lnTo>
                <a:lnTo>
                  <a:pt x="430" y="1321"/>
                </a:lnTo>
                <a:lnTo>
                  <a:pt x="356" y="1351"/>
                </a:lnTo>
                <a:lnTo>
                  <a:pt x="375" y="1440"/>
                </a:lnTo>
                <a:lnTo>
                  <a:pt x="309" y="1479"/>
                </a:lnTo>
                <a:lnTo>
                  <a:pt x="215" y="1451"/>
                </a:lnTo>
                <a:lnTo>
                  <a:pt x="131" y="1470"/>
                </a:lnTo>
                <a:lnTo>
                  <a:pt x="205" y="1609"/>
                </a:lnTo>
                <a:lnTo>
                  <a:pt x="150" y="1678"/>
                </a:lnTo>
                <a:lnTo>
                  <a:pt x="197" y="1739"/>
                </a:lnTo>
                <a:lnTo>
                  <a:pt x="131" y="1828"/>
                </a:lnTo>
                <a:lnTo>
                  <a:pt x="84" y="1778"/>
                </a:lnTo>
                <a:lnTo>
                  <a:pt x="66" y="1858"/>
                </a:lnTo>
                <a:lnTo>
                  <a:pt x="0" y="1908"/>
                </a:lnTo>
                <a:lnTo>
                  <a:pt x="46" y="1927"/>
                </a:lnTo>
                <a:lnTo>
                  <a:pt x="178" y="1986"/>
                </a:lnTo>
                <a:lnTo>
                  <a:pt x="205" y="2096"/>
                </a:lnTo>
                <a:lnTo>
                  <a:pt x="252" y="2125"/>
                </a:lnTo>
                <a:lnTo>
                  <a:pt x="168" y="2224"/>
                </a:lnTo>
                <a:lnTo>
                  <a:pt x="205" y="2393"/>
                </a:lnTo>
                <a:lnTo>
                  <a:pt x="299" y="2384"/>
                </a:lnTo>
                <a:lnTo>
                  <a:pt x="197" y="2523"/>
                </a:lnTo>
                <a:lnTo>
                  <a:pt x="328" y="2601"/>
                </a:lnTo>
                <a:lnTo>
                  <a:pt x="281" y="2672"/>
                </a:lnTo>
                <a:lnTo>
                  <a:pt x="375" y="2731"/>
                </a:lnTo>
                <a:lnTo>
                  <a:pt x="450" y="2711"/>
                </a:lnTo>
                <a:lnTo>
                  <a:pt x="534" y="2692"/>
                </a:lnTo>
                <a:lnTo>
                  <a:pt x="599" y="2772"/>
                </a:lnTo>
                <a:lnTo>
                  <a:pt x="702" y="2782"/>
                </a:lnTo>
                <a:lnTo>
                  <a:pt x="750" y="2841"/>
                </a:lnTo>
                <a:lnTo>
                  <a:pt x="740" y="2951"/>
                </a:lnTo>
                <a:lnTo>
                  <a:pt x="693" y="2891"/>
                </a:lnTo>
                <a:lnTo>
                  <a:pt x="636" y="3021"/>
                </a:lnTo>
                <a:lnTo>
                  <a:pt x="646" y="3150"/>
                </a:lnTo>
                <a:lnTo>
                  <a:pt x="581" y="3209"/>
                </a:lnTo>
                <a:lnTo>
                  <a:pt x="581" y="3298"/>
                </a:lnTo>
                <a:lnTo>
                  <a:pt x="524" y="3408"/>
                </a:lnTo>
                <a:lnTo>
                  <a:pt x="487" y="3486"/>
                </a:lnTo>
                <a:lnTo>
                  <a:pt x="552" y="3517"/>
                </a:lnTo>
                <a:lnTo>
                  <a:pt x="665" y="3508"/>
                </a:lnTo>
                <a:lnTo>
                  <a:pt x="750" y="3478"/>
                </a:lnTo>
                <a:lnTo>
                  <a:pt x="771" y="3497"/>
                </a:lnTo>
                <a:lnTo>
                  <a:pt x="891" y="3517"/>
                </a:lnTo>
                <a:lnTo>
                  <a:pt x="807" y="3428"/>
                </a:lnTo>
                <a:lnTo>
                  <a:pt x="920" y="3389"/>
                </a:lnTo>
                <a:lnTo>
                  <a:pt x="957" y="3437"/>
                </a:lnTo>
                <a:lnTo>
                  <a:pt x="1079" y="3486"/>
                </a:lnTo>
                <a:lnTo>
                  <a:pt x="1079" y="3478"/>
                </a:lnTo>
                <a:lnTo>
                  <a:pt x="1276" y="3508"/>
                </a:lnTo>
                <a:lnTo>
                  <a:pt x="1341" y="3566"/>
                </a:lnTo>
                <a:lnTo>
                  <a:pt x="1370" y="3675"/>
                </a:lnTo>
                <a:lnTo>
                  <a:pt x="1445" y="3606"/>
                </a:lnTo>
                <a:lnTo>
                  <a:pt x="1445" y="3517"/>
                </a:lnTo>
                <a:lnTo>
                  <a:pt x="1547" y="3508"/>
                </a:lnTo>
                <a:lnTo>
                  <a:pt x="1566" y="3577"/>
                </a:lnTo>
                <a:lnTo>
                  <a:pt x="1631" y="3606"/>
                </a:lnTo>
                <a:lnTo>
                  <a:pt x="1838" y="3497"/>
                </a:lnTo>
                <a:lnTo>
                  <a:pt x="1997" y="3486"/>
                </a:lnTo>
                <a:lnTo>
                  <a:pt x="1997" y="3428"/>
                </a:lnTo>
                <a:lnTo>
                  <a:pt x="2091" y="3447"/>
                </a:lnTo>
                <a:lnTo>
                  <a:pt x="2148" y="3437"/>
                </a:lnTo>
                <a:lnTo>
                  <a:pt x="2250" y="3577"/>
                </a:lnTo>
                <a:lnTo>
                  <a:pt x="2299" y="3517"/>
                </a:lnTo>
                <a:lnTo>
                  <a:pt x="2281" y="3437"/>
                </a:lnTo>
                <a:lnTo>
                  <a:pt x="2214" y="3389"/>
                </a:lnTo>
                <a:lnTo>
                  <a:pt x="2214" y="3289"/>
                </a:lnTo>
                <a:lnTo>
                  <a:pt x="2156" y="3190"/>
                </a:lnTo>
                <a:lnTo>
                  <a:pt x="2240" y="3120"/>
                </a:lnTo>
                <a:lnTo>
                  <a:pt x="2336" y="3150"/>
                </a:lnTo>
                <a:lnTo>
                  <a:pt x="2383" y="3060"/>
                </a:lnTo>
                <a:lnTo>
                  <a:pt x="2354" y="3010"/>
                </a:lnTo>
                <a:lnTo>
                  <a:pt x="2514" y="3040"/>
                </a:lnTo>
                <a:lnTo>
                  <a:pt x="2495" y="2971"/>
                </a:lnTo>
                <a:lnTo>
                  <a:pt x="2393" y="2813"/>
                </a:lnTo>
                <a:lnTo>
                  <a:pt x="2240" y="2662"/>
                </a:lnTo>
                <a:lnTo>
                  <a:pt x="2128" y="2631"/>
                </a:lnTo>
                <a:lnTo>
                  <a:pt x="2081" y="2542"/>
                </a:lnTo>
                <a:lnTo>
                  <a:pt x="2016" y="2423"/>
                </a:lnTo>
                <a:lnTo>
                  <a:pt x="2054" y="2324"/>
                </a:lnTo>
                <a:lnTo>
                  <a:pt x="1923" y="2244"/>
                </a:lnTo>
                <a:lnTo>
                  <a:pt x="1895" y="2166"/>
                </a:lnTo>
                <a:lnTo>
                  <a:pt x="1923" y="2116"/>
                </a:lnTo>
                <a:lnTo>
                  <a:pt x="2063" y="2155"/>
                </a:lnTo>
                <a:lnTo>
                  <a:pt x="2128" y="2205"/>
                </a:lnTo>
                <a:lnTo>
                  <a:pt x="2232" y="2125"/>
                </a:lnTo>
                <a:lnTo>
                  <a:pt x="2261" y="2055"/>
                </a:lnTo>
                <a:lnTo>
                  <a:pt x="2354" y="2006"/>
                </a:lnTo>
                <a:lnTo>
                  <a:pt x="2495" y="2016"/>
                </a:lnTo>
                <a:lnTo>
                  <a:pt x="2581" y="1956"/>
                </a:lnTo>
                <a:lnTo>
                  <a:pt x="2646" y="1917"/>
                </a:lnTo>
                <a:lnTo>
                  <a:pt x="2824" y="1947"/>
                </a:lnTo>
                <a:lnTo>
                  <a:pt x="2898" y="1997"/>
                </a:lnTo>
                <a:lnTo>
                  <a:pt x="3011" y="2006"/>
                </a:lnTo>
                <a:lnTo>
                  <a:pt x="3002" y="1897"/>
                </a:lnTo>
                <a:lnTo>
                  <a:pt x="2918" y="1798"/>
                </a:lnTo>
                <a:lnTo>
                  <a:pt x="2890" y="1748"/>
                </a:lnTo>
                <a:lnTo>
                  <a:pt x="2945" y="1659"/>
                </a:lnTo>
                <a:lnTo>
                  <a:pt x="2974" y="1501"/>
                </a:lnTo>
                <a:lnTo>
                  <a:pt x="2898" y="1410"/>
                </a:lnTo>
                <a:lnTo>
                  <a:pt x="2937" y="1341"/>
                </a:lnTo>
                <a:lnTo>
                  <a:pt x="2945" y="1262"/>
                </a:lnTo>
                <a:lnTo>
                  <a:pt x="2824" y="1193"/>
                </a:lnTo>
                <a:lnTo>
                  <a:pt x="2814" y="1094"/>
                </a:lnTo>
                <a:lnTo>
                  <a:pt x="2767" y="1053"/>
                </a:lnTo>
                <a:lnTo>
                  <a:pt x="2665" y="1033"/>
                </a:lnTo>
                <a:lnTo>
                  <a:pt x="2542" y="925"/>
                </a:lnTo>
                <a:lnTo>
                  <a:pt x="2571" y="793"/>
                </a:lnTo>
                <a:lnTo>
                  <a:pt x="2636" y="734"/>
                </a:lnTo>
                <a:lnTo>
                  <a:pt x="2683" y="654"/>
                </a:lnTo>
                <a:lnTo>
                  <a:pt x="2673" y="477"/>
                </a:lnTo>
                <a:lnTo>
                  <a:pt x="2608" y="286"/>
                </a:lnTo>
                <a:lnTo>
                  <a:pt x="2542" y="267"/>
                </a:lnTo>
                <a:lnTo>
                  <a:pt x="2412" y="267"/>
                </a:lnTo>
                <a:lnTo>
                  <a:pt x="2318" y="198"/>
                </a:lnTo>
                <a:lnTo>
                  <a:pt x="2318" y="158"/>
                </a:lnTo>
                <a:lnTo>
                  <a:pt x="2203" y="148"/>
                </a:lnTo>
                <a:lnTo>
                  <a:pt x="2222" y="89"/>
                </a:lnTo>
                <a:lnTo>
                  <a:pt x="2299" y="0"/>
                </a:lnTo>
                <a:lnTo>
                  <a:pt x="2128" y="9"/>
                </a:lnTo>
                <a:lnTo>
                  <a:pt x="2091" y="48"/>
                </a:lnTo>
                <a:lnTo>
                  <a:pt x="2110" y="139"/>
                </a:lnTo>
                <a:lnTo>
                  <a:pt x="2026" y="286"/>
                </a:lnTo>
                <a:lnTo>
                  <a:pt x="1969" y="228"/>
                </a:lnTo>
                <a:lnTo>
                  <a:pt x="2016" y="139"/>
                </a:lnTo>
                <a:lnTo>
                  <a:pt x="1838" y="247"/>
                </a:lnTo>
                <a:lnTo>
                  <a:pt x="1772" y="358"/>
                </a:lnTo>
                <a:lnTo>
                  <a:pt x="1641" y="416"/>
                </a:lnTo>
                <a:lnTo>
                  <a:pt x="1613" y="327"/>
                </a:lnTo>
                <a:lnTo>
                  <a:pt x="1539" y="327"/>
                </a:lnTo>
                <a:lnTo>
                  <a:pt x="1453" y="377"/>
                </a:lnTo>
                <a:lnTo>
                  <a:pt x="1323" y="386"/>
                </a:lnTo>
                <a:lnTo>
                  <a:pt x="1229" y="336"/>
                </a:lnTo>
                <a:lnTo>
                  <a:pt x="1116" y="327"/>
                </a:lnTo>
                <a:lnTo>
                  <a:pt x="1220" y="267"/>
                </a:lnTo>
                <a:lnTo>
                  <a:pt x="1163" y="189"/>
                </a:lnTo>
                <a:lnTo>
                  <a:pt x="1051" y="139"/>
                </a:lnTo>
                <a:close/>
              </a:path>
            </a:pathLst>
          </a:custGeom>
          <a:solidFill>
            <a:srgbClr val="D0D0D0"/>
          </a:solidFill>
          <a:ln w="9525" cmpd="sng">
            <a:solidFill>
              <a:srgbClr val="D0D0D0"/>
            </a:solidFill>
            <a:prstDash val="solid"/>
            <a:round/>
            <a:headEnd/>
            <a:tailEnd/>
          </a:ln>
        </p:spPr>
        <p:txBody>
          <a:bodyPr/>
          <a:lstStyle/>
          <a:p>
            <a:endParaRPr lang="de-DE" dirty="0"/>
          </a:p>
        </p:txBody>
      </p:sp>
      <p:grpSp>
        <p:nvGrpSpPr>
          <p:cNvPr id="408" name="Gruppieren 407">
            <a:extLst>
              <a:ext uri="{FF2B5EF4-FFF2-40B4-BE49-F238E27FC236}">
                <a16:creationId xmlns:a16="http://schemas.microsoft.com/office/drawing/2014/main" id="{390B78D3-83E5-F07F-61E8-CD58829A3F87}"/>
              </a:ext>
            </a:extLst>
          </p:cNvPr>
          <p:cNvGrpSpPr/>
          <p:nvPr/>
        </p:nvGrpSpPr>
        <p:grpSpPr>
          <a:xfrm>
            <a:off x="5885770" y="1788233"/>
            <a:ext cx="1341021" cy="789586"/>
            <a:chOff x="1441569" y="1616873"/>
            <a:chExt cx="6456017" cy="4260399"/>
          </a:xfrm>
        </p:grpSpPr>
        <p:grpSp>
          <p:nvGrpSpPr>
            <p:cNvPr id="409" name="Gruppieren 18">
              <a:extLst>
                <a:ext uri="{FF2B5EF4-FFF2-40B4-BE49-F238E27FC236}">
                  <a16:creationId xmlns:a16="http://schemas.microsoft.com/office/drawing/2014/main" id="{27F7BA06-3BD1-3966-AFD4-DF8929EE81F3}"/>
                </a:ext>
              </a:extLst>
            </p:cNvPr>
            <p:cNvGrpSpPr/>
            <p:nvPr/>
          </p:nvGrpSpPr>
          <p:grpSpPr bwMode="gray">
            <a:xfrm>
              <a:off x="4023034" y="1797239"/>
              <a:ext cx="3874552" cy="2088527"/>
              <a:chOff x="4333654" y="2120458"/>
              <a:chExt cx="4234800" cy="2158558"/>
            </a:xfrm>
            <a:solidFill>
              <a:srgbClr val="D0D0D0"/>
            </a:solidFill>
          </p:grpSpPr>
          <p:grpSp>
            <p:nvGrpSpPr>
              <p:cNvPr id="652" name="Gruppieren 17">
                <a:extLst>
                  <a:ext uri="{FF2B5EF4-FFF2-40B4-BE49-F238E27FC236}">
                    <a16:creationId xmlns:a16="http://schemas.microsoft.com/office/drawing/2014/main" id="{D97A61B9-D093-922F-A4A7-D88F3E806C63}"/>
                  </a:ext>
                </a:extLst>
              </p:cNvPr>
              <p:cNvGrpSpPr/>
              <p:nvPr/>
            </p:nvGrpSpPr>
            <p:grpSpPr bwMode="gray">
              <a:xfrm>
                <a:off x="4333654" y="2120458"/>
                <a:ext cx="4234800" cy="2158558"/>
                <a:chOff x="4333654" y="2120458"/>
                <a:chExt cx="4234800" cy="2158558"/>
              </a:xfrm>
              <a:grpFill/>
            </p:grpSpPr>
            <p:sp>
              <p:nvSpPr>
                <p:cNvPr id="654" name="Line 37">
                  <a:extLst>
                    <a:ext uri="{FF2B5EF4-FFF2-40B4-BE49-F238E27FC236}">
                      <a16:creationId xmlns:a16="http://schemas.microsoft.com/office/drawing/2014/main" id="{0B5741A8-F830-1328-06D6-8AA04899E8DD}"/>
                    </a:ext>
                  </a:extLst>
                </p:cNvPr>
                <p:cNvSpPr>
                  <a:spLocks noChangeShapeType="1"/>
                </p:cNvSpPr>
                <p:nvPr/>
              </p:nvSpPr>
              <p:spPr bwMode="gray">
                <a:xfrm>
                  <a:off x="5332500" y="4216945"/>
                  <a:ext cx="0" cy="11401"/>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655" name="Freeform 39">
                  <a:extLst>
                    <a:ext uri="{FF2B5EF4-FFF2-40B4-BE49-F238E27FC236}">
                      <a16:creationId xmlns:a16="http://schemas.microsoft.com/office/drawing/2014/main" id="{AC1A0679-7DCE-4EEB-D2DE-E43343436258}"/>
                    </a:ext>
                  </a:extLst>
                </p:cNvPr>
                <p:cNvSpPr>
                  <a:spLocks/>
                </p:cNvSpPr>
                <p:nvPr/>
              </p:nvSpPr>
              <p:spPr bwMode="gray">
                <a:xfrm>
                  <a:off x="5358244" y="3983862"/>
                  <a:ext cx="278030" cy="172280"/>
                </a:xfrm>
                <a:custGeom>
                  <a:avLst/>
                  <a:gdLst>
                    <a:gd name="T0" fmla="*/ 114 w 180"/>
                    <a:gd name="T1" fmla="*/ 41 h 114"/>
                    <a:gd name="T2" fmla="*/ 105 w 180"/>
                    <a:gd name="T3" fmla="*/ 41 h 114"/>
                    <a:gd name="T4" fmla="*/ 89 w 180"/>
                    <a:gd name="T5" fmla="*/ 32 h 114"/>
                    <a:gd name="T6" fmla="*/ 130 w 180"/>
                    <a:gd name="T7" fmla="*/ 8 h 114"/>
                    <a:gd name="T8" fmla="*/ 145 w 180"/>
                    <a:gd name="T9" fmla="*/ 0 h 114"/>
                    <a:gd name="T10" fmla="*/ 154 w 180"/>
                    <a:gd name="T11" fmla="*/ 8 h 114"/>
                    <a:gd name="T12" fmla="*/ 130 w 180"/>
                    <a:gd name="T13" fmla="*/ 16 h 114"/>
                    <a:gd name="T14" fmla="*/ 139 w 180"/>
                    <a:gd name="T15" fmla="*/ 23 h 114"/>
                    <a:gd name="T16" fmla="*/ 120 w 180"/>
                    <a:gd name="T17" fmla="*/ 41 h 114"/>
                    <a:gd name="T18" fmla="*/ 114 w 180"/>
                    <a:gd name="T19" fmla="*/ 41 h 114"/>
                    <a:gd name="T20" fmla="*/ 120 w 180"/>
                    <a:gd name="T21" fmla="*/ 41 h 114"/>
                    <a:gd name="T22" fmla="*/ 179 w 180"/>
                    <a:gd name="T23" fmla="*/ 88 h 114"/>
                    <a:gd name="T24" fmla="*/ 179 w 180"/>
                    <a:gd name="T25" fmla="*/ 97 h 114"/>
                    <a:gd name="T26" fmla="*/ 179 w 180"/>
                    <a:gd name="T27" fmla="*/ 105 h 114"/>
                    <a:gd name="T28" fmla="*/ 154 w 180"/>
                    <a:gd name="T29" fmla="*/ 113 h 114"/>
                    <a:gd name="T30" fmla="*/ 120 w 180"/>
                    <a:gd name="T31" fmla="*/ 113 h 114"/>
                    <a:gd name="T32" fmla="*/ 97 w 180"/>
                    <a:gd name="T33" fmla="*/ 97 h 114"/>
                    <a:gd name="T34" fmla="*/ 73 w 180"/>
                    <a:gd name="T35" fmla="*/ 97 h 114"/>
                    <a:gd name="T36" fmla="*/ 49 w 180"/>
                    <a:gd name="T37" fmla="*/ 113 h 114"/>
                    <a:gd name="T38" fmla="*/ 33 w 180"/>
                    <a:gd name="T39" fmla="*/ 113 h 114"/>
                    <a:gd name="T40" fmla="*/ 15 w 180"/>
                    <a:gd name="T41" fmla="*/ 113 h 114"/>
                    <a:gd name="T42" fmla="*/ 8 w 180"/>
                    <a:gd name="T43" fmla="*/ 97 h 114"/>
                    <a:gd name="T44" fmla="*/ 0 w 180"/>
                    <a:gd name="T45" fmla="*/ 88 h 114"/>
                    <a:gd name="T46" fmla="*/ 8 w 180"/>
                    <a:gd name="T47" fmla="*/ 73 h 114"/>
                    <a:gd name="T48" fmla="*/ 15 w 180"/>
                    <a:gd name="T49" fmla="*/ 73 h 114"/>
                    <a:gd name="T50" fmla="*/ 15 w 180"/>
                    <a:gd name="T51" fmla="*/ 63 h 114"/>
                    <a:gd name="T52" fmla="*/ 15 w 180"/>
                    <a:gd name="T53" fmla="*/ 57 h 114"/>
                    <a:gd name="T54" fmla="*/ 24 w 180"/>
                    <a:gd name="T55" fmla="*/ 48 h 114"/>
                    <a:gd name="T56" fmla="*/ 24 w 180"/>
                    <a:gd name="T57" fmla="*/ 41 h 114"/>
                    <a:gd name="T58" fmla="*/ 24 w 180"/>
                    <a:gd name="T59" fmla="*/ 32 h 114"/>
                    <a:gd name="T60" fmla="*/ 33 w 180"/>
                    <a:gd name="T61" fmla="*/ 32 h 114"/>
                    <a:gd name="T62" fmla="*/ 40 w 180"/>
                    <a:gd name="T63" fmla="*/ 16 h 114"/>
                    <a:gd name="T64" fmla="*/ 55 w 180"/>
                    <a:gd name="T65" fmla="*/ 16 h 114"/>
                    <a:gd name="T66" fmla="*/ 55 w 180"/>
                    <a:gd name="T67" fmla="*/ 23 h 114"/>
                    <a:gd name="T68" fmla="*/ 80 w 180"/>
                    <a:gd name="T69" fmla="*/ 32 h 114"/>
                    <a:gd name="T70" fmla="*/ 65 w 180"/>
                    <a:gd name="T71" fmla="*/ 41 h 114"/>
                    <a:gd name="T72" fmla="*/ 73 w 180"/>
                    <a:gd name="T73" fmla="*/ 48 h 114"/>
                    <a:gd name="T74" fmla="*/ 73 w 180"/>
                    <a:gd name="T75" fmla="*/ 57 h 114"/>
                    <a:gd name="T76" fmla="*/ 80 w 180"/>
                    <a:gd name="T77" fmla="*/ 57 h 114"/>
                    <a:gd name="T78" fmla="*/ 105 w 180"/>
                    <a:gd name="T79" fmla="*/ 41 h 114"/>
                    <a:gd name="T80" fmla="*/ 114 w 180"/>
                    <a:gd name="T81" fmla="*/ 4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6350" cap="rnd" cmpd="sng">
                  <a:solidFill>
                    <a:srgbClr val="D0D0D0"/>
                  </a:solidFill>
                  <a:prstDash val="solid"/>
                  <a:round/>
                  <a:headEnd/>
                  <a:tailEnd/>
                </a:ln>
                <a:effectLst/>
              </p:spPr>
              <p:txBody>
                <a:bodyPr/>
                <a:lstStyle/>
                <a:p>
                  <a:endParaRPr lang="de-DE" dirty="0"/>
                </a:p>
              </p:txBody>
            </p:sp>
            <p:sp>
              <p:nvSpPr>
                <p:cNvPr id="656" name="Freeform 43">
                  <a:extLst>
                    <a:ext uri="{FF2B5EF4-FFF2-40B4-BE49-F238E27FC236}">
                      <a16:creationId xmlns:a16="http://schemas.microsoft.com/office/drawing/2014/main" id="{B2C6759E-B36A-3F54-892F-A2B20C33844C}"/>
                    </a:ext>
                  </a:extLst>
                </p:cNvPr>
                <p:cNvSpPr>
                  <a:spLocks/>
                </p:cNvSpPr>
                <p:nvPr/>
              </p:nvSpPr>
              <p:spPr bwMode="gray">
                <a:xfrm>
                  <a:off x="5409731" y="3505027"/>
                  <a:ext cx="50200" cy="76006"/>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657" name="Freeform 44">
                  <a:extLst>
                    <a:ext uri="{FF2B5EF4-FFF2-40B4-BE49-F238E27FC236}">
                      <a16:creationId xmlns:a16="http://schemas.microsoft.com/office/drawing/2014/main" id="{4D4B349C-5DD8-4141-F8DA-75D96A747317}"/>
                    </a:ext>
                  </a:extLst>
                </p:cNvPr>
                <p:cNvSpPr>
                  <a:spLocks/>
                </p:cNvSpPr>
                <p:nvPr/>
              </p:nvSpPr>
              <p:spPr bwMode="gray">
                <a:xfrm>
                  <a:off x="5409731" y="3505027"/>
                  <a:ext cx="50200" cy="76006"/>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58" name="Freeform 45">
                  <a:extLst>
                    <a:ext uri="{FF2B5EF4-FFF2-40B4-BE49-F238E27FC236}">
                      <a16:creationId xmlns:a16="http://schemas.microsoft.com/office/drawing/2014/main" id="{F011EF1C-736D-6022-1E0E-336D04A35182}"/>
                    </a:ext>
                  </a:extLst>
                </p:cNvPr>
                <p:cNvSpPr>
                  <a:spLocks/>
                </p:cNvSpPr>
                <p:nvPr/>
              </p:nvSpPr>
              <p:spPr bwMode="gray">
                <a:xfrm>
                  <a:off x="5495971" y="3456889"/>
                  <a:ext cx="39902" cy="7347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6350" cap="rnd" cmpd="sng">
                  <a:solidFill>
                    <a:srgbClr val="D0D0D0"/>
                  </a:solidFill>
                  <a:prstDash val="solid"/>
                  <a:round/>
                  <a:headEnd/>
                  <a:tailEnd/>
                </a:ln>
                <a:effectLst/>
              </p:spPr>
              <p:txBody>
                <a:bodyPr/>
                <a:lstStyle/>
                <a:p>
                  <a:endParaRPr lang="de-DE" dirty="0"/>
                </a:p>
              </p:txBody>
            </p:sp>
            <p:sp>
              <p:nvSpPr>
                <p:cNvPr id="659" name="Freeform 46">
                  <a:extLst>
                    <a:ext uri="{FF2B5EF4-FFF2-40B4-BE49-F238E27FC236}">
                      <a16:creationId xmlns:a16="http://schemas.microsoft.com/office/drawing/2014/main" id="{4232B86A-B51C-5534-5567-DD04E4578032}"/>
                    </a:ext>
                  </a:extLst>
                </p:cNvPr>
                <p:cNvSpPr>
                  <a:spLocks/>
                </p:cNvSpPr>
                <p:nvPr/>
              </p:nvSpPr>
              <p:spPr bwMode="gray">
                <a:xfrm>
                  <a:off x="5495971" y="3456889"/>
                  <a:ext cx="39902" cy="7347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60" name="Freeform 55">
                  <a:extLst>
                    <a:ext uri="{FF2B5EF4-FFF2-40B4-BE49-F238E27FC236}">
                      <a16:creationId xmlns:a16="http://schemas.microsoft.com/office/drawing/2014/main" id="{3B1C80C8-36CA-F707-80B4-C54A25FAF5B8}"/>
                    </a:ext>
                  </a:extLst>
                </p:cNvPr>
                <p:cNvSpPr>
                  <a:spLocks/>
                </p:cNvSpPr>
                <p:nvPr/>
              </p:nvSpPr>
              <p:spPr bwMode="gray">
                <a:xfrm>
                  <a:off x="5148435" y="3923057"/>
                  <a:ext cx="110697" cy="49404"/>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6350" cap="rnd" cmpd="sng">
                  <a:solidFill>
                    <a:srgbClr val="D0D0D0"/>
                  </a:solidFill>
                  <a:prstDash val="solid"/>
                  <a:round/>
                  <a:headEnd/>
                  <a:tailEnd/>
                </a:ln>
                <a:effectLst/>
              </p:spPr>
              <p:txBody>
                <a:bodyPr/>
                <a:lstStyle/>
                <a:p>
                  <a:endParaRPr lang="de-DE" dirty="0"/>
                </a:p>
              </p:txBody>
            </p:sp>
            <p:sp>
              <p:nvSpPr>
                <p:cNvPr id="661" name="Freeform 56">
                  <a:extLst>
                    <a:ext uri="{FF2B5EF4-FFF2-40B4-BE49-F238E27FC236}">
                      <a16:creationId xmlns:a16="http://schemas.microsoft.com/office/drawing/2014/main" id="{00EECF46-0FBB-58BD-5A5C-D76F46C11225}"/>
                    </a:ext>
                  </a:extLst>
                </p:cNvPr>
                <p:cNvSpPr>
                  <a:spLocks/>
                </p:cNvSpPr>
                <p:nvPr/>
              </p:nvSpPr>
              <p:spPr bwMode="gray">
                <a:xfrm>
                  <a:off x="5148435" y="3923057"/>
                  <a:ext cx="110697" cy="49404"/>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62" name="Freeform 57">
                  <a:extLst>
                    <a:ext uri="{FF2B5EF4-FFF2-40B4-BE49-F238E27FC236}">
                      <a16:creationId xmlns:a16="http://schemas.microsoft.com/office/drawing/2014/main" id="{EE67C057-D850-FC36-1737-50112EA9FCCA}"/>
                    </a:ext>
                  </a:extLst>
                </p:cNvPr>
                <p:cNvSpPr>
                  <a:spLocks/>
                </p:cNvSpPr>
                <p:nvPr/>
              </p:nvSpPr>
              <p:spPr bwMode="gray">
                <a:xfrm>
                  <a:off x="5346660" y="2561291"/>
                  <a:ext cx="3220507" cy="1580916"/>
                </a:xfrm>
                <a:custGeom>
                  <a:avLst/>
                  <a:gdLst>
                    <a:gd name="T0" fmla="*/ 1030 w 2093"/>
                    <a:gd name="T1" fmla="*/ 210 h 1044"/>
                    <a:gd name="T2" fmla="*/ 1014 w 2093"/>
                    <a:gd name="T3" fmla="*/ 73 h 1044"/>
                    <a:gd name="T4" fmla="*/ 949 w 2093"/>
                    <a:gd name="T5" fmla="*/ 73 h 1044"/>
                    <a:gd name="T6" fmla="*/ 682 w 2093"/>
                    <a:gd name="T7" fmla="*/ 218 h 1044"/>
                    <a:gd name="T8" fmla="*/ 640 w 2093"/>
                    <a:gd name="T9" fmla="*/ 266 h 1044"/>
                    <a:gd name="T10" fmla="*/ 608 w 2093"/>
                    <a:gd name="T11" fmla="*/ 340 h 1044"/>
                    <a:gd name="T12" fmla="*/ 560 w 2093"/>
                    <a:gd name="T13" fmla="*/ 477 h 1044"/>
                    <a:gd name="T14" fmla="*/ 585 w 2093"/>
                    <a:gd name="T15" fmla="*/ 250 h 1044"/>
                    <a:gd name="T16" fmla="*/ 511 w 2093"/>
                    <a:gd name="T17" fmla="*/ 372 h 1044"/>
                    <a:gd name="T18" fmla="*/ 438 w 2093"/>
                    <a:gd name="T19" fmla="*/ 396 h 1044"/>
                    <a:gd name="T20" fmla="*/ 349 w 2093"/>
                    <a:gd name="T21" fmla="*/ 396 h 1044"/>
                    <a:gd name="T22" fmla="*/ 243 w 2093"/>
                    <a:gd name="T23" fmla="*/ 412 h 1044"/>
                    <a:gd name="T24" fmla="*/ 194 w 2093"/>
                    <a:gd name="T25" fmla="*/ 486 h 1044"/>
                    <a:gd name="T26" fmla="*/ 122 w 2093"/>
                    <a:gd name="T27" fmla="*/ 558 h 1044"/>
                    <a:gd name="T28" fmla="*/ 147 w 2093"/>
                    <a:gd name="T29" fmla="*/ 493 h 1044"/>
                    <a:gd name="T30" fmla="*/ 63 w 2093"/>
                    <a:gd name="T31" fmla="*/ 364 h 1044"/>
                    <a:gd name="T32" fmla="*/ 41 w 2093"/>
                    <a:gd name="T33" fmla="*/ 501 h 1044"/>
                    <a:gd name="T34" fmla="*/ 32 w 2093"/>
                    <a:gd name="T35" fmla="*/ 632 h 1044"/>
                    <a:gd name="T36" fmla="*/ 0 w 2093"/>
                    <a:gd name="T37" fmla="*/ 688 h 1044"/>
                    <a:gd name="T38" fmla="*/ 48 w 2093"/>
                    <a:gd name="T39" fmla="*/ 769 h 1044"/>
                    <a:gd name="T40" fmla="*/ 57 w 2093"/>
                    <a:gd name="T41" fmla="*/ 825 h 1044"/>
                    <a:gd name="T42" fmla="*/ 105 w 2093"/>
                    <a:gd name="T43" fmla="*/ 859 h 1044"/>
                    <a:gd name="T44" fmla="*/ 153 w 2093"/>
                    <a:gd name="T45" fmla="*/ 922 h 1044"/>
                    <a:gd name="T46" fmla="*/ 147 w 2093"/>
                    <a:gd name="T47" fmla="*/ 962 h 1044"/>
                    <a:gd name="T48" fmla="*/ 234 w 2093"/>
                    <a:gd name="T49" fmla="*/ 1021 h 1044"/>
                    <a:gd name="T50" fmla="*/ 259 w 2093"/>
                    <a:gd name="T51" fmla="*/ 1002 h 1044"/>
                    <a:gd name="T52" fmla="*/ 275 w 2093"/>
                    <a:gd name="T53" fmla="*/ 955 h 1044"/>
                    <a:gd name="T54" fmla="*/ 275 w 2093"/>
                    <a:gd name="T55" fmla="*/ 890 h 1044"/>
                    <a:gd name="T56" fmla="*/ 340 w 2093"/>
                    <a:gd name="T57" fmla="*/ 859 h 1044"/>
                    <a:gd name="T58" fmla="*/ 446 w 2093"/>
                    <a:gd name="T59" fmla="*/ 859 h 1044"/>
                    <a:gd name="T60" fmla="*/ 454 w 2093"/>
                    <a:gd name="T61" fmla="*/ 810 h 1044"/>
                    <a:gd name="T62" fmla="*/ 567 w 2093"/>
                    <a:gd name="T63" fmla="*/ 800 h 1044"/>
                    <a:gd name="T64" fmla="*/ 640 w 2093"/>
                    <a:gd name="T65" fmla="*/ 794 h 1044"/>
                    <a:gd name="T66" fmla="*/ 747 w 2093"/>
                    <a:gd name="T67" fmla="*/ 890 h 1044"/>
                    <a:gd name="T68" fmla="*/ 859 w 2093"/>
                    <a:gd name="T69" fmla="*/ 882 h 1044"/>
                    <a:gd name="T70" fmla="*/ 973 w 2093"/>
                    <a:gd name="T71" fmla="*/ 882 h 1044"/>
                    <a:gd name="T72" fmla="*/ 1120 w 2093"/>
                    <a:gd name="T73" fmla="*/ 882 h 1044"/>
                    <a:gd name="T74" fmla="*/ 1200 w 2093"/>
                    <a:gd name="T75" fmla="*/ 841 h 1044"/>
                    <a:gd name="T76" fmla="*/ 1290 w 2093"/>
                    <a:gd name="T77" fmla="*/ 899 h 1044"/>
                    <a:gd name="T78" fmla="*/ 1379 w 2093"/>
                    <a:gd name="T79" fmla="*/ 939 h 1044"/>
                    <a:gd name="T80" fmla="*/ 1347 w 2093"/>
                    <a:gd name="T81" fmla="*/ 1012 h 1044"/>
                    <a:gd name="T82" fmla="*/ 1461 w 2093"/>
                    <a:gd name="T83" fmla="*/ 850 h 1044"/>
                    <a:gd name="T84" fmla="*/ 1419 w 2093"/>
                    <a:gd name="T85" fmla="*/ 800 h 1044"/>
                    <a:gd name="T86" fmla="*/ 1518 w 2093"/>
                    <a:gd name="T87" fmla="*/ 679 h 1044"/>
                    <a:gd name="T88" fmla="*/ 1598 w 2093"/>
                    <a:gd name="T89" fmla="*/ 679 h 1044"/>
                    <a:gd name="T90" fmla="*/ 1704 w 2093"/>
                    <a:gd name="T91" fmla="*/ 614 h 1044"/>
                    <a:gd name="T92" fmla="*/ 1754 w 2093"/>
                    <a:gd name="T93" fmla="*/ 608 h 1044"/>
                    <a:gd name="T94" fmla="*/ 1663 w 2093"/>
                    <a:gd name="T95" fmla="*/ 874 h 1044"/>
                    <a:gd name="T96" fmla="*/ 1729 w 2093"/>
                    <a:gd name="T97" fmla="*/ 769 h 1044"/>
                    <a:gd name="T98" fmla="*/ 1744 w 2093"/>
                    <a:gd name="T99" fmla="*/ 688 h 1044"/>
                    <a:gd name="T100" fmla="*/ 1817 w 2093"/>
                    <a:gd name="T101" fmla="*/ 655 h 1044"/>
                    <a:gd name="T102" fmla="*/ 1938 w 2093"/>
                    <a:gd name="T103" fmla="*/ 551 h 1044"/>
                    <a:gd name="T104" fmla="*/ 1963 w 2093"/>
                    <a:gd name="T105" fmla="*/ 493 h 1044"/>
                    <a:gd name="T106" fmla="*/ 2061 w 2093"/>
                    <a:gd name="T107" fmla="*/ 526 h 1044"/>
                    <a:gd name="T108" fmla="*/ 1956 w 2093"/>
                    <a:gd name="T109" fmla="*/ 396 h 1044"/>
                    <a:gd name="T110" fmla="*/ 1809 w 2093"/>
                    <a:gd name="T111" fmla="*/ 372 h 1044"/>
                    <a:gd name="T112" fmla="*/ 1711 w 2093"/>
                    <a:gd name="T113" fmla="*/ 372 h 1044"/>
                    <a:gd name="T114" fmla="*/ 1598 w 2093"/>
                    <a:gd name="T115" fmla="*/ 307 h 1044"/>
                    <a:gd name="T116" fmla="*/ 1436 w 2093"/>
                    <a:gd name="T117" fmla="*/ 275 h 1044"/>
                    <a:gd name="T118" fmla="*/ 1322 w 2093"/>
                    <a:gd name="T119" fmla="*/ 324 h 1044"/>
                    <a:gd name="T120" fmla="*/ 1225 w 2093"/>
                    <a:gd name="T121" fmla="*/ 225 h 1044"/>
                    <a:gd name="T122" fmla="*/ 1063 w 2093"/>
                    <a:gd name="T123" fmla="*/ 194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63" name="Freeform 58">
                  <a:extLst>
                    <a:ext uri="{FF2B5EF4-FFF2-40B4-BE49-F238E27FC236}">
                      <a16:creationId xmlns:a16="http://schemas.microsoft.com/office/drawing/2014/main" id="{2DF44B68-9BA1-E82A-031A-734CBF11C0BE}"/>
                    </a:ext>
                  </a:extLst>
                </p:cNvPr>
                <p:cNvSpPr>
                  <a:spLocks/>
                </p:cNvSpPr>
                <p:nvPr/>
              </p:nvSpPr>
              <p:spPr bwMode="gray">
                <a:xfrm>
                  <a:off x="4907733" y="3038859"/>
                  <a:ext cx="527742" cy="604245"/>
                </a:xfrm>
                <a:custGeom>
                  <a:avLst/>
                  <a:gdLst>
                    <a:gd name="T0" fmla="*/ 81 w 343"/>
                    <a:gd name="T1" fmla="*/ 373 h 399"/>
                    <a:gd name="T2" fmla="*/ 74 w 343"/>
                    <a:gd name="T3" fmla="*/ 373 h 399"/>
                    <a:gd name="T4" fmla="*/ 40 w 343"/>
                    <a:gd name="T5" fmla="*/ 398 h 399"/>
                    <a:gd name="T6" fmla="*/ 9 w 343"/>
                    <a:gd name="T7" fmla="*/ 388 h 399"/>
                    <a:gd name="T8" fmla="*/ 0 w 343"/>
                    <a:gd name="T9" fmla="*/ 324 h 399"/>
                    <a:gd name="T10" fmla="*/ 0 w 343"/>
                    <a:gd name="T11" fmla="*/ 299 h 399"/>
                    <a:gd name="T12" fmla="*/ 40 w 343"/>
                    <a:gd name="T13" fmla="*/ 268 h 399"/>
                    <a:gd name="T14" fmla="*/ 81 w 343"/>
                    <a:gd name="T15" fmla="*/ 218 h 399"/>
                    <a:gd name="T16" fmla="*/ 114 w 343"/>
                    <a:gd name="T17" fmla="*/ 162 h 399"/>
                    <a:gd name="T18" fmla="*/ 146 w 343"/>
                    <a:gd name="T19" fmla="*/ 106 h 399"/>
                    <a:gd name="T20" fmla="*/ 106 w 343"/>
                    <a:gd name="T21" fmla="*/ 122 h 399"/>
                    <a:gd name="T22" fmla="*/ 122 w 343"/>
                    <a:gd name="T23" fmla="*/ 90 h 399"/>
                    <a:gd name="T24" fmla="*/ 146 w 343"/>
                    <a:gd name="T25" fmla="*/ 90 h 399"/>
                    <a:gd name="T26" fmla="*/ 156 w 343"/>
                    <a:gd name="T27" fmla="*/ 65 h 399"/>
                    <a:gd name="T28" fmla="*/ 179 w 343"/>
                    <a:gd name="T29" fmla="*/ 41 h 399"/>
                    <a:gd name="T30" fmla="*/ 211 w 343"/>
                    <a:gd name="T31" fmla="*/ 34 h 399"/>
                    <a:gd name="T32" fmla="*/ 251 w 343"/>
                    <a:gd name="T33" fmla="*/ 16 h 399"/>
                    <a:gd name="T34" fmla="*/ 293 w 343"/>
                    <a:gd name="T35" fmla="*/ 0 h 399"/>
                    <a:gd name="T36" fmla="*/ 342 w 343"/>
                    <a:gd name="T37" fmla="*/ 34 h 399"/>
                    <a:gd name="T38" fmla="*/ 308 w 343"/>
                    <a:gd name="T39" fmla="*/ 41 h 399"/>
                    <a:gd name="T40" fmla="*/ 333 w 343"/>
                    <a:gd name="T41" fmla="*/ 57 h 399"/>
                    <a:gd name="T42" fmla="*/ 317 w 343"/>
                    <a:gd name="T43" fmla="*/ 57 h 399"/>
                    <a:gd name="T44" fmla="*/ 276 w 343"/>
                    <a:gd name="T45" fmla="*/ 49 h 399"/>
                    <a:gd name="T46" fmla="*/ 261 w 343"/>
                    <a:gd name="T47" fmla="*/ 90 h 399"/>
                    <a:gd name="T48" fmla="*/ 211 w 343"/>
                    <a:gd name="T49" fmla="*/ 72 h 399"/>
                    <a:gd name="T50" fmla="*/ 196 w 343"/>
                    <a:gd name="T51" fmla="*/ 81 h 399"/>
                    <a:gd name="T52" fmla="*/ 179 w 343"/>
                    <a:gd name="T53" fmla="*/ 97 h 399"/>
                    <a:gd name="T54" fmla="*/ 171 w 343"/>
                    <a:gd name="T55" fmla="*/ 112 h 399"/>
                    <a:gd name="T56" fmla="*/ 156 w 343"/>
                    <a:gd name="T57" fmla="*/ 122 h 399"/>
                    <a:gd name="T58" fmla="*/ 146 w 343"/>
                    <a:gd name="T59" fmla="*/ 154 h 399"/>
                    <a:gd name="T60" fmla="*/ 122 w 343"/>
                    <a:gd name="T61" fmla="*/ 203 h 399"/>
                    <a:gd name="T62" fmla="*/ 122 w 343"/>
                    <a:gd name="T63" fmla="*/ 236 h 399"/>
                    <a:gd name="T64" fmla="*/ 99 w 343"/>
                    <a:gd name="T65" fmla="*/ 251 h 399"/>
                    <a:gd name="T66" fmla="*/ 99 w 343"/>
                    <a:gd name="T67" fmla="*/ 317 h 399"/>
                    <a:gd name="T68" fmla="*/ 90 w 343"/>
                    <a:gd name="T69" fmla="*/ 357 h 399"/>
                    <a:gd name="T70" fmla="*/ 81 w 343"/>
                    <a:gd name="T71" fmla="*/ 38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64" name="Freeform 59">
                  <a:extLst>
                    <a:ext uri="{FF2B5EF4-FFF2-40B4-BE49-F238E27FC236}">
                      <a16:creationId xmlns:a16="http://schemas.microsoft.com/office/drawing/2014/main" id="{9DF4FEAE-0E1F-3723-3622-F06A59686A71}"/>
                    </a:ext>
                  </a:extLst>
                </p:cNvPr>
                <p:cNvSpPr>
                  <a:spLocks/>
                </p:cNvSpPr>
                <p:nvPr/>
              </p:nvSpPr>
              <p:spPr bwMode="gray">
                <a:xfrm>
                  <a:off x="5320916" y="4130805"/>
                  <a:ext cx="375855" cy="148211"/>
                </a:xfrm>
                <a:custGeom>
                  <a:avLst/>
                  <a:gdLst>
                    <a:gd name="T0" fmla="*/ 244 w 245"/>
                    <a:gd name="T1" fmla="*/ 32 h 98"/>
                    <a:gd name="T2" fmla="*/ 236 w 245"/>
                    <a:gd name="T3" fmla="*/ 32 h 98"/>
                    <a:gd name="T4" fmla="*/ 227 w 245"/>
                    <a:gd name="T5" fmla="*/ 8 h 98"/>
                    <a:gd name="T6" fmla="*/ 204 w 245"/>
                    <a:gd name="T7" fmla="*/ 8 h 98"/>
                    <a:gd name="T8" fmla="*/ 179 w 245"/>
                    <a:gd name="T9" fmla="*/ 16 h 98"/>
                    <a:gd name="T10" fmla="*/ 145 w 245"/>
                    <a:gd name="T11" fmla="*/ 16 h 98"/>
                    <a:gd name="T12" fmla="*/ 122 w 245"/>
                    <a:gd name="T13" fmla="*/ 0 h 98"/>
                    <a:gd name="T14" fmla="*/ 98 w 245"/>
                    <a:gd name="T15" fmla="*/ 0 h 98"/>
                    <a:gd name="T16" fmla="*/ 74 w 245"/>
                    <a:gd name="T17" fmla="*/ 16 h 98"/>
                    <a:gd name="T18" fmla="*/ 58 w 245"/>
                    <a:gd name="T19" fmla="*/ 16 h 98"/>
                    <a:gd name="T20" fmla="*/ 40 w 245"/>
                    <a:gd name="T21" fmla="*/ 16 h 98"/>
                    <a:gd name="T22" fmla="*/ 33 w 245"/>
                    <a:gd name="T23" fmla="*/ 0 h 98"/>
                    <a:gd name="T24" fmla="*/ 17 w 245"/>
                    <a:gd name="T25" fmla="*/ 0 h 98"/>
                    <a:gd name="T26" fmla="*/ 8 w 245"/>
                    <a:gd name="T27" fmla="*/ 8 h 98"/>
                    <a:gd name="T28" fmla="*/ 0 w 245"/>
                    <a:gd name="T29" fmla="*/ 25 h 98"/>
                    <a:gd name="T30" fmla="*/ 8 w 245"/>
                    <a:gd name="T31" fmla="*/ 25 h 98"/>
                    <a:gd name="T32" fmla="*/ 8 w 245"/>
                    <a:gd name="T33" fmla="*/ 32 h 98"/>
                    <a:gd name="T34" fmla="*/ 25 w 245"/>
                    <a:gd name="T35" fmla="*/ 16 h 98"/>
                    <a:gd name="T36" fmla="*/ 40 w 245"/>
                    <a:gd name="T37" fmla="*/ 16 h 98"/>
                    <a:gd name="T38" fmla="*/ 49 w 245"/>
                    <a:gd name="T39" fmla="*/ 25 h 98"/>
                    <a:gd name="T40" fmla="*/ 40 w 245"/>
                    <a:gd name="T41" fmla="*/ 25 h 98"/>
                    <a:gd name="T42" fmla="*/ 40 w 245"/>
                    <a:gd name="T43" fmla="*/ 32 h 98"/>
                    <a:gd name="T44" fmla="*/ 17 w 245"/>
                    <a:gd name="T45" fmla="*/ 32 h 98"/>
                    <a:gd name="T46" fmla="*/ 8 w 245"/>
                    <a:gd name="T47" fmla="*/ 41 h 98"/>
                    <a:gd name="T48" fmla="*/ 8 w 245"/>
                    <a:gd name="T49" fmla="*/ 48 h 98"/>
                    <a:gd name="T50" fmla="*/ 17 w 245"/>
                    <a:gd name="T51" fmla="*/ 41 h 98"/>
                    <a:gd name="T52" fmla="*/ 17 w 245"/>
                    <a:gd name="T53" fmla="*/ 48 h 98"/>
                    <a:gd name="T54" fmla="*/ 8 w 245"/>
                    <a:gd name="T55" fmla="*/ 57 h 98"/>
                    <a:gd name="T56" fmla="*/ 8 w 245"/>
                    <a:gd name="T57" fmla="*/ 65 h 98"/>
                    <a:gd name="T58" fmla="*/ 17 w 245"/>
                    <a:gd name="T59" fmla="*/ 73 h 98"/>
                    <a:gd name="T60" fmla="*/ 25 w 245"/>
                    <a:gd name="T61" fmla="*/ 81 h 98"/>
                    <a:gd name="T62" fmla="*/ 33 w 245"/>
                    <a:gd name="T63" fmla="*/ 81 h 98"/>
                    <a:gd name="T64" fmla="*/ 33 w 245"/>
                    <a:gd name="T65" fmla="*/ 90 h 98"/>
                    <a:gd name="T66" fmla="*/ 49 w 245"/>
                    <a:gd name="T67" fmla="*/ 97 h 98"/>
                    <a:gd name="T68" fmla="*/ 65 w 245"/>
                    <a:gd name="T69" fmla="*/ 90 h 98"/>
                    <a:gd name="T70" fmla="*/ 74 w 245"/>
                    <a:gd name="T71" fmla="*/ 90 h 98"/>
                    <a:gd name="T72" fmla="*/ 90 w 245"/>
                    <a:gd name="T73" fmla="*/ 97 h 98"/>
                    <a:gd name="T74" fmla="*/ 98 w 245"/>
                    <a:gd name="T75" fmla="*/ 97 h 98"/>
                    <a:gd name="T76" fmla="*/ 114 w 245"/>
                    <a:gd name="T77" fmla="*/ 90 h 98"/>
                    <a:gd name="T78" fmla="*/ 130 w 245"/>
                    <a:gd name="T79" fmla="*/ 90 h 98"/>
                    <a:gd name="T80" fmla="*/ 130 w 245"/>
                    <a:gd name="T81" fmla="*/ 97 h 98"/>
                    <a:gd name="T82" fmla="*/ 139 w 245"/>
                    <a:gd name="T83" fmla="*/ 97 h 98"/>
                    <a:gd name="T84" fmla="*/ 139 w 245"/>
                    <a:gd name="T85" fmla="*/ 90 h 98"/>
                    <a:gd name="T86" fmla="*/ 164 w 245"/>
                    <a:gd name="T87" fmla="*/ 81 h 98"/>
                    <a:gd name="T88" fmla="*/ 170 w 245"/>
                    <a:gd name="T89" fmla="*/ 90 h 98"/>
                    <a:gd name="T90" fmla="*/ 195 w 245"/>
                    <a:gd name="T91" fmla="*/ 81 h 98"/>
                    <a:gd name="T92" fmla="*/ 219 w 245"/>
                    <a:gd name="T93" fmla="*/ 81 h 98"/>
                    <a:gd name="T94" fmla="*/ 219 w 245"/>
                    <a:gd name="T95" fmla="*/ 73 h 98"/>
                    <a:gd name="T96" fmla="*/ 244 w 245"/>
                    <a:gd name="T97" fmla="*/ 81 h 98"/>
                    <a:gd name="T98" fmla="*/ 236 w 245"/>
                    <a:gd name="T99" fmla="*/ 41 h 98"/>
                    <a:gd name="T100" fmla="*/ 244 w 245"/>
                    <a:gd name="T10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6350" cap="rnd" cmpd="sng">
                  <a:solidFill>
                    <a:srgbClr val="D0D0D0"/>
                  </a:solidFill>
                  <a:prstDash val="solid"/>
                  <a:round/>
                  <a:headEnd/>
                  <a:tailEnd/>
                </a:ln>
                <a:effectLst/>
              </p:spPr>
              <p:txBody>
                <a:bodyPr/>
                <a:lstStyle/>
                <a:p>
                  <a:endParaRPr lang="de-DE" dirty="0"/>
                </a:p>
              </p:txBody>
            </p:sp>
            <p:sp>
              <p:nvSpPr>
                <p:cNvPr id="665" name="Freeform 76">
                  <a:extLst>
                    <a:ext uri="{FF2B5EF4-FFF2-40B4-BE49-F238E27FC236}">
                      <a16:creationId xmlns:a16="http://schemas.microsoft.com/office/drawing/2014/main" id="{1306A0F2-1FFA-BDA2-071D-B4360A8E2C81}"/>
                    </a:ext>
                  </a:extLst>
                </p:cNvPr>
                <p:cNvSpPr>
                  <a:spLocks/>
                </p:cNvSpPr>
                <p:nvPr/>
              </p:nvSpPr>
              <p:spPr bwMode="gray">
                <a:xfrm>
                  <a:off x="5219230" y="3100930"/>
                  <a:ext cx="216245" cy="466167"/>
                </a:xfrm>
                <a:custGeom>
                  <a:avLst/>
                  <a:gdLst>
                    <a:gd name="T0" fmla="*/ 106 w 141"/>
                    <a:gd name="T1" fmla="*/ 40 h 308"/>
                    <a:gd name="T2" fmla="*/ 106 w 141"/>
                    <a:gd name="T3" fmla="*/ 65 h 308"/>
                    <a:gd name="T4" fmla="*/ 124 w 141"/>
                    <a:gd name="T5" fmla="*/ 81 h 308"/>
                    <a:gd name="T6" fmla="*/ 115 w 141"/>
                    <a:gd name="T7" fmla="*/ 105 h 308"/>
                    <a:gd name="T8" fmla="*/ 124 w 141"/>
                    <a:gd name="T9" fmla="*/ 145 h 308"/>
                    <a:gd name="T10" fmla="*/ 115 w 141"/>
                    <a:gd name="T11" fmla="*/ 170 h 308"/>
                    <a:gd name="T12" fmla="*/ 131 w 141"/>
                    <a:gd name="T13" fmla="*/ 195 h 308"/>
                    <a:gd name="T14" fmla="*/ 124 w 141"/>
                    <a:gd name="T15" fmla="*/ 210 h 308"/>
                    <a:gd name="T16" fmla="*/ 140 w 141"/>
                    <a:gd name="T17" fmla="*/ 227 h 308"/>
                    <a:gd name="T18" fmla="*/ 140 w 141"/>
                    <a:gd name="T19" fmla="*/ 235 h 308"/>
                    <a:gd name="T20" fmla="*/ 115 w 141"/>
                    <a:gd name="T21" fmla="*/ 276 h 308"/>
                    <a:gd name="T22" fmla="*/ 91 w 141"/>
                    <a:gd name="T23" fmla="*/ 292 h 308"/>
                    <a:gd name="T24" fmla="*/ 83 w 141"/>
                    <a:gd name="T25" fmla="*/ 292 h 308"/>
                    <a:gd name="T26" fmla="*/ 41 w 141"/>
                    <a:gd name="T27" fmla="*/ 307 h 308"/>
                    <a:gd name="T28" fmla="*/ 9 w 141"/>
                    <a:gd name="T29" fmla="*/ 292 h 308"/>
                    <a:gd name="T30" fmla="*/ 18 w 141"/>
                    <a:gd name="T31" fmla="*/ 267 h 308"/>
                    <a:gd name="T32" fmla="*/ 9 w 141"/>
                    <a:gd name="T33" fmla="*/ 242 h 308"/>
                    <a:gd name="T34" fmla="*/ 18 w 141"/>
                    <a:gd name="T35" fmla="*/ 227 h 308"/>
                    <a:gd name="T36" fmla="*/ 49 w 141"/>
                    <a:gd name="T37" fmla="*/ 177 h 308"/>
                    <a:gd name="T38" fmla="*/ 59 w 141"/>
                    <a:gd name="T39" fmla="*/ 170 h 308"/>
                    <a:gd name="T40" fmla="*/ 59 w 141"/>
                    <a:gd name="T41" fmla="*/ 153 h 308"/>
                    <a:gd name="T42" fmla="*/ 49 w 141"/>
                    <a:gd name="T43" fmla="*/ 145 h 308"/>
                    <a:gd name="T44" fmla="*/ 41 w 141"/>
                    <a:gd name="T45" fmla="*/ 145 h 308"/>
                    <a:gd name="T46" fmla="*/ 34 w 141"/>
                    <a:gd name="T47" fmla="*/ 71 h 308"/>
                    <a:gd name="T48" fmla="*/ 0 w 141"/>
                    <a:gd name="T49" fmla="*/ 40 h 308"/>
                    <a:gd name="T50" fmla="*/ 9 w 141"/>
                    <a:gd name="T51" fmla="*/ 31 h 308"/>
                    <a:gd name="T52" fmla="*/ 25 w 141"/>
                    <a:gd name="T53" fmla="*/ 49 h 308"/>
                    <a:gd name="T54" fmla="*/ 59 w 141"/>
                    <a:gd name="T55" fmla="*/ 49 h 308"/>
                    <a:gd name="T56" fmla="*/ 66 w 141"/>
                    <a:gd name="T57" fmla="*/ 40 h 308"/>
                    <a:gd name="T58" fmla="*/ 74 w 141"/>
                    <a:gd name="T59" fmla="*/ 8 h 308"/>
                    <a:gd name="T60" fmla="*/ 91 w 141"/>
                    <a:gd name="T61" fmla="*/ 0 h 308"/>
                    <a:gd name="T62" fmla="*/ 115 w 141"/>
                    <a:gd name="T63" fmla="*/ 16 h 308"/>
                    <a:gd name="T64" fmla="*/ 106 w 141"/>
                    <a:gd name="T65" fmla="*/ 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66" name="Freeform 103">
                  <a:extLst>
                    <a:ext uri="{FF2B5EF4-FFF2-40B4-BE49-F238E27FC236}">
                      <a16:creationId xmlns:a16="http://schemas.microsoft.com/office/drawing/2014/main" id="{C593D336-5DC1-99E8-6032-8DDC00300C64}"/>
                    </a:ext>
                  </a:extLst>
                </p:cNvPr>
                <p:cNvSpPr>
                  <a:spLocks/>
                </p:cNvSpPr>
                <p:nvPr/>
              </p:nvSpPr>
              <p:spPr bwMode="gray">
                <a:xfrm>
                  <a:off x="5270716" y="3701374"/>
                  <a:ext cx="189215" cy="162145"/>
                </a:xfrm>
                <a:custGeom>
                  <a:avLst/>
                  <a:gdLst>
                    <a:gd name="T0" fmla="*/ 112 w 123"/>
                    <a:gd name="T1" fmla="*/ 88 h 107"/>
                    <a:gd name="T2" fmla="*/ 106 w 123"/>
                    <a:gd name="T3" fmla="*/ 72 h 107"/>
                    <a:gd name="T4" fmla="*/ 106 w 123"/>
                    <a:gd name="T5" fmla="*/ 65 h 107"/>
                    <a:gd name="T6" fmla="*/ 112 w 123"/>
                    <a:gd name="T7" fmla="*/ 72 h 107"/>
                    <a:gd name="T8" fmla="*/ 122 w 123"/>
                    <a:gd name="T9" fmla="*/ 57 h 107"/>
                    <a:gd name="T10" fmla="*/ 112 w 123"/>
                    <a:gd name="T11" fmla="*/ 57 h 107"/>
                    <a:gd name="T12" fmla="*/ 97 w 123"/>
                    <a:gd name="T13" fmla="*/ 32 h 107"/>
                    <a:gd name="T14" fmla="*/ 97 w 123"/>
                    <a:gd name="T15" fmla="*/ 16 h 107"/>
                    <a:gd name="T16" fmla="*/ 90 w 123"/>
                    <a:gd name="T17" fmla="*/ 7 h 107"/>
                    <a:gd name="T18" fmla="*/ 65 w 123"/>
                    <a:gd name="T19" fmla="*/ 0 h 107"/>
                    <a:gd name="T20" fmla="*/ 49 w 123"/>
                    <a:gd name="T21" fmla="*/ 16 h 107"/>
                    <a:gd name="T22" fmla="*/ 49 w 123"/>
                    <a:gd name="T23" fmla="*/ 25 h 107"/>
                    <a:gd name="T24" fmla="*/ 32 w 123"/>
                    <a:gd name="T25" fmla="*/ 32 h 107"/>
                    <a:gd name="T26" fmla="*/ 32 w 123"/>
                    <a:gd name="T27" fmla="*/ 47 h 107"/>
                    <a:gd name="T28" fmla="*/ 25 w 123"/>
                    <a:gd name="T29" fmla="*/ 47 h 107"/>
                    <a:gd name="T30" fmla="*/ 7 w 123"/>
                    <a:gd name="T31" fmla="*/ 57 h 107"/>
                    <a:gd name="T32" fmla="*/ 0 w 123"/>
                    <a:gd name="T33" fmla="*/ 57 h 107"/>
                    <a:gd name="T34" fmla="*/ 7 w 123"/>
                    <a:gd name="T35" fmla="*/ 72 h 107"/>
                    <a:gd name="T36" fmla="*/ 0 w 123"/>
                    <a:gd name="T37" fmla="*/ 88 h 107"/>
                    <a:gd name="T38" fmla="*/ 0 w 123"/>
                    <a:gd name="T39" fmla="*/ 106 h 107"/>
                    <a:gd name="T40" fmla="*/ 15 w 123"/>
                    <a:gd name="T41" fmla="*/ 97 h 107"/>
                    <a:gd name="T42" fmla="*/ 32 w 123"/>
                    <a:gd name="T43" fmla="*/ 97 h 107"/>
                    <a:gd name="T44" fmla="*/ 57 w 123"/>
                    <a:gd name="T45" fmla="*/ 106 h 107"/>
                    <a:gd name="T46" fmla="*/ 65 w 123"/>
                    <a:gd name="T47" fmla="*/ 106 h 107"/>
                    <a:gd name="T48" fmla="*/ 72 w 123"/>
                    <a:gd name="T49" fmla="*/ 106 h 107"/>
                    <a:gd name="T50" fmla="*/ 81 w 123"/>
                    <a:gd name="T51" fmla="*/ 106 h 107"/>
                    <a:gd name="T52" fmla="*/ 97 w 123"/>
                    <a:gd name="T53" fmla="*/ 106 h 107"/>
                    <a:gd name="T54" fmla="*/ 106 w 123"/>
                    <a:gd name="T55" fmla="*/ 88 h 107"/>
                    <a:gd name="T56" fmla="*/ 112 w 123"/>
                    <a:gd name="T57" fmla="*/ 8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67" name="Freeform 104">
                  <a:extLst>
                    <a:ext uri="{FF2B5EF4-FFF2-40B4-BE49-F238E27FC236}">
                      <a16:creationId xmlns:a16="http://schemas.microsoft.com/office/drawing/2014/main" id="{2202C568-DAEC-9314-E762-5257ED2FDEFC}"/>
                    </a:ext>
                  </a:extLst>
                </p:cNvPr>
                <p:cNvSpPr>
                  <a:spLocks/>
                </p:cNvSpPr>
                <p:nvPr/>
              </p:nvSpPr>
              <p:spPr bwMode="gray">
                <a:xfrm>
                  <a:off x="5246260" y="3835651"/>
                  <a:ext cx="361695" cy="234351"/>
                </a:xfrm>
                <a:custGeom>
                  <a:avLst/>
                  <a:gdLst>
                    <a:gd name="T0" fmla="*/ 97 w 235"/>
                    <a:gd name="T1" fmla="*/ 139 h 155"/>
                    <a:gd name="T2" fmla="*/ 81 w 235"/>
                    <a:gd name="T3" fmla="*/ 139 h 155"/>
                    <a:gd name="T4" fmla="*/ 81 w 235"/>
                    <a:gd name="T5" fmla="*/ 130 h 155"/>
                    <a:gd name="T6" fmla="*/ 88 w 235"/>
                    <a:gd name="T7" fmla="*/ 114 h 155"/>
                    <a:gd name="T8" fmla="*/ 106 w 235"/>
                    <a:gd name="T9" fmla="*/ 114 h 155"/>
                    <a:gd name="T10" fmla="*/ 106 w 235"/>
                    <a:gd name="T11" fmla="*/ 106 h 155"/>
                    <a:gd name="T12" fmla="*/ 97 w 235"/>
                    <a:gd name="T13" fmla="*/ 90 h 155"/>
                    <a:gd name="T14" fmla="*/ 97 w 235"/>
                    <a:gd name="T15" fmla="*/ 81 h 155"/>
                    <a:gd name="T16" fmla="*/ 73 w 235"/>
                    <a:gd name="T17" fmla="*/ 74 h 155"/>
                    <a:gd name="T18" fmla="*/ 56 w 235"/>
                    <a:gd name="T19" fmla="*/ 81 h 155"/>
                    <a:gd name="T20" fmla="*/ 41 w 235"/>
                    <a:gd name="T21" fmla="*/ 90 h 155"/>
                    <a:gd name="T22" fmla="*/ 31 w 235"/>
                    <a:gd name="T23" fmla="*/ 90 h 155"/>
                    <a:gd name="T24" fmla="*/ 7 w 235"/>
                    <a:gd name="T25" fmla="*/ 90 h 155"/>
                    <a:gd name="T26" fmla="*/ 0 w 235"/>
                    <a:gd name="T27" fmla="*/ 81 h 155"/>
                    <a:gd name="T28" fmla="*/ 7 w 235"/>
                    <a:gd name="T29" fmla="*/ 66 h 155"/>
                    <a:gd name="T30" fmla="*/ 16 w 235"/>
                    <a:gd name="T31" fmla="*/ 49 h 155"/>
                    <a:gd name="T32" fmla="*/ 23 w 235"/>
                    <a:gd name="T33" fmla="*/ 41 h 155"/>
                    <a:gd name="T34" fmla="*/ 16 w 235"/>
                    <a:gd name="T35" fmla="*/ 18 h 155"/>
                    <a:gd name="T36" fmla="*/ 31 w 235"/>
                    <a:gd name="T37" fmla="*/ 9 h 155"/>
                    <a:gd name="T38" fmla="*/ 48 w 235"/>
                    <a:gd name="T39" fmla="*/ 9 h 155"/>
                    <a:gd name="T40" fmla="*/ 73 w 235"/>
                    <a:gd name="T41" fmla="*/ 18 h 155"/>
                    <a:gd name="T42" fmla="*/ 81 w 235"/>
                    <a:gd name="T43" fmla="*/ 18 h 155"/>
                    <a:gd name="T44" fmla="*/ 88 w 235"/>
                    <a:gd name="T45" fmla="*/ 18 h 155"/>
                    <a:gd name="T46" fmla="*/ 97 w 235"/>
                    <a:gd name="T47" fmla="*/ 18 h 155"/>
                    <a:gd name="T48" fmla="*/ 113 w 235"/>
                    <a:gd name="T49" fmla="*/ 18 h 155"/>
                    <a:gd name="T50" fmla="*/ 122 w 235"/>
                    <a:gd name="T51" fmla="*/ 0 h 155"/>
                    <a:gd name="T52" fmla="*/ 128 w 235"/>
                    <a:gd name="T53" fmla="*/ 0 h 155"/>
                    <a:gd name="T54" fmla="*/ 153 w 235"/>
                    <a:gd name="T55" fmla="*/ 0 h 155"/>
                    <a:gd name="T56" fmla="*/ 162 w 235"/>
                    <a:gd name="T57" fmla="*/ 9 h 155"/>
                    <a:gd name="T58" fmla="*/ 153 w 235"/>
                    <a:gd name="T59" fmla="*/ 9 h 155"/>
                    <a:gd name="T60" fmla="*/ 162 w 235"/>
                    <a:gd name="T61" fmla="*/ 18 h 155"/>
                    <a:gd name="T62" fmla="*/ 170 w 235"/>
                    <a:gd name="T63" fmla="*/ 18 h 155"/>
                    <a:gd name="T64" fmla="*/ 178 w 235"/>
                    <a:gd name="T65" fmla="*/ 33 h 155"/>
                    <a:gd name="T66" fmla="*/ 187 w 235"/>
                    <a:gd name="T67" fmla="*/ 41 h 155"/>
                    <a:gd name="T68" fmla="*/ 193 w 235"/>
                    <a:gd name="T69" fmla="*/ 33 h 155"/>
                    <a:gd name="T70" fmla="*/ 235 w 235"/>
                    <a:gd name="T71" fmla="*/ 58 h 155"/>
                    <a:gd name="T72" fmla="*/ 227 w 235"/>
                    <a:gd name="T73" fmla="*/ 90 h 155"/>
                    <a:gd name="T74" fmla="*/ 218 w 235"/>
                    <a:gd name="T75" fmla="*/ 81 h 155"/>
                    <a:gd name="T76" fmla="*/ 212 w 235"/>
                    <a:gd name="T77" fmla="*/ 90 h 155"/>
                    <a:gd name="T78" fmla="*/ 212 w 235"/>
                    <a:gd name="T79" fmla="*/ 106 h 155"/>
                    <a:gd name="T80" fmla="*/ 203 w 235"/>
                    <a:gd name="T81" fmla="*/ 106 h 155"/>
                    <a:gd name="T82" fmla="*/ 162 w 235"/>
                    <a:gd name="T83" fmla="*/ 130 h 155"/>
                    <a:gd name="T84" fmla="*/ 178 w 235"/>
                    <a:gd name="T85" fmla="*/ 139 h 155"/>
                    <a:gd name="T86" fmla="*/ 178 w 235"/>
                    <a:gd name="T87" fmla="*/ 139 h 155"/>
                    <a:gd name="T88" fmla="*/ 153 w 235"/>
                    <a:gd name="T89" fmla="*/ 155 h 155"/>
                    <a:gd name="T90" fmla="*/ 146 w 235"/>
                    <a:gd name="T91" fmla="*/ 155 h 155"/>
                    <a:gd name="T92" fmla="*/ 146 w 235"/>
                    <a:gd name="T93" fmla="*/ 146 h 155"/>
                    <a:gd name="T94" fmla="*/ 138 w 235"/>
                    <a:gd name="T95" fmla="*/ 139 h 155"/>
                    <a:gd name="T96" fmla="*/ 153 w 235"/>
                    <a:gd name="T97" fmla="*/ 130 h 155"/>
                    <a:gd name="T98" fmla="*/ 128 w 235"/>
                    <a:gd name="T99" fmla="*/ 121 h 155"/>
                    <a:gd name="T100" fmla="*/ 128 w 235"/>
                    <a:gd name="T101" fmla="*/ 114 h 155"/>
                    <a:gd name="T102" fmla="*/ 113 w 235"/>
                    <a:gd name="T103" fmla="*/ 114 h 155"/>
                    <a:gd name="T104" fmla="*/ 106 w 235"/>
                    <a:gd name="T105" fmla="*/ 130 h 155"/>
                    <a:gd name="T106" fmla="*/ 97 w 235"/>
                    <a:gd name="T107" fmla="*/ 130 h 155"/>
                    <a:gd name="T108" fmla="*/ 97 w 235"/>
                    <a:gd name="T109" fmla="*/ 13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68" name="Freeform 105">
                  <a:extLst>
                    <a:ext uri="{FF2B5EF4-FFF2-40B4-BE49-F238E27FC236}">
                      <a16:creationId xmlns:a16="http://schemas.microsoft.com/office/drawing/2014/main" id="{36621861-F4C5-8A92-C8CA-021885962811}"/>
                    </a:ext>
                  </a:extLst>
                </p:cNvPr>
                <p:cNvSpPr>
                  <a:spLocks/>
                </p:cNvSpPr>
                <p:nvPr/>
              </p:nvSpPr>
              <p:spPr bwMode="gray">
                <a:xfrm>
                  <a:off x="5232101" y="3641837"/>
                  <a:ext cx="140302" cy="86140"/>
                </a:xfrm>
                <a:custGeom>
                  <a:avLst/>
                  <a:gdLst>
                    <a:gd name="T0" fmla="*/ 40 w 91"/>
                    <a:gd name="T1" fmla="*/ 0 h 57"/>
                    <a:gd name="T2" fmla="*/ 40 w 91"/>
                    <a:gd name="T3" fmla="*/ 23 h 57"/>
                    <a:gd name="T4" fmla="*/ 25 w 91"/>
                    <a:gd name="T5" fmla="*/ 23 h 57"/>
                    <a:gd name="T6" fmla="*/ 16 w 91"/>
                    <a:gd name="T7" fmla="*/ 7 h 57"/>
                    <a:gd name="T8" fmla="*/ 9 w 91"/>
                    <a:gd name="T9" fmla="*/ 15 h 57"/>
                    <a:gd name="T10" fmla="*/ 0 w 91"/>
                    <a:gd name="T11" fmla="*/ 32 h 57"/>
                    <a:gd name="T12" fmla="*/ 0 w 91"/>
                    <a:gd name="T13" fmla="*/ 47 h 57"/>
                    <a:gd name="T14" fmla="*/ 9 w 91"/>
                    <a:gd name="T15" fmla="*/ 40 h 57"/>
                    <a:gd name="T16" fmla="*/ 50 w 91"/>
                    <a:gd name="T17" fmla="*/ 40 h 57"/>
                    <a:gd name="T18" fmla="*/ 74 w 91"/>
                    <a:gd name="T19" fmla="*/ 56 h 57"/>
                    <a:gd name="T20" fmla="*/ 90 w 91"/>
                    <a:gd name="T21" fmla="*/ 40 h 57"/>
                    <a:gd name="T22" fmla="*/ 82 w 91"/>
                    <a:gd name="T23" fmla="*/ 23 h 57"/>
                    <a:gd name="T24" fmla="*/ 82 w 91"/>
                    <a:gd name="T25" fmla="*/ 7 h 57"/>
                    <a:gd name="T26" fmla="*/ 65 w 91"/>
                    <a:gd name="T27" fmla="*/ 7 h 57"/>
                    <a:gd name="T28" fmla="*/ 50 w 91"/>
                    <a:gd name="T29" fmla="*/ 0 h 57"/>
                    <a:gd name="T30" fmla="*/ 40 w 91"/>
                    <a:gd name="T3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6350" cap="rnd" cmpd="sng">
                  <a:solidFill>
                    <a:srgbClr val="D0D0D0"/>
                  </a:solidFill>
                  <a:prstDash val="solid"/>
                  <a:round/>
                  <a:headEnd/>
                  <a:tailEnd/>
                </a:ln>
                <a:effectLst/>
              </p:spPr>
              <p:txBody>
                <a:bodyPr/>
                <a:lstStyle/>
                <a:p>
                  <a:endParaRPr lang="de-DE" dirty="0"/>
                </a:p>
              </p:txBody>
            </p:sp>
            <p:sp>
              <p:nvSpPr>
                <p:cNvPr id="669" name="Freeform 106">
                  <a:extLst>
                    <a:ext uri="{FF2B5EF4-FFF2-40B4-BE49-F238E27FC236}">
                      <a16:creationId xmlns:a16="http://schemas.microsoft.com/office/drawing/2014/main" id="{8F76175D-060C-968A-0ADC-323401EC3F65}"/>
                    </a:ext>
                  </a:extLst>
                </p:cNvPr>
                <p:cNvSpPr>
                  <a:spLocks/>
                </p:cNvSpPr>
                <p:nvPr/>
              </p:nvSpPr>
              <p:spPr bwMode="gray">
                <a:xfrm>
                  <a:off x="5232101" y="3701374"/>
                  <a:ext cx="115845" cy="88673"/>
                </a:xfrm>
                <a:custGeom>
                  <a:avLst/>
                  <a:gdLst>
                    <a:gd name="T0" fmla="*/ 0 w 75"/>
                    <a:gd name="T1" fmla="*/ 25 h 58"/>
                    <a:gd name="T2" fmla="*/ 0 w 75"/>
                    <a:gd name="T3" fmla="*/ 16 h 58"/>
                    <a:gd name="T4" fmla="*/ 0 w 75"/>
                    <a:gd name="T5" fmla="*/ 7 h 58"/>
                    <a:gd name="T6" fmla="*/ 9 w 75"/>
                    <a:gd name="T7" fmla="*/ 0 h 58"/>
                    <a:gd name="T8" fmla="*/ 50 w 75"/>
                    <a:gd name="T9" fmla="*/ 0 h 58"/>
                    <a:gd name="T10" fmla="*/ 74 w 75"/>
                    <a:gd name="T11" fmla="*/ 16 h 58"/>
                    <a:gd name="T12" fmla="*/ 74 w 75"/>
                    <a:gd name="T13" fmla="*/ 25 h 58"/>
                    <a:gd name="T14" fmla="*/ 57 w 75"/>
                    <a:gd name="T15" fmla="*/ 32 h 58"/>
                    <a:gd name="T16" fmla="*/ 57 w 75"/>
                    <a:gd name="T17" fmla="*/ 47 h 58"/>
                    <a:gd name="T18" fmla="*/ 50 w 75"/>
                    <a:gd name="T19" fmla="*/ 47 h 58"/>
                    <a:gd name="T20" fmla="*/ 32 w 75"/>
                    <a:gd name="T21" fmla="*/ 57 h 58"/>
                    <a:gd name="T22" fmla="*/ 25 w 75"/>
                    <a:gd name="T23" fmla="*/ 57 h 58"/>
                    <a:gd name="T24" fmla="*/ 16 w 75"/>
                    <a:gd name="T25" fmla="*/ 47 h 58"/>
                    <a:gd name="T26" fmla="*/ 16 w 75"/>
                    <a:gd name="T27" fmla="*/ 25 h 58"/>
                    <a:gd name="T28" fmla="*/ 0 w 75"/>
                    <a:gd name="T29"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70" name="Freeform 107">
                  <a:extLst>
                    <a:ext uri="{FF2B5EF4-FFF2-40B4-BE49-F238E27FC236}">
                      <a16:creationId xmlns:a16="http://schemas.microsoft.com/office/drawing/2014/main" id="{E7945D97-5A33-4197-2E6C-296865D77DCD}"/>
                    </a:ext>
                  </a:extLst>
                </p:cNvPr>
                <p:cNvSpPr>
                  <a:spLocks/>
                </p:cNvSpPr>
                <p:nvPr/>
              </p:nvSpPr>
              <p:spPr bwMode="gray">
                <a:xfrm>
                  <a:off x="5282301" y="3589899"/>
                  <a:ext cx="90102" cy="63338"/>
                </a:xfrm>
                <a:custGeom>
                  <a:avLst/>
                  <a:gdLst>
                    <a:gd name="T0" fmla="*/ 8 w 59"/>
                    <a:gd name="T1" fmla="*/ 34 h 42"/>
                    <a:gd name="T2" fmla="*/ 0 w 59"/>
                    <a:gd name="T3" fmla="*/ 24 h 42"/>
                    <a:gd name="T4" fmla="*/ 0 w 59"/>
                    <a:gd name="T5" fmla="*/ 9 h 42"/>
                    <a:gd name="T6" fmla="*/ 8 w 59"/>
                    <a:gd name="T7" fmla="*/ 0 h 42"/>
                    <a:gd name="T8" fmla="*/ 58 w 59"/>
                    <a:gd name="T9" fmla="*/ 0 h 42"/>
                    <a:gd name="T10" fmla="*/ 50 w 59"/>
                    <a:gd name="T11" fmla="*/ 9 h 42"/>
                    <a:gd name="T12" fmla="*/ 42 w 59"/>
                    <a:gd name="T13" fmla="*/ 9 h 42"/>
                    <a:gd name="T14" fmla="*/ 50 w 59"/>
                    <a:gd name="T15" fmla="*/ 34 h 42"/>
                    <a:gd name="T16" fmla="*/ 50 w 59"/>
                    <a:gd name="T17" fmla="*/ 41 h 42"/>
                    <a:gd name="T18" fmla="*/ 33 w 59"/>
                    <a:gd name="T19" fmla="*/ 41 h 42"/>
                    <a:gd name="T20" fmla="*/ 18 w 59"/>
                    <a:gd name="T21" fmla="*/ 34 h 42"/>
                    <a:gd name="T22" fmla="*/ 8 w 59"/>
                    <a:gd name="T2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6350" cap="rnd" cmpd="sng">
                  <a:solidFill>
                    <a:srgbClr val="D0D0D0"/>
                  </a:solidFill>
                  <a:prstDash val="solid"/>
                  <a:round/>
                  <a:headEnd/>
                  <a:tailEnd/>
                </a:ln>
                <a:effectLst/>
              </p:spPr>
              <p:txBody>
                <a:bodyPr/>
                <a:lstStyle/>
                <a:p>
                  <a:endParaRPr lang="de-DE" dirty="0"/>
                </a:p>
              </p:txBody>
            </p:sp>
            <p:sp>
              <p:nvSpPr>
                <p:cNvPr id="671" name="Freeform 108">
                  <a:extLst>
                    <a:ext uri="{FF2B5EF4-FFF2-40B4-BE49-F238E27FC236}">
                      <a16:creationId xmlns:a16="http://schemas.microsoft.com/office/drawing/2014/main" id="{DCDD6C91-C10E-FEC5-81BF-1EFEC05E65D8}"/>
                    </a:ext>
                  </a:extLst>
                </p:cNvPr>
                <p:cNvSpPr>
                  <a:spLocks/>
                </p:cNvSpPr>
                <p:nvPr/>
              </p:nvSpPr>
              <p:spPr bwMode="gray">
                <a:xfrm>
                  <a:off x="5196060" y="3739377"/>
                  <a:ext cx="63072" cy="35469"/>
                </a:xfrm>
                <a:custGeom>
                  <a:avLst/>
                  <a:gdLst>
                    <a:gd name="T0" fmla="*/ 40 w 41"/>
                    <a:gd name="T1" fmla="*/ 0 h 23"/>
                    <a:gd name="T2" fmla="*/ 40 w 41"/>
                    <a:gd name="T3" fmla="*/ 22 h 23"/>
                    <a:gd name="T4" fmla="*/ 24 w 41"/>
                    <a:gd name="T5" fmla="*/ 22 h 23"/>
                    <a:gd name="T6" fmla="*/ 0 w 41"/>
                    <a:gd name="T7" fmla="*/ 16 h 23"/>
                    <a:gd name="T8" fmla="*/ 15 w 41"/>
                    <a:gd name="T9" fmla="*/ 7 h 23"/>
                    <a:gd name="T10" fmla="*/ 24 w 41"/>
                    <a:gd name="T11" fmla="*/ 0 h 23"/>
                    <a:gd name="T12" fmla="*/ 40 w 41"/>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1" h="23">
                      <a:moveTo>
                        <a:pt x="40" y="0"/>
                      </a:moveTo>
                      <a:lnTo>
                        <a:pt x="40" y="22"/>
                      </a:lnTo>
                      <a:lnTo>
                        <a:pt x="24" y="22"/>
                      </a:lnTo>
                      <a:lnTo>
                        <a:pt x="0" y="16"/>
                      </a:lnTo>
                      <a:lnTo>
                        <a:pt x="15" y="7"/>
                      </a:lnTo>
                      <a:lnTo>
                        <a:pt x="24" y="0"/>
                      </a:lnTo>
                      <a:lnTo>
                        <a:pt x="40" y="0"/>
                      </a:lnTo>
                    </a:path>
                  </a:pathLst>
                </a:custGeom>
                <a:grpFill/>
                <a:ln w="6350" cap="rnd" cmpd="sng">
                  <a:solidFill>
                    <a:srgbClr val="D0D0D0"/>
                  </a:solidFill>
                  <a:prstDash val="solid"/>
                  <a:round/>
                  <a:headEnd/>
                  <a:tailEnd/>
                </a:ln>
                <a:effectLst/>
              </p:spPr>
              <p:txBody>
                <a:bodyPr/>
                <a:lstStyle/>
                <a:p>
                  <a:endParaRPr lang="de-DE" dirty="0"/>
                </a:p>
              </p:txBody>
            </p:sp>
            <p:sp>
              <p:nvSpPr>
                <p:cNvPr id="672" name="Freeform 109">
                  <a:extLst>
                    <a:ext uri="{FF2B5EF4-FFF2-40B4-BE49-F238E27FC236}">
                      <a16:creationId xmlns:a16="http://schemas.microsoft.com/office/drawing/2014/main" id="{C6D60CB8-8AEA-8276-EF47-6FAE90277981}"/>
                    </a:ext>
                  </a:extLst>
                </p:cNvPr>
                <p:cNvSpPr>
                  <a:spLocks/>
                </p:cNvSpPr>
                <p:nvPr/>
              </p:nvSpPr>
              <p:spPr bwMode="gray">
                <a:xfrm>
                  <a:off x="5596371" y="4094069"/>
                  <a:ext cx="136441" cy="49404"/>
                </a:xfrm>
                <a:custGeom>
                  <a:avLst/>
                  <a:gdLst>
                    <a:gd name="T0" fmla="*/ 25 w 89"/>
                    <a:gd name="T1" fmla="*/ 32 h 33"/>
                    <a:gd name="T2" fmla="*/ 25 w 89"/>
                    <a:gd name="T3" fmla="*/ 24 h 33"/>
                    <a:gd name="T4" fmla="*/ 25 w 89"/>
                    <a:gd name="T5" fmla="*/ 15 h 33"/>
                    <a:gd name="T6" fmla="*/ 0 w 89"/>
                    <a:gd name="T7" fmla="*/ 0 h 33"/>
                    <a:gd name="T8" fmla="*/ 40 w 89"/>
                    <a:gd name="T9" fmla="*/ 0 h 33"/>
                    <a:gd name="T10" fmla="*/ 57 w 89"/>
                    <a:gd name="T11" fmla="*/ 9 h 33"/>
                    <a:gd name="T12" fmla="*/ 72 w 89"/>
                    <a:gd name="T13" fmla="*/ 9 h 33"/>
                    <a:gd name="T14" fmla="*/ 88 w 89"/>
                    <a:gd name="T15" fmla="*/ 24 h 33"/>
                    <a:gd name="T16" fmla="*/ 81 w 89"/>
                    <a:gd name="T17" fmla="*/ 24 h 33"/>
                    <a:gd name="T18" fmla="*/ 88 w 89"/>
                    <a:gd name="T19" fmla="*/ 32 h 33"/>
                    <a:gd name="T20" fmla="*/ 72 w 89"/>
                    <a:gd name="T21" fmla="*/ 32 h 33"/>
                    <a:gd name="T22" fmla="*/ 65 w 89"/>
                    <a:gd name="T23" fmla="*/ 32 h 33"/>
                    <a:gd name="T24" fmla="*/ 48 w 89"/>
                    <a:gd name="T25" fmla="*/ 32 h 33"/>
                    <a:gd name="T26" fmla="*/ 25 w 89"/>
                    <a:gd name="T2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6350" cap="rnd" cmpd="sng">
                  <a:solidFill>
                    <a:srgbClr val="D0D0D0"/>
                  </a:solidFill>
                  <a:prstDash val="solid"/>
                  <a:round/>
                  <a:headEnd/>
                  <a:tailEnd/>
                </a:ln>
                <a:effectLst/>
              </p:spPr>
              <p:txBody>
                <a:bodyPr/>
                <a:lstStyle/>
                <a:p>
                  <a:endParaRPr lang="de-DE" dirty="0"/>
                </a:p>
              </p:txBody>
            </p:sp>
            <p:sp>
              <p:nvSpPr>
                <p:cNvPr id="673" name="Freeform 110">
                  <a:extLst>
                    <a:ext uri="{FF2B5EF4-FFF2-40B4-BE49-F238E27FC236}">
                      <a16:creationId xmlns:a16="http://schemas.microsoft.com/office/drawing/2014/main" id="{4D97B2E3-596A-22D0-AE70-AB291249CE1F}"/>
                    </a:ext>
                  </a:extLst>
                </p:cNvPr>
                <p:cNvSpPr>
                  <a:spLocks/>
                </p:cNvSpPr>
                <p:nvPr/>
              </p:nvSpPr>
              <p:spPr bwMode="gray">
                <a:xfrm>
                  <a:off x="5669740" y="4142207"/>
                  <a:ext cx="63072" cy="62071"/>
                </a:xfrm>
                <a:custGeom>
                  <a:avLst/>
                  <a:gdLst>
                    <a:gd name="T0" fmla="*/ 40 w 41"/>
                    <a:gd name="T1" fmla="*/ 40 h 41"/>
                    <a:gd name="T2" fmla="*/ 40 w 41"/>
                    <a:gd name="T3" fmla="*/ 33 h 41"/>
                    <a:gd name="T4" fmla="*/ 33 w 41"/>
                    <a:gd name="T5" fmla="*/ 24 h 41"/>
                    <a:gd name="T6" fmla="*/ 33 w 41"/>
                    <a:gd name="T7" fmla="*/ 17 h 41"/>
                    <a:gd name="T8" fmla="*/ 17 w 41"/>
                    <a:gd name="T9" fmla="*/ 0 h 41"/>
                    <a:gd name="T10" fmla="*/ 0 w 41"/>
                    <a:gd name="T11" fmla="*/ 0 h 41"/>
                    <a:gd name="T12" fmla="*/ 9 w 41"/>
                    <a:gd name="T13" fmla="*/ 24 h 41"/>
                    <a:gd name="T14" fmla="*/ 17 w 41"/>
                    <a:gd name="T15" fmla="*/ 24 h 41"/>
                    <a:gd name="T16" fmla="*/ 33 w 41"/>
                    <a:gd name="T17" fmla="*/ 33 h 41"/>
                    <a:gd name="T18" fmla="*/ 33 w 41"/>
                    <a:gd name="T19" fmla="*/ 40 h 41"/>
                    <a:gd name="T20" fmla="*/ 40 w 41"/>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6350" cap="rnd" cmpd="sng">
                  <a:solidFill>
                    <a:srgbClr val="D0D0D0"/>
                  </a:solidFill>
                  <a:prstDash val="solid"/>
                  <a:round/>
                  <a:headEnd/>
                  <a:tailEnd/>
                </a:ln>
                <a:effectLst/>
              </p:spPr>
              <p:txBody>
                <a:bodyPr/>
                <a:lstStyle/>
                <a:p>
                  <a:endParaRPr lang="de-DE" dirty="0"/>
                </a:p>
              </p:txBody>
            </p:sp>
            <p:sp>
              <p:nvSpPr>
                <p:cNvPr id="674" name="Freeform 112">
                  <a:extLst>
                    <a:ext uri="{FF2B5EF4-FFF2-40B4-BE49-F238E27FC236}">
                      <a16:creationId xmlns:a16="http://schemas.microsoft.com/office/drawing/2014/main" id="{F3F0DE50-7F67-2074-7355-667C01FBBD33}"/>
                    </a:ext>
                  </a:extLst>
                </p:cNvPr>
                <p:cNvSpPr>
                  <a:spLocks/>
                </p:cNvSpPr>
                <p:nvPr/>
              </p:nvSpPr>
              <p:spPr bwMode="gray">
                <a:xfrm>
                  <a:off x="5695483" y="4130805"/>
                  <a:ext cx="111984" cy="87406"/>
                </a:xfrm>
                <a:custGeom>
                  <a:avLst/>
                  <a:gdLst>
                    <a:gd name="T0" fmla="*/ 23 w 73"/>
                    <a:gd name="T1" fmla="*/ 48 h 58"/>
                    <a:gd name="T2" fmla="*/ 40 w 73"/>
                    <a:gd name="T3" fmla="*/ 41 h 58"/>
                    <a:gd name="T4" fmla="*/ 48 w 73"/>
                    <a:gd name="T5" fmla="*/ 41 h 58"/>
                    <a:gd name="T6" fmla="*/ 40 w 73"/>
                    <a:gd name="T7" fmla="*/ 48 h 58"/>
                    <a:gd name="T8" fmla="*/ 57 w 73"/>
                    <a:gd name="T9" fmla="*/ 57 h 58"/>
                    <a:gd name="T10" fmla="*/ 48 w 73"/>
                    <a:gd name="T11" fmla="*/ 48 h 58"/>
                    <a:gd name="T12" fmla="*/ 57 w 73"/>
                    <a:gd name="T13" fmla="*/ 48 h 58"/>
                    <a:gd name="T14" fmla="*/ 57 w 73"/>
                    <a:gd name="T15" fmla="*/ 32 h 58"/>
                    <a:gd name="T16" fmla="*/ 72 w 73"/>
                    <a:gd name="T17" fmla="*/ 25 h 58"/>
                    <a:gd name="T18" fmla="*/ 57 w 73"/>
                    <a:gd name="T19" fmla="*/ 16 h 58"/>
                    <a:gd name="T20" fmla="*/ 48 w 73"/>
                    <a:gd name="T21" fmla="*/ 0 h 58"/>
                    <a:gd name="T22" fmla="*/ 40 w 73"/>
                    <a:gd name="T23" fmla="*/ 8 h 58"/>
                    <a:gd name="T24" fmla="*/ 32 w 73"/>
                    <a:gd name="T25" fmla="*/ 8 h 58"/>
                    <a:gd name="T26" fmla="*/ 23 w 73"/>
                    <a:gd name="T27" fmla="*/ 0 h 58"/>
                    <a:gd name="T28" fmla="*/ 16 w 73"/>
                    <a:gd name="T29" fmla="*/ 0 h 58"/>
                    <a:gd name="T30" fmla="*/ 23 w 73"/>
                    <a:gd name="T31" fmla="*/ 8 h 58"/>
                    <a:gd name="T32" fmla="*/ 7 w 73"/>
                    <a:gd name="T33" fmla="*/ 8 h 58"/>
                    <a:gd name="T34" fmla="*/ 0 w 73"/>
                    <a:gd name="T35" fmla="*/ 8 h 58"/>
                    <a:gd name="T36" fmla="*/ 16 w 73"/>
                    <a:gd name="T37" fmla="*/ 25 h 58"/>
                    <a:gd name="T38" fmla="*/ 16 w 73"/>
                    <a:gd name="T39" fmla="*/ 32 h 58"/>
                    <a:gd name="T40" fmla="*/ 23 w 73"/>
                    <a:gd name="T41" fmla="*/ 41 h 58"/>
                    <a:gd name="T42" fmla="*/ 23 w 73"/>
                    <a:gd name="T43"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75" name="Freeform 113">
                  <a:extLst>
                    <a:ext uri="{FF2B5EF4-FFF2-40B4-BE49-F238E27FC236}">
                      <a16:creationId xmlns:a16="http://schemas.microsoft.com/office/drawing/2014/main" id="{CAA6AAED-A28F-1172-0E01-3CA5175E9375}"/>
                    </a:ext>
                  </a:extLst>
                </p:cNvPr>
                <p:cNvSpPr>
                  <a:spLocks/>
                </p:cNvSpPr>
                <p:nvPr/>
              </p:nvSpPr>
              <p:spPr bwMode="gray">
                <a:xfrm>
                  <a:off x="5032589" y="3161734"/>
                  <a:ext cx="250999" cy="578910"/>
                </a:xfrm>
                <a:custGeom>
                  <a:avLst/>
                  <a:gdLst>
                    <a:gd name="T0" fmla="*/ 0 w 163"/>
                    <a:gd name="T1" fmla="*/ 299 h 383"/>
                    <a:gd name="T2" fmla="*/ 9 w 163"/>
                    <a:gd name="T3" fmla="*/ 299 h 383"/>
                    <a:gd name="T4" fmla="*/ 9 w 163"/>
                    <a:gd name="T5" fmla="*/ 276 h 383"/>
                    <a:gd name="T6" fmla="*/ 18 w 163"/>
                    <a:gd name="T7" fmla="*/ 267 h 383"/>
                    <a:gd name="T8" fmla="*/ 18 w 163"/>
                    <a:gd name="T9" fmla="*/ 243 h 383"/>
                    <a:gd name="T10" fmla="*/ 18 w 163"/>
                    <a:gd name="T11" fmla="*/ 236 h 383"/>
                    <a:gd name="T12" fmla="*/ 9 w 163"/>
                    <a:gd name="T13" fmla="*/ 202 h 383"/>
                    <a:gd name="T14" fmla="*/ 18 w 163"/>
                    <a:gd name="T15" fmla="*/ 170 h 383"/>
                    <a:gd name="T16" fmla="*/ 25 w 163"/>
                    <a:gd name="T17" fmla="*/ 162 h 383"/>
                    <a:gd name="T18" fmla="*/ 41 w 163"/>
                    <a:gd name="T19" fmla="*/ 155 h 383"/>
                    <a:gd name="T20" fmla="*/ 33 w 163"/>
                    <a:gd name="T21" fmla="*/ 137 h 383"/>
                    <a:gd name="T22" fmla="*/ 41 w 163"/>
                    <a:gd name="T23" fmla="*/ 122 h 383"/>
                    <a:gd name="T24" fmla="*/ 50 w 163"/>
                    <a:gd name="T25" fmla="*/ 97 h 383"/>
                    <a:gd name="T26" fmla="*/ 65 w 163"/>
                    <a:gd name="T27" fmla="*/ 73 h 383"/>
                    <a:gd name="T28" fmla="*/ 65 w 163"/>
                    <a:gd name="T29" fmla="*/ 56 h 383"/>
                    <a:gd name="T30" fmla="*/ 75 w 163"/>
                    <a:gd name="T31" fmla="*/ 41 h 383"/>
                    <a:gd name="T32" fmla="*/ 81 w 163"/>
                    <a:gd name="T33" fmla="*/ 31 h 383"/>
                    <a:gd name="T34" fmla="*/ 90 w 163"/>
                    <a:gd name="T35" fmla="*/ 31 h 383"/>
                    <a:gd name="T36" fmla="*/ 90 w 163"/>
                    <a:gd name="T37" fmla="*/ 16 h 383"/>
                    <a:gd name="T38" fmla="*/ 98 w 163"/>
                    <a:gd name="T39" fmla="*/ 16 h 383"/>
                    <a:gd name="T40" fmla="*/ 115 w 163"/>
                    <a:gd name="T41" fmla="*/ 16 h 383"/>
                    <a:gd name="T42" fmla="*/ 115 w 163"/>
                    <a:gd name="T43" fmla="*/ 0 h 383"/>
                    <a:gd name="T44" fmla="*/ 121 w 163"/>
                    <a:gd name="T45" fmla="*/ 0 h 383"/>
                    <a:gd name="T46" fmla="*/ 155 w 163"/>
                    <a:gd name="T47" fmla="*/ 31 h 383"/>
                    <a:gd name="T48" fmla="*/ 162 w 163"/>
                    <a:gd name="T49" fmla="*/ 105 h 383"/>
                    <a:gd name="T50" fmla="*/ 146 w 163"/>
                    <a:gd name="T51" fmla="*/ 105 h 383"/>
                    <a:gd name="T52" fmla="*/ 130 w 163"/>
                    <a:gd name="T53" fmla="*/ 122 h 383"/>
                    <a:gd name="T54" fmla="*/ 130 w 163"/>
                    <a:gd name="T55" fmla="*/ 130 h 383"/>
                    <a:gd name="T56" fmla="*/ 130 w 163"/>
                    <a:gd name="T57" fmla="*/ 137 h 383"/>
                    <a:gd name="T58" fmla="*/ 139 w 163"/>
                    <a:gd name="T59" fmla="*/ 146 h 383"/>
                    <a:gd name="T60" fmla="*/ 121 w 163"/>
                    <a:gd name="T61" fmla="*/ 162 h 383"/>
                    <a:gd name="T62" fmla="*/ 98 w 163"/>
                    <a:gd name="T63" fmla="*/ 187 h 383"/>
                    <a:gd name="T64" fmla="*/ 81 w 163"/>
                    <a:gd name="T65" fmla="*/ 212 h 383"/>
                    <a:gd name="T66" fmla="*/ 81 w 163"/>
                    <a:gd name="T67" fmla="*/ 252 h 383"/>
                    <a:gd name="T68" fmla="*/ 98 w 163"/>
                    <a:gd name="T69" fmla="*/ 276 h 383"/>
                    <a:gd name="T70" fmla="*/ 90 w 163"/>
                    <a:gd name="T71" fmla="*/ 283 h 383"/>
                    <a:gd name="T72" fmla="*/ 90 w 163"/>
                    <a:gd name="T73" fmla="*/ 292 h 383"/>
                    <a:gd name="T74" fmla="*/ 75 w 163"/>
                    <a:gd name="T75" fmla="*/ 307 h 383"/>
                    <a:gd name="T76" fmla="*/ 65 w 163"/>
                    <a:gd name="T77" fmla="*/ 364 h 383"/>
                    <a:gd name="T78" fmla="*/ 50 w 163"/>
                    <a:gd name="T79" fmla="*/ 364 h 383"/>
                    <a:gd name="T80" fmla="*/ 41 w 163"/>
                    <a:gd name="T81" fmla="*/ 373 h 383"/>
                    <a:gd name="T82" fmla="*/ 41 w 163"/>
                    <a:gd name="T83" fmla="*/ 382 h 383"/>
                    <a:gd name="T84" fmla="*/ 25 w 163"/>
                    <a:gd name="T85" fmla="*/ 382 h 383"/>
                    <a:gd name="T86" fmla="*/ 18 w 163"/>
                    <a:gd name="T87" fmla="*/ 364 h 383"/>
                    <a:gd name="T88" fmla="*/ 25 w 163"/>
                    <a:gd name="T89" fmla="*/ 357 h 383"/>
                    <a:gd name="T90" fmla="*/ 18 w 163"/>
                    <a:gd name="T91" fmla="*/ 349 h 383"/>
                    <a:gd name="T92" fmla="*/ 0 w 163"/>
                    <a:gd name="T93" fmla="*/ 2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76" name="Freeform 114">
                  <a:extLst>
                    <a:ext uri="{FF2B5EF4-FFF2-40B4-BE49-F238E27FC236}">
                      <a16:creationId xmlns:a16="http://schemas.microsoft.com/office/drawing/2014/main" id="{7063EB41-26C6-487A-51EE-F998E0830498}"/>
                    </a:ext>
                  </a:extLst>
                </p:cNvPr>
                <p:cNvSpPr>
                  <a:spLocks/>
                </p:cNvSpPr>
                <p:nvPr/>
              </p:nvSpPr>
              <p:spPr bwMode="gray">
                <a:xfrm>
                  <a:off x="4659309" y="3739377"/>
                  <a:ext cx="52774" cy="50670"/>
                </a:xfrm>
                <a:custGeom>
                  <a:avLst/>
                  <a:gdLst>
                    <a:gd name="T0" fmla="*/ 25 w 35"/>
                    <a:gd name="T1" fmla="*/ 32 h 33"/>
                    <a:gd name="T2" fmla="*/ 25 w 35"/>
                    <a:gd name="T3" fmla="*/ 22 h 33"/>
                    <a:gd name="T4" fmla="*/ 9 w 35"/>
                    <a:gd name="T5" fmla="*/ 22 h 33"/>
                    <a:gd name="T6" fmla="*/ 0 w 35"/>
                    <a:gd name="T7" fmla="*/ 16 h 33"/>
                    <a:gd name="T8" fmla="*/ 9 w 35"/>
                    <a:gd name="T9" fmla="*/ 0 h 33"/>
                    <a:gd name="T10" fmla="*/ 25 w 35"/>
                    <a:gd name="T11" fmla="*/ 7 h 33"/>
                    <a:gd name="T12" fmla="*/ 34 w 35"/>
                    <a:gd name="T13" fmla="*/ 22 h 33"/>
                    <a:gd name="T14" fmla="*/ 25 w 35"/>
                    <a:gd name="T15" fmla="*/ 32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6350" cap="rnd" cmpd="sng">
                  <a:solidFill>
                    <a:srgbClr val="D0D0D0"/>
                  </a:solidFill>
                  <a:prstDash val="solid"/>
                  <a:round/>
                  <a:headEnd/>
                  <a:tailEnd/>
                </a:ln>
                <a:effectLst/>
              </p:spPr>
              <p:txBody>
                <a:bodyPr/>
                <a:lstStyle/>
                <a:p>
                  <a:endParaRPr lang="de-DE" dirty="0"/>
                </a:p>
              </p:txBody>
            </p:sp>
            <p:sp>
              <p:nvSpPr>
                <p:cNvPr id="677" name="Freeform 115">
                  <a:extLst>
                    <a:ext uri="{FF2B5EF4-FFF2-40B4-BE49-F238E27FC236}">
                      <a16:creationId xmlns:a16="http://schemas.microsoft.com/office/drawing/2014/main" id="{D72594D0-6C71-ED7C-4573-B3728DB818C7}"/>
                    </a:ext>
                  </a:extLst>
                </p:cNvPr>
                <p:cNvSpPr>
                  <a:spLocks/>
                </p:cNvSpPr>
                <p:nvPr/>
              </p:nvSpPr>
              <p:spPr bwMode="gray">
                <a:xfrm>
                  <a:off x="4607821" y="3739377"/>
                  <a:ext cx="91389" cy="124142"/>
                </a:xfrm>
                <a:custGeom>
                  <a:avLst/>
                  <a:gdLst>
                    <a:gd name="T0" fmla="*/ 42 w 59"/>
                    <a:gd name="T1" fmla="*/ 0 h 82"/>
                    <a:gd name="T2" fmla="*/ 33 w 59"/>
                    <a:gd name="T3" fmla="*/ 16 h 82"/>
                    <a:gd name="T4" fmla="*/ 42 w 59"/>
                    <a:gd name="T5" fmla="*/ 22 h 82"/>
                    <a:gd name="T6" fmla="*/ 58 w 59"/>
                    <a:gd name="T7" fmla="*/ 22 h 82"/>
                    <a:gd name="T8" fmla="*/ 58 w 59"/>
                    <a:gd name="T9" fmla="*/ 32 h 82"/>
                    <a:gd name="T10" fmla="*/ 58 w 59"/>
                    <a:gd name="T11" fmla="*/ 47 h 82"/>
                    <a:gd name="T12" fmla="*/ 49 w 59"/>
                    <a:gd name="T13" fmla="*/ 72 h 82"/>
                    <a:gd name="T14" fmla="*/ 8 w 59"/>
                    <a:gd name="T15" fmla="*/ 81 h 82"/>
                    <a:gd name="T16" fmla="*/ 0 w 59"/>
                    <a:gd name="T17" fmla="*/ 72 h 82"/>
                    <a:gd name="T18" fmla="*/ 8 w 59"/>
                    <a:gd name="T19" fmla="*/ 72 h 82"/>
                    <a:gd name="T20" fmla="*/ 18 w 59"/>
                    <a:gd name="T21" fmla="*/ 47 h 82"/>
                    <a:gd name="T22" fmla="*/ 8 w 59"/>
                    <a:gd name="T23" fmla="*/ 40 h 82"/>
                    <a:gd name="T24" fmla="*/ 18 w 59"/>
                    <a:gd name="T25" fmla="*/ 32 h 82"/>
                    <a:gd name="T26" fmla="*/ 8 w 59"/>
                    <a:gd name="T27" fmla="*/ 32 h 82"/>
                    <a:gd name="T28" fmla="*/ 8 w 59"/>
                    <a:gd name="T29" fmla="*/ 22 h 82"/>
                    <a:gd name="T30" fmla="*/ 25 w 59"/>
                    <a:gd name="T31" fmla="*/ 22 h 82"/>
                    <a:gd name="T32" fmla="*/ 33 w 59"/>
                    <a:gd name="T33" fmla="*/ 16 h 82"/>
                    <a:gd name="T34" fmla="*/ 25 w 59"/>
                    <a:gd name="T35" fmla="*/ 16 h 82"/>
                    <a:gd name="T36" fmla="*/ 25 w 59"/>
                    <a:gd name="T37" fmla="*/ 7 h 82"/>
                    <a:gd name="T38" fmla="*/ 42 w 59"/>
                    <a:gd name="T3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6350" cap="rnd" cmpd="sng">
                  <a:solidFill>
                    <a:srgbClr val="D0D0D0"/>
                  </a:solidFill>
                  <a:prstDash val="solid"/>
                  <a:round/>
                  <a:headEnd/>
                  <a:tailEnd/>
                </a:ln>
                <a:effectLst/>
              </p:spPr>
              <p:txBody>
                <a:bodyPr/>
                <a:lstStyle/>
                <a:p>
                  <a:endParaRPr lang="de-DE" dirty="0"/>
                </a:p>
              </p:txBody>
            </p:sp>
            <p:sp>
              <p:nvSpPr>
                <p:cNvPr id="678" name="Freeform 116">
                  <a:extLst>
                    <a:ext uri="{FF2B5EF4-FFF2-40B4-BE49-F238E27FC236}">
                      <a16:creationId xmlns:a16="http://schemas.microsoft.com/office/drawing/2014/main" id="{7DCC71FA-1E33-9DDE-5563-30071DE81AA8}"/>
                    </a:ext>
                  </a:extLst>
                </p:cNvPr>
                <p:cNvSpPr>
                  <a:spLocks/>
                </p:cNvSpPr>
                <p:nvPr/>
              </p:nvSpPr>
              <p:spPr bwMode="gray">
                <a:xfrm>
                  <a:off x="4969518" y="3663372"/>
                  <a:ext cx="64359" cy="88673"/>
                </a:xfrm>
                <a:custGeom>
                  <a:avLst/>
                  <a:gdLst>
                    <a:gd name="T0" fmla="*/ 9 w 42"/>
                    <a:gd name="T1" fmla="*/ 57 h 58"/>
                    <a:gd name="T2" fmla="*/ 19 w 42"/>
                    <a:gd name="T3" fmla="*/ 57 h 58"/>
                    <a:gd name="T4" fmla="*/ 25 w 42"/>
                    <a:gd name="T5" fmla="*/ 57 h 58"/>
                    <a:gd name="T6" fmla="*/ 34 w 42"/>
                    <a:gd name="T7" fmla="*/ 32 h 58"/>
                    <a:gd name="T8" fmla="*/ 41 w 42"/>
                    <a:gd name="T9" fmla="*/ 32 h 58"/>
                    <a:gd name="T10" fmla="*/ 41 w 42"/>
                    <a:gd name="T11" fmla="*/ 25 h 58"/>
                    <a:gd name="T12" fmla="*/ 34 w 42"/>
                    <a:gd name="T13" fmla="*/ 25 h 58"/>
                    <a:gd name="T14" fmla="*/ 34 w 42"/>
                    <a:gd name="T15" fmla="*/ 0 h 58"/>
                    <a:gd name="T16" fmla="*/ 9 w 42"/>
                    <a:gd name="T17" fmla="*/ 8 h 58"/>
                    <a:gd name="T18" fmla="*/ 0 w 42"/>
                    <a:gd name="T19" fmla="*/ 25 h 58"/>
                    <a:gd name="T20" fmla="*/ 0 w 42"/>
                    <a:gd name="T21" fmla="*/ 41 h 58"/>
                    <a:gd name="T22" fmla="*/ 9 w 42"/>
                    <a:gd name="T23" fmla="*/ 50 h 58"/>
                    <a:gd name="T24" fmla="*/ 9 w 42"/>
                    <a:gd name="T25"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6350" cap="rnd" cmpd="sng">
                  <a:solidFill>
                    <a:srgbClr val="D0D0D0"/>
                  </a:solidFill>
                  <a:prstDash val="solid"/>
                  <a:round/>
                  <a:headEnd/>
                  <a:tailEnd/>
                </a:ln>
                <a:effectLst/>
              </p:spPr>
              <p:txBody>
                <a:bodyPr/>
                <a:lstStyle/>
                <a:p>
                  <a:endParaRPr lang="de-DE" dirty="0"/>
                </a:p>
              </p:txBody>
            </p:sp>
            <p:sp>
              <p:nvSpPr>
                <p:cNvPr id="679" name="Freeform 117">
                  <a:extLst>
                    <a:ext uri="{FF2B5EF4-FFF2-40B4-BE49-F238E27FC236}">
                      <a16:creationId xmlns:a16="http://schemas.microsoft.com/office/drawing/2014/main" id="{86B0BC5D-A6BD-7C03-33CC-CEE81F522D38}"/>
                    </a:ext>
                  </a:extLst>
                </p:cNvPr>
                <p:cNvSpPr>
                  <a:spLocks/>
                </p:cNvSpPr>
                <p:nvPr/>
              </p:nvSpPr>
              <p:spPr bwMode="gray">
                <a:xfrm>
                  <a:off x="4883277" y="3800182"/>
                  <a:ext cx="78517" cy="86140"/>
                </a:xfrm>
                <a:custGeom>
                  <a:avLst/>
                  <a:gdLst>
                    <a:gd name="T0" fmla="*/ 33 w 51"/>
                    <a:gd name="T1" fmla="*/ 56 h 57"/>
                    <a:gd name="T2" fmla="*/ 33 w 51"/>
                    <a:gd name="T3" fmla="*/ 32 h 57"/>
                    <a:gd name="T4" fmla="*/ 41 w 51"/>
                    <a:gd name="T5" fmla="*/ 23 h 57"/>
                    <a:gd name="T6" fmla="*/ 50 w 51"/>
                    <a:gd name="T7" fmla="*/ 0 h 57"/>
                    <a:gd name="T8" fmla="*/ 25 w 51"/>
                    <a:gd name="T9" fmla="*/ 7 h 57"/>
                    <a:gd name="T10" fmla="*/ 33 w 51"/>
                    <a:gd name="T11" fmla="*/ 23 h 57"/>
                    <a:gd name="T12" fmla="*/ 25 w 51"/>
                    <a:gd name="T13" fmla="*/ 23 h 57"/>
                    <a:gd name="T14" fmla="*/ 25 w 51"/>
                    <a:gd name="T15" fmla="*/ 16 h 57"/>
                    <a:gd name="T16" fmla="*/ 16 w 51"/>
                    <a:gd name="T17" fmla="*/ 16 h 57"/>
                    <a:gd name="T18" fmla="*/ 0 w 51"/>
                    <a:gd name="T19" fmla="*/ 47 h 57"/>
                    <a:gd name="T20" fmla="*/ 25 w 51"/>
                    <a:gd name="T21" fmla="*/ 47 h 57"/>
                    <a:gd name="T22" fmla="*/ 33 w 51"/>
                    <a:gd name="T23"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6350" cap="rnd" cmpd="sng">
                  <a:solidFill>
                    <a:srgbClr val="D0D0D0"/>
                  </a:solidFill>
                  <a:prstDash val="solid"/>
                  <a:round/>
                  <a:headEnd/>
                  <a:tailEnd/>
                </a:ln>
                <a:effectLst/>
              </p:spPr>
              <p:txBody>
                <a:bodyPr/>
                <a:lstStyle/>
                <a:p>
                  <a:endParaRPr lang="de-DE" dirty="0"/>
                </a:p>
              </p:txBody>
            </p:sp>
            <p:sp>
              <p:nvSpPr>
                <p:cNvPr id="680" name="Freeform 118">
                  <a:extLst>
                    <a:ext uri="{FF2B5EF4-FFF2-40B4-BE49-F238E27FC236}">
                      <a16:creationId xmlns:a16="http://schemas.microsoft.com/office/drawing/2014/main" id="{418F51D7-20D0-16BB-AF84-D9CB43FC5B34}"/>
                    </a:ext>
                  </a:extLst>
                </p:cNvPr>
                <p:cNvSpPr>
                  <a:spLocks/>
                </p:cNvSpPr>
                <p:nvPr/>
              </p:nvSpPr>
              <p:spPr bwMode="gray">
                <a:xfrm>
                  <a:off x="4869118" y="3871119"/>
                  <a:ext cx="66933" cy="53203"/>
                </a:xfrm>
                <a:custGeom>
                  <a:avLst/>
                  <a:gdLst>
                    <a:gd name="T0" fmla="*/ 34 w 43"/>
                    <a:gd name="T1" fmla="*/ 34 h 35"/>
                    <a:gd name="T2" fmla="*/ 25 w 43"/>
                    <a:gd name="T3" fmla="*/ 34 h 35"/>
                    <a:gd name="T4" fmla="*/ 25 w 43"/>
                    <a:gd name="T5" fmla="*/ 25 h 35"/>
                    <a:gd name="T6" fmla="*/ 18 w 43"/>
                    <a:gd name="T7" fmla="*/ 25 h 35"/>
                    <a:gd name="T8" fmla="*/ 18 w 43"/>
                    <a:gd name="T9" fmla="*/ 17 h 35"/>
                    <a:gd name="T10" fmla="*/ 0 w 43"/>
                    <a:gd name="T11" fmla="*/ 9 h 35"/>
                    <a:gd name="T12" fmla="*/ 0 w 43"/>
                    <a:gd name="T13" fmla="*/ 0 h 35"/>
                    <a:gd name="T14" fmla="*/ 9 w 43"/>
                    <a:gd name="T15" fmla="*/ 0 h 35"/>
                    <a:gd name="T16" fmla="*/ 34 w 43"/>
                    <a:gd name="T17" fmla="*/ 0 h 35"/>
                    <a:gd name="T18" fmla="*/ 42 w 43"/>
                    <a:gd name="T19" fmla="*/ 9 h 35"/>
                    <a:gd name="T20" fmla="*/ 42 w 43"/>
                    <a:gd name="T21" fmla="*/ 25 h 35"/>
                    <a:gd name="T22" fmla="*/ 34 w 43"/>
                    <a:gd name="T23" fmla="*/ 25 h 35"/>
                    <a:gd name="T24" fmla="*/ 34 w 43"/>
                    <a:gd name="T2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6350" cap="rnd" cmpd="sng">
                  <a:solidFill>
                    <a:srgbClr val="D0D0D0"/>
                  </a:solidFill>
                  <a:prstDash val="solid"/>
                  <a:round/>
                  <a:headEnd/>
                  <a:tailEnd/>
                </a:ln>
                <a:effectLst/>
              </p:spPr>
              <p:txBody>
                <a:bodyPr/>
                <a:lstStyle/>
                <a:p>
                  <a:endParaRPr lang="de-DE" dirty="0"/>
                </a:p>
              </p:txBody>
            </p:sp>
            <p:sp>
              <p:nvSpPr>
                <p:cNvPr id="681" name="Freeform 119">
                  <a:extLst>
                    <a:ext uri="{FF2B5EF4-FFF2-40B4-BE49-F238E27FC236}">
                      <a16:creationId xmlns:a16="http://schemas.microsoft.com/office/drawing/2014/main" id="{95D9287C-F0BC-A0D4-AB57-143B36D4B152}"/>
                    </a:ext>
                  </a:extLst>
                </p:cNvPr>
                <p:cNvSpPr>
                  <a:spLocks/>
                </p:cNvSpPr>
                <p:nvPr/>
              </p:nvSpPr>
              <p:spPr bwMode="gray">
                <a:xfrm>
                  <a:off x="4921892" y="3909123"/>
                  <a:ext cx="25743" cy="25335"/>
                </a:xfrm>
                <a:custGeom>
                  <a:avLst/>
                  <a:gdLst>
                    <a:gd name="T0" fmla="*/ 0 w 17"/>
                    <a:gd name="T1" fmla="*/ 16 h 17"/>
                    <a:gd name="T2" fmla="*/ 0 w 17"/>
                    <a:gd name="T3" fmla="*/ 0 h 17"/>
                    <a:gd name="T4" fmla="*/ 16 w 17"/>
                    <a:gd name="T5" fmla="*/ 0 h 17"/>
                    <a:gd name="T6" fmla="*/ 16 w 17"/>
                    <a:gd name="T7" fmla="*/ 16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0" y="0"/>
                      </a:lnTo>
                      <a:lnTo>
                        <a:pt x="16" y="0"/>
                      </a:lnTo>
                      <a:lnTo>
                        <a:pt x="16" y="16"/>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682" name="Freeform 120">
                  <a:extLst>
                    <a:ext uri="{FF2B5EF4-FFF2-40B4-BE49-F238E27FC236}">
                      <a16:creationId xmlns:a16="http://schemas.microsoft.com/office/drawing/2014/main" id="{C6D2A510-EAD2-10E8-F656-CB00647FDFF7}"/>
                    </a:ext>
                  </a:extLst>
                </p:cNvPr>
                <p:cNvSpPr>
                  <a:spLocks/>
                </p:cNvSpPr>
                <p:nvPr/>
              </p:nvSpPr>
              <p:spPr bwMode="gray">
                <a:xfrm>
                  <a:off x="4921892" y="3909123"/>
                  <a:ext cx="25743" cy="25335"/>
                </a:xfrm>
                <a:custGeom>
                  <a:avLst/>
                  <a:gdLst>
                    <a:gd name="T0" fmla="*/ 0 w 17"/>
                    <a:gd name="T1" fmla="*/ 16 h 17"/>
                    <a:gd name="T2" fmla="*/ 0 w 17"/>
                    <a:gd name="T3" fmla="*/ 0 h 17"/>
                    <a:gd name="T4" fmla="*/ 16 w 17"/>
                    <a:gd name="T5" fmla="*/ 0 h 17"/>
                    <a:gd name="T6" fmla="*/ 16 w 17"/>
                    <a:gd name="T7" fmla="*/ 16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0" y="0"/>
                      </a:lnTo>
                      <a:lnTo>
                        <a:pt x="16" y="0"/>
                      </a:lnTo>
                      <a:lnTo>
                        <a:pt x="16" y="16"/>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83" name="Freeform 121">
                  <a:extLst>
                    <a:ext uri="{FF2B5EF4-FFF2-40B4-BE49-F238E27FC236}">
                      <a16:creationId xmlns:a16="http://schemas.microsoft.com/office/drawing/2014/main" id="{A428A673-3AE2-5810-5DCE-1F7C0C6B8CC3}"/>
                    </a:ext>
                  </a:extLst>
                </p:cNvPr>
                <p:cNvSpPr>
                  <a:spLocks/>
                </p:cNvSpPr>
                <p:nvPr/>
              </p:nvSpPr>
              <p:spPr bwMode="gray">
                <a:xfrm>
                  <a:off x="5095661" y="3750778"/>
                  <a:ext cx="187928" cy="186214"/>
                </a:xfrm>
                <a:custGeom>
                  <a:avLst/>
                  <a:gdLst>
                    <a:gd name="T0" fmla="*/ 105 w 122"/>
                    <a:gd name="T1" fmla="*/ 122 h 123"/>
                    <a:gd name="T2" fmla="*/ 114 w 122"/>
                    <a:gd name="T3" fmla="*/ 105 h 123"/>
                    <a:gd name="T4" fmla="*/ 121 w 122"/>
                    <a:gd name="T5" fmla="*/ 97 h 123"/>
                    <a:gd name="T6" fmla="*/ 114 w 122"/>
                    <a:gd name="T7" fmla="*/ 56 h 123"/>
                    <a:gd name="T8" fmla="*/ 121 w 122"/>
                    <a:gd name="T9" fmla="*/ 40 h 123"/>
                    <a:gd name="T10" fmla="*/ 114 w 122"/>
                    <a:gd name="T11" fmla="*/ 25 h 123"/>
                    <a:gd name="T12" fmla="*/ 105 w 122"/>
                    <a:gd name="T13" fmla="*/ 15 h 123"/>
                    <a:gd name="T14" fmla="*/ 89 w 122"/>
                    <a:gd name="T15" fmla="*/ 15 h 123"/>
                    <a:gd name="T16" fmla="*/ 65 w 122"/>
                    <a:gd name="T17" fmla="*/ 9 h 123"/>
                    <a:gd name="T18" fmla="*/ 65 w 122"/>
                    <a:gd name="T19" fmla="*/ 15 h 123"/>
                    <a:gd name="T20" fmla="*/ 57 w 122"/>
                    <a:gd name="T21" fmla="*/ 15 h 123"/>
                    <a:gd name="T22" fmla="*/ 49 w 122"/>
                    <a:gd name="T23" fmla="*/ 0 h 123"/>
                    <a:gd name="T24" fmla="*/ 0 w 122"/>
                    <a:gd name="T25" fmla="*/ 25 h 123"/>
                    <a:gd name="T26" fmla="*/ 9 w 122"/>
                    <a:gd name="T27" fmla="*/ 80 h 123"/>
                    <a:gd name="T28" fmla="*/ 17 w 122"/>
                    <a:gd name="T29" fmla="*/ 89 h 123"/>
                    <a:gd name="T30" fmla="*/ 34 w 122"/>
                    <a:gd name="T31" fmla="*/ 97 h 123"/>
                    <a:gd name="T32" fmla="*/ 40 w 122"/>
                    <a:gd name="T33" fmla="*/ 97 h 123"/>
                    <a:gd name="T34" fmla="*/ 57 w 122"/>
                    <a:gd name="T35" fmla="*/ 114 h 123"/>
                    <a:gd name="T36" fmla="*/ 65 w 122"/>
                    <a:gd name="T37" fmla="*/ 114 h 123"/>
                    <a:gd name="T38" fmla="*/ 74 w 122"/>
                    <a:gd name="T39" fmla="*/ 122 h 123"/>
                    <a:gd name="T40" fmla="*/ 89 w 122"/>
                    <a:gd name="T41" fmla="*/ 114 h 123"/>
                    <a:gd name="T42" fmla="*/ 105 w 122"/>
                    <a:gd name="T43" fmla="*/ 12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84" name="Freeform 122">
                  <a:extLst>
                    <a:ext uri="{FF2B5EF4-FFF2-40B4-BE49-F238E27FC236}">
                      <a16:creationId xmlns:a16="http://schemas.microsoft.com/office/drawing/2014/main" id="{F6B9FFD2-7076-7D27-B47E-CCD23E3F9811}"/>
                    </a:ext>
                  </a:extLst>
                </p:cNvPr>
                <p:cNvSpPr>
                  <a:spLocks/>
                </p:cNvSpPr>
                <p:nvPr/>
              </p:nvSpPr>
              <p:spPr bwMode="gray">
                <a:xfrm>
                  <a:off x="4934764" y="3750778"/>
                  <a:ext cx="176343" cy="234351"/>
                </a:xfrm>
                <a:custGeom>
                  <a:avLst/>
                  <a:gdLst>
                    <a:gd name="T0" fmla="*/ 64 w 115"/>
                    <a:gd name="T1" fmla="*/ 25 h 155"/>
                    <a:gd name="T2" fmla="*/ 97 w 115"/>
                    <a:gd name="T3" fmla="*/ 9 h 155"/>
                    <a:gd name="T4" fmla="*/ 97 w 115"/>
                    <a:gd name="T5" fmla="*/ 15 h 155"/>
                    <a:gd name="T6" fmla="*/ 89 w 115"/>
                    <a:gd name="T7" fmla="*/ 15 h 155"/>
                    <a:gd name="T8" fmla="*/ 105 w 115"/>
                    <a:gd name="T9" fmla="*/ 25 h 155"/>
                    <a:gd name="T10" fmla="*/ 114 w 115"/>
                    <a:gd name="T11" fmla="*/ 80 h 155"/>
                    <a:gd name="T12" fmla="*/ 105 w 115"/>
                    <a:gd name="T13" fmla="*/ 80 h 155"/>
                    <a:gd name="T14" fmla="*/ 89 w 115"/>
                    <a:gd name="T15" fmla="*/ 89 h 155"/>
                    <a:gd name="T16" fmla="*/ 73 w 115"/>
                    <a:gd name="T17" fmla="*/ 97 h 155"/>
                    <a:gd name="T18" fmla="*/ 82 w 115"/>
                    <a:gd name="T19" fmla="*/ 114 h 155"/>
                    <a:gd name="T20" fmla="*/ 97 w 115"/>
                    <a:gd name="T21" fmla="*/ 130 h 155"/>
                    <a:gd name="T22" fmla="*/ 89 w 115"/>
                    <a:gd name="T23" fmla="*/ 137 h 155"/>
                    <a:gd name="T24" fmla="*/ 89 w 115"/>
                    <a:gd name="T25" fmla="*/ 146 h 155"/>
                    <a:gd name="T26" fmla="*/ 57 w 115"/>
                    <a:gd name="T27" fmla="*/ 154 h 155"/>
                    <a:gd name="T28" fmla="*/ 42 w 115"/>
                    <a:gd name="T29" fmla="*/ 154 h 155"/>
                    <a:gd name="T30" fmla="*/ 17 w 115"/>
                    <a:gd name="T31" fmla="*/ 154 h 155"/>
                    <a:gd name="T32" fmla="*/ 23 w 115"/>
                    <a:gd name="T33" fmla="*/ 130 h 155"/>
                    <a:gd name="T34" fmla="*/ 0 w 115"/>
                    <a:gd name="T35" fmla="*/ 114 h 155"/>
                    <a:gd name="T36" fmla="*/ 0 w 115"/>
                    <a:gd name="T37" fmla="*/ 105 h 155"/>
                    <a:gd name="T38" fmla="*/ 0 w 115"/>
                    <a:gd name="T39" fmla="*/ 89 h 155"/>
                    <a:gd name="T40" fmla="*/ 0 w 115"/>
                    <a:gd name="T41" fmla="*/ 65 h 155"/>
                    <a:gd name="T42" fmla="*/ 8 w 115"/>
                    <a:gd name="T43" fmla="*/ 56 h 155"/>
                    <a:gd name="T44" fmla="*/ 17 w 115"/>
                    <a:gd name="T45" fmla="*/ 33 h 155"/>
                    <a:gd name="T46" fmla="*/ 32 w 115"/>
                    <a:gd name="T47" fmla="*/ 33 h 155"/>
                    <a:gd name="T48" fmla="*/ 42 w 115"/>
                    <a:gd name="T49" fmla="*/ 15 h 155"/>
                    <a:gd name="T50" fmla="*/ 32 w 115"/>
                    <a:gd name="T51" fmla="*/ 15 h 155"/>
                    <a:gd name="T52" fmla="*/ 42 w 115"/>
                    <a:gd name="T53" fmla="*/ 9 h 155"/>
                    <a:gd name="T54" fmla="*/ 32 w 115"/>
                    <a:gd name="T55" fmla="*/ 0 h 155"/>
                    <a:gd name="T56" fmla="*/ 42 w 115"/>
                    <a:gd name="T57" fmla="*/ 0 h 155"/>
                    <a:gd name="T58" fmla="*/ 48 w 115"/>
                    <a:gd name="T59" fmla="*/ 0 h 155"/>
                    <a:gd name="T60" fmla="*/ 48 w 115"/>
                    <a:gd name="T61" fmla="*/ 9 h 155"/>
                    <a:gd name="T62" fmla="*/ 64 w 115"/>
                    <a:gd name="T63" fmla="*/ 15 h 155"/>
                    <a:gd name="T64" fmla="*/ 57 w 115"/>
                    <a:gd name="T65" fmla="*/ 25 h 155"/>
                    <a:gd name="T66" fmla="*/ 64 w 115"/>
                    <a:gd name="T67"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6350" cap="rnd" cmpd="sng">
                  <a:solidFill>
                    <a:srgbClr val="D0D0D0"/>
                  </a:solidFill>
                  <a:prstDash val="solid"/>
                  <a:round/>
                  <a:headEnd/>
                  <a:tailEnd/>
                </a:ln>
                <a:effectLst/>
              </p:spPr>
              <p:txBody>
                <a:bodyPr/>
                <a:lstStyle/>
                <a:p>
                  <a:endParaRPr lang="de-DE" dirty="0"/>
                </a:p>
              </p:txBody>
            </p:sp>
            <p:sp>
              <p:nvSpPr>
                <p:cNvPr id="685" name="Freeform 123">
                  <a:extLst>
                    <a:ext uri="{FF2B5EF4-FFF2-40B4-BE49-F238E27FC236}">
                      <a16:creationId xmlns:a16="http://schemas.microsoft.com/office/drawing/2014/main" id="{FEC61FE4-6178-2A5F-AE08-1FBE153745C2}"/>
                    </a:ext>
                  </a:extLst>
                </p:cNvPr>
                <p:cNvSpPr>
                  <a:spLocks/>
                </p:cNvSpPr>
                <p:nvPr/>
              </p:nvSpPr>
              <p:spPr bwMode="gray">
                <a:xfrm>
                  <a:off x="4999122" y="3934458"/>
                  <a:ext cx="150599" cy="74739"/>
                </a:xfrm>
                <a:custGeom>
                  <a:avLst/>
                  <a:gdLst>
                    <a:gd name="T0" fmla="*/ 0 w 98"/>
                    <a:gd name="T1" fmla="*/ 32 h 49"/>
                    <a:gd name="T2" fmla="*/ 15 w 98"/>
                    <a:gd name="T3" fmla="*/ 32 h 49"/>
                    <a:gd name="T4" fmla="*/ 47 w 98"/>
                    <a:gd name="T5" fmla="*/ 24 h 49"/>
                    <a:gd name="T6" fmla="*/ 47 w 98"/>
                    <a:gd name="T7" fmla="*/ 15 h 49"/>
                    <a:gd name="T8" fmla="*/ 55 w 98"/>
                    <a:gd name="T9" fmla="*/ 8 h 49"/>
                    <a:gd name="T10" fmla="*/ 72 w 98"/>
                    <a:gd name="T11" fmla="*/ 8 h 49"/>
                    <a:gd name="T12" fmla="*/ 72 w 98"/>
                    <a:gd name="T13" fmla="*/ 0 h 49"/>
                    <a:gd name="T14" fmla="*/ 97 w 98"/>
                    <a:gd name="T15" fmla="*/ 8 h 49"/>
                    <a:gd name="T16" fmla="*/ 97 w 98"/>
                    <a:gd name="T17" fmla="*/ 24 h 49"/>
                    <a:gd name="T18" fmla="*/ 87 w 98"/>
                    <a:gd name="T19" fmla="*/ 40 h 49"/>
                    <a:gd name="T20" fmla="*/ 55 w 98"/>
                    <a:gd name="T21" fmla="*/ 48 h 49"/>
                    <a:gd name="T22" fmla="*/ 40 w 98"/>
                    <a:gd name="T23" fmla="*/ 40 h 49"/>
                    <a:gd name="T24" fmla="*/ 15 w 98"/>
                    <a:gd name="T25" fmla="*/ 40 h 49"/>
                    <a:gd name="T26" fmla="*/ 6 w 98"/>
                    <a:gd name="T27" fmla="*/ 40 h 49"/>
                    <a:gd name="T28" fmla="*/ 0 w 98"/>
                    <a:gd name="T29"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86" name="Line 124">
                  <a:extLst>
                    <a:ext uri="{FF2B5EF4-FFF2-40B4-BE49-F238E27FC236}">
                      <a16:creationId xmlns:a16="http://schemas.microsoft.com/office/drawing/2014/main" id="{A9DE51B1-C767-BF53-318F-896971880744}"/>
                    </a:ext>
                  </a:extLst>
                </p:cNvPr>
                <p:cNvSpPr>
                  <a:spLocks noChangeShapeType="1"/>
                </p:cNvSpPr>
                <p:nvPr/>
              </p:nvSpPr>
              <p:spPr bwMode="gray">
                <a:xfrm flipH="1" flipV="1">
                  <a:off x="4999122" y="3983862"/>
                  <a:ext cx="9010" cy="11401"/>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687" name="Freeform 125">
                  <a:extLst>
                    <a:ext uri="{FF2B5EF4-FFF2-40B4-BE49-F238E27FC236}">
                      <a16:creationId xmlns:a16="http://schemas.microsoft.com/office/drawing/2014/main" id="{E4C87E38-FE6A-56B1-2E28-CA6CB37BFBEF}"/>
                    </a:ext>
                  </a:extLst>
                </p:cNvPr>
                <p:cNvSpPr>
                  <a:spLocks/>
                </p:cNvSpPr>
                <p:nvPr/>
              </p:nvSpPr>
              <p:spPr bwMode="gray">
                <a:xfrm>
                  <a:off x="4999122" y="3983862"/>
                  <a:ext cx="25743" cy="25335"/>
                </a:xfrm>
                <a:custGeom>
                  <a:avLst/>
                  <a:gdLst>
                    <a:gd name="T0" fmla="*/ 16 w 17"/>
                    <a:gd name="T1" fmla="*/ 16 h 17"/>
                    <a:gd name="T2" fmla="*/ 0 w 17"/>
                    <a:gd name="T3" fmla="*/ 0 h 17"/>
                    <a:gd name="T4" fmla="*/ 16 w 17"/>
                    <a:gd name="T5" fmla="*/ 16 h 17"/>
                  </a:gdLst>
                  <a:ahLst/>
                  <a:cxnLst>
                    <a:cxn ang="0">
                      <a:pos x="T0" y="T1"/>
                    </a:cxn>
                    <a:cxn ang="0">
                      <a:pos x="T2" y="T3"/>
                    </a:cxn>
                    <a:cxn ang="0">
                      <a:pos x="T4" y="T5"/>
                    </a:cxn>
                  </a:cxnLst>
                  <a:rect l="0" t="0" r="r" b="b"/>
                  <a:pathLst>
                    <a:path w="17" h="17">
                      <a:moveTo>
                        <a:pt x="16" y="16"/>
                      </a:moveTo>
                      <a:lnTo>
                        <a:pt x="0" y="0"/>
                      </a:lnTo>
                      <a:lnTo>
                        <a:pt x="16"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88" name="Line 126">
                  <a:extLst>
                    <a:ext uri="{FF2B5EF4-FFF2-40B4-BE49-F238E27FC236}">
                      <a16:creationId xmlns:a16="http://schemas.microsoft.com/office/drawing/2014/main" id="{66944360-5DBD-B7D9-4436-D2E86E8F2866}"/>
                    </a:ext>
                  </a:extLst>
                </p:cNvPr>
                <p:cNvSpPr>
                  <a:spLocks noChangeShapeType="1"/>
                </p:cNvSpPr>
                <p:nvPr/>
              </p:nvSpPr>
              <p:spPr bwMode="gray">
                <a:xfrm flipH="1" flipV="1">
                  <a:off x="4999122" y="3983862"/>
                  <a:ext cx="9010" cy="11401"/>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689" name="Freeform 127">
                  <a:extLst>
                    <a:ext uri="{FF2B5EF4-FFF2-40B4-BE49-F238E27FC236}">
                      <a16:creationId xmlns:a16="http://schemas.microsoft.com/office/drawing/2014/main" id="{907654DF-DCDD-F414-BB7E-DCE0D3F19ABD}"/>
                    </a:ext>
                  </a:extLst>
                </p:cNvPr>
                <p:cNvSpPr>
                  <a:spLocks/>
                </p:cNvSpPr>
                <p:nvPr/>
              </p:nvSpPr>
              <p:spPr bwMode="gray">
                <a:xfrm>
                  <a:off x="4999122" y="3983862"/>
                  <a:ext cx="25743" cy="25335"/>
                </a:xfrm>
                <a:custGeom>
                  <a:avLst/>
                  <a:gdLst>
                    <a:gd name="T0" fmla="*/ 16 w 17"/>
                    <a:gd name="T1" fmla="*/ 16 h 17"/>
                    <a:gd name="T2" fmla="*/ 0 w 17"/>
                    <a:gd name="T3" fmla="*/ 0 h 17"/>
                    <a:gd name="T4" fmla="*/ 16 w 17"/>
                    <a:gd name="T5" fmla="*/ 16 h 17"/>
                  </a:gdLst>
                  <a:ahLst/>
                  <a:cxnLst>
                    <a:cxn ang="0">
                      <a:pos x="T0" y="T1"/>
                    </a:cxn>
                    <a:cxn ang="0">
                      <a:pos x="T2" y="T3"/>
                    </a:cxn>
                    <a:cxn ang="0">
                      <a:pos x="T4" y="T5"/>
                    </a:cxn>
                  </a:cxnLst>
                  <a:rect l="0" t="0" r="r" b="b"/>
                  <a:pathLst>
                    <a:path w="17" h="17">
                      <a:moveTo>
                        <a:pt x="16" y="16"/>
                      </a:moveTo>
                      <a:lnTo>
                        <a:pt x="0" y="0"/>
                      </a:lnTo>
                      <a:lnTo>
                        <a:pt x="16"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90" name="Freeform 128">
                  <a:extLst>
                    <a:ext uri="{FF2B5EF4-FFF2-40B4-BE49-F238E27FC236}">
                      <a16:creationId xmlns:a16="http://schemas.microsoft.com/office/drawing/2014/main" id="{1C46D891-2802-4EB9-5433-A77286E6D32B}"/>
                    </a:ext>
                  </a:extLst>
                </p:cNvPr>
                <p:cNvSpPr>
                  <a:spLocks/>
                </p:cNvSpPr>
                <p:nvPr/>
              </p:nvSpPr>
              <p:spPr bwMode="gray">
                <a:xfrm>
                  <a:off x="4934764" y="3983862"/>
                  <a:ext cx="88815" cy="49404"/>
                </a:xfrm>
                <a:custGeom>
                  <a:avLst/>
                  <a:gdLst>
                    <a:gd name="T0" fmla="*/ 17 w 58"/>
                    <a:gd name="T1" fmla="*/ 32 h 33"/>
                    <a:gd name="T2" fmla="*/ 32 w 58"/>
                    <a:gd name="T3" fmla="*/ 23 h 33"/>
                    <a:gd name="T4" fmla="*/ 42 w 58"/>
                    <a:gd name="T5" fmla="*/ 23 h 33"/>
                    <a:gd name="T6" fmla="*/ 42 w 58"/>
                    <a:gd name="T7" fmla="*/ 16 h 33"/>
                    <a:gd name="T8" fmla="*/ 48 w 58"/>
                    <a:gd name="T9" fmla="*/ 23 h 33"/>
                    <a:gd name="T10" fmla="*/ 57 w 58"/>
                    <a:gd name="T11" fmla="*/ 8 h 33"/>
                    <a:gd name="T12" fmla="*/ 48 w 58"/>
                    <a:gd name="T13" fmla="*/ 8 h 33"/>
                    <a:gd name="T14" fmla="*/ 42 w 58"/>
                    <a:gd name="T15" fmla="*/ 0 h 33"/>
                    <a:gd name="T16" fmla="*/ 17 w 58"/>
                    <a:gd name="T17" fmla="*/ 0 h 33"/>
                    <a:gd name="T18" fmla="*/ 8 w 58"/>
                    <a:gd name="T19" fmla="*/ 0 h 33"/>
                    <a:gd name="T20" fmla="*/ 0 w 58"/>
                    <a:gd name="T21" fmla="*/ 16 h 33"/>
                    <a:gd name="T22" fmla="*/ 0 w 58"/>
                    <a:gd name="T23" fmla="*/ 23 h 33"/>
                    <a:gd name="T24" fmla="*/ 8 w 58"/>
                    <a:gd name="T25" fmla="*/ 16 h 33"/>
                    <a:gd name="T26" fmla="*/ 8 w 58"/>
                    <a:gd name="T27" fmla="*/ 32 h 33"/>
                    <a:gd name="T28" fmla="*/ 17 w 58"/>
                    <a:gd name="T29"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6350" cap="rnd" cmpd="sng">
                  <a:solidFill>
                    <a:srgbClr val="D0D0D0"/>
                  </a:solidFill>
                  <a:prstDash val="solid"/>
                  <a:round/>
                  <a:headEnd/>
                  <a:tailEnd/>
                </a:ln>
                <a:effectLst/>
              </p:spPr>
              <p:txBody>
                <a:bodyPr/>
                <a:lstStyle/>
                <a:p>
                  <a:endParaRPr lang="de-DE" dirty="0"/>
                </a:p>
              </p:txBody>
            </p:sp>
            <p:sp>
              <p:nvSpPr>
                <p:cNvPr id="691" name="Freeform 129">
                  <a:extLst>
                    <a:ext uri="{FF2B5EF4-FFF2-40B4-BE49-F238E27FC236}">
                      <a16:creationId xmlns:a16="http://schemas.microsoft.com/office/drawing/2014/main" id="{312D2852-5B3C-A3C5-6070-37050D0D3B29}"/>
                    </a:ext>
                  </a:extLst>
                </p:cNvPr>
                <p:cNvSpPr>
                  <a:spLocks/>
                </p:cNvSpPr>
                <p:nvPr/>
              </p:nvSpPr>
              <p:spPr bwMode="gray">
                <a:xfrm>
                  <a:off x="4719806" y="3871119"/>
                  <a:ext cx="250999" cy="247018"/>
                </a:xfrm>
                <a:custGeom>
                  <a:avLst/>
                  <a:gdLst>
                    <a:gd name="T0" fmla="*/ 97 w 163"/>
                    <a:gd name="T1" fmla="*/ 0 h 163"/>
                    <a:gd name="T2" fmla="*/ 82 w 163"/>
                    <a:gd name="T3" fmla="*/ 9 h 163"/>
                    <a:gd name="T4" fmla="*/ 82 w 163"/>
                    <a:gd name="T5" fmla="*/ 25 h 163"/>
                    <a:gd name="T6" fmla="*/ 66 w 163"/>
                    <a:gd name="T7" fmla="*/ 34 h 163"/>
                    <a:gd name="T8" fmla="*/ 57 w 163"/>
                    <a:gd name="T9" fmla="*/ 42 h 163"/>
                    <a:gd name="T10" fmla="*/ 50 w 163"/>
                    <a:gd name="T11" fmla="*/ 42 h 163"/>
                    <a:gd name="T12" fmla="*/ 42 w 163"/>
                    <a:gd name="T13" fmla="*/ 34 h 163"/>
                    <a:gd name="T14" fmla="*/ 34 w 163"/>
                    <a:gd name="T15" fmla="*/ 34 h 163"/>
                    <a:gd name="T16" fmla="*/ 42 w 163"/>
                    <a:gd name="T17" fmla="*/ 50 h 163"/>
                    <a:gd name="T18" fmla="*/ 25 w 163"/>
                    <a:gd name="T19" fmla="*/ 57 h 163"/>
                    <a:gd name="T20" fmla="*/ 25 w 163"/>
                    <a:gd name="T21" fmla="*/ 50 h 163"/>
                    <a:gd name="T22" fmla="*/ 0 w 163"/>
                    <a:gd name="T23" fmla="*/ 57 h 163"/>
                    <a:gd name="T24" fmla="*/ 0 w 163"/>
                    <a:gd name="T25" fmla="*/ 66 h 163"/>
                    <a:gd name="T26" fmla="*/ 34 w 163"/>
                    <a:gd name="T27" fmla="*/ 74 h 163"/>
                    <a:gd name="T28" fmla="*/ 50 w 163"/>
                    <a:gd name="T29" fmla="*/ 97 h 163"/>
                    <a:gd name="T30" fmla="*/ 50 w 163"/>
                    <a:gd name="T31" fmla="*/ 106 h 163"/>
                    <a:gd name="T32" fmla="*/ 42 w 163"/>
                    <a:gd name="T33" fmla="*/ 147 h 163"/>
                    <a:gd name="T34" fmla="*/ 57 w 163"/>
                    <a:gd name="T35" fmla="*/ 156 h 163"/>
                    <a:gd name="T36" fmla="*/ 97 w 163"/>
                    <a:gd name="T37" fmla="*/ 162 h 163"/>
                    <a:gd name="T38" fmla="*/ 97 w 163"/>
                    <a:gd name="T39" fmla="*/ 156 h 163"/>
                    <a:gd name="T40" fmla="*/ 115 w 163"/>
                    <a:gd name="T41" fmla="*/ 147 h 163"/>
                    <a:gd name="T42" fmla="*/ 139 w 163"/>
                    <a:gd name="T43" fmla="*/ 156 h 163"/>
                    <a:gd name="T44" fmla="*/ 147 w 163"/>
                    <a:gd name="T45" fmla="*/ 156 h 163"/>
                    <a:gd name="T46" fmla="*/ 156 w 163"/>
                    <a:gd name="T47" fmla="*/ 137 h 163"/>
                    <a:gd name="T48" fmla="*/ 147 w 163"/>
                    <a:gd name="T49" fmla="*/ 122 h 163"/>
                    <a:gd name="T50" fmla="*/ 147 w 163"/>
                    <a:gd name="T51" fmla="*/ 106 h 163"/>
                    <a:gd name="T52" fmla="*/ 147 w 163"/>
                    <a:gd name="T53" fmla="*/ 90 h 163"/>
                    <a:gd name="T54" fmla="*/ 139 w 163"/>
                    <a:gd name="T55" fmla="*/ 97 h 163"/>
                    <a:gd name="T56" fmla="*/ 139 w 163"/>
                    <a:gd name="T57" fmla="*/ 90 h 163"/>
                    <a:gd name="T58" fmla="*/ 147 w 163"/>
                    <a:gd name="T59" fmla="*/ 74 h 163"/>
                    <a:gd name="T60" fmla="*/ 156 w 163"/>
                    <a:gd name="T61" fmla="*/ 74 h 163"/>
                    <a:gd name="T62" fmla="*/ 162 w 163"/>
                    <a:gd name="T63" fmla="*/ 50 h 163"/>
                    <a:gd name="T64" fmla="*/ 139 w 163"/>
                    <a:gd name="T65" fmla="*/ 34 h 163"/>
                    <a:gd name="T66" fmla="*/ 131 w 163"/>
                    <a:gd name="T67" fmla="*/ 34 h 163"/>
                    <a:gd name="T68" fmla="*/ 122 w 163"/>
                    <a:gd name="T69" fmla="*/ 34 h 163"/>
                    <a:gd name="T70" fmla="*/ 122 w 163"/>
                    <a:gd name="T71" fmla="*/ 25 h 163"/>
                    <a:gd name="T72" fmla="*/ 115 w 163"/>
                    <a:gd name="T73" fmla="*/ 25 h 163"/>
                    <a:gd name="T74" fmla="*/ 115 w 163"/>
                    <a:gd name="T75" fmla="*/ 17 h 163"/>
                    <a:gd name="T76" fmla="*/ 97 w 163"/>
                    <a:gd name="T77" fmla="*/ 9 h 163"/>
                    <a:gd name="T78" fmla="*/ 97 w 163"/>
                    <a:gd name="T7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6350" cap="rnd" cmpd="sng">
                  <a:solidFill>
                    <a:srgbClr val="D0D0D0"/>
                  </a:solidFill>
                  <a:prstDash val="solid"/>
                  <a:round/>
                  <a:headEnd/>
                  <a:tailEnd/>
                </a:ln>
                <a:effectLst/>
              </p:spPr>
              <p:txBody>
                <a:bodyPr/>
                <a:lstStyle/>
                <a:p>
                  <a:endParaRPr lang="de-DE" dirty="0"/>
                </a:p>
              </p:txBody>
            </p:sp>
            <p:sp>
              <p:nvSpPr>
                <p:cNvPr id="692" name="Freeform 130">
                  <a:extLst>
                    <a:ext uri="{FF2B5EF4-FFF2-40B4-BE49-F238E27FC236}">
                      <a16:creationId xmlns:a16="http://schemas.microsoft.com/office/drawing/2014/main" id="{4A01E390-E2BC-5119-1E63-D2F9B54302E8}"/>
                    </a:ext>
                  </a:extLst>
                </p:cNvPr>
                <p:cNvSpPr>
                  <a:spLocks/>
                </p:cNvSpPr>
                <p:nvPr/>
              </p:nvSpPr>
              <p:spPr bwMode="gray">
                <a:xfrm>
                  <a:off x="4636140" y="4078868"/>
                  <a:ext cx="235553" cy="200148"/>
                </a:xfrm>
                <a:custGeom>
                  <a:avLst/>
                  <a:gdLst>
                    <a:gd name="T0" fmla="*/ 7 w 153"/>
                    <a:gd name="T1" fmla="*/ 34 h 132"/>
                    <a:gd name="T2" fmla="*/ 40 w 153"/>
                    <a:gd name="T3" fmla="*/ 34 h 132"/>
                    <a:gd name="T4" fmla="*/ 40 w 153"/>
                    <a:gd name="T5" fmla="*/ 42 h 132"/>
                    <a:gd name="T6" fmla="*/ 31 w 153"/>
                    <a:gd name="T7" fmla="*/ 50 h 132"/>
                    <a:gd name="T8" fmla="*/ 31 w 153"/>
                    <a:gd name="T9" fmla="*/ 66 h 132"/>
                    <a:gd name="T10" fmla="*/ 24 w 153"/>
                    <a:gd name="T11" fmla="*/ 75 h 132"/>
                    <a:gd name="T12" fmla="*/ 31 w 153"/>
                    <a:gd name="T13" fmla="*/ 99 h 132"/>
                    <a:gd name="T14" fmla="*/ 24 w 153"/>
                    <a:gd name="T15" fmla="*/ 115 h 132"/>
                    <a:gd name="T16" fmla="*/ 49 w 153"/>
                    <a:gd name="T17" fmla="*/ 131 h 132"/>
                    <a:gd name="T18" fmla="*/ 55 w 153"/>
                    <a:gd name="T19" fmla="*/ 124 h 132"/>
                    <a:gd name="T20" fmla="*/ 89 w 153"/>
                    <a:gd name="T21" fmla="*/ 124 h 132"/>
                    <a:gd name="T22" fmla="*/ 121 w 153"/>
                    <a:gd name="T23" fmla="*/ 91 h 132"/>
                    <a:gd name="T24" fmla="*/ 112 w 153"/>
                    <a:gd name="T25" fmla="*/ 75 h 132"/>
                    <a:gd name="T26" fmla="*/ 129 w 153"/>
                    <a:gd name="T27" fmla="*/ 50 h 132"/>
                    <a:gd name="T28" fmla="*/ 152 w 153"/>
                    <a:gd name="T29" fmla="*/ 34 h 132"/>
                    <a:gd name="T30" fmla="*/ 152 w 153"/>
                    <a:gd name="T31" fmla="*/ 25 h 132"/>
                    <a:gd name="T32" fmla="*/ 112 w 153"/>
                    <a:gd name="T33" fmla="*/ 19 h 132"/>
                    <a:gd name="T34" fmla="*/ 97 w 153"/>
                    <a:gd name="T35" fmla="*/ 10 h 132"/>
                    <a:gd name="T36" fmla="*/ 89 w 153"/>
                    <a:gd name="T37" fmla="*/ 10 h 132"/>
                    <a:gd name="T38" fmla="*/ 72 w 153"/>
                    <a:gd name="T39" fmla="*/ 10 h 132"/>
                    <a:gd name="T40" fmla="*/ 64 w 153"/>
                    <a:gd name="T41" fmla="*/ 10 h 132"/>
                    <a:gd name="T42" fmla="*/ 15 w 153"/>
                    <a:gd name="T43" fmla="*/ 0 h 132"/>
                    <a:gd name="T44" fmla="*/ 7 w 153"/>
                    <a:gd name="T45" fmla="*/ 10 h 132"/>
                    <a:gd name="T46" fmla="*/ 0 w 153"/>
                    <a:gd name="T47" fmla="*/ 10 h 132"/>
                    <a:gd name="T48" fmla="*/ 0 w 153"/>
                    <a:gd name="T49" fmla="*/ 19 h 132"/>
                    <a:gd name="T50" fmla="*/ 7 w 153"/>
                    <a:gd name="T51" fmla="*/ 3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93" name="Freeform 131">
                  <a:extLst>
                    <a:ext uri="{FF2B5EF4-FFF2-40B4-BE49-F238E27FC236}">
                      <a16:creationId xmlns:a16="http://schemas.microsoft.com/office/drawing/2014/main" id="{2521F1C9-BCA8-ACFD-0E7B-7F72923A9BD4}"/>
                    </a:ext>
                  </a:extLst>
                </p:cNvPr>
                <p:cNvSpPr>
                  <a:spLocks/>
                </p:cNvSpPr>
                <p:nvPr/>
              </p:nvSpPr>
              <p:spPr bwMode="gray">
                <a:xfrm>
                  <a:off x="4636140" y="4130805"/>
                  <a:ext cx="63072" cy="124142"/>
                </a:xfrm>
                <a:custGeom>
                  <a:avLst/>
                  <a:gdLst>
                    <a:gd name="T0" fmla="*/ 24 w 41"/>
                    <a:gd name="T1" fmla="*/ 81 h 82"/>
                    <a:gd name="T2" fmla="*/ 31 w 41"/>
                    <a:gd name="T3" fmla="*/ 65 h 82"/>
                    <a:gd name="T4" fmla="*/ 24 w 41"/>
                    <a:gd name="T5" fmla="*/ 41 h 82"/>
                    <a:gd name="T6" fmla="*/ 31 w 41"/>
                    <a:gd name="T7" fmla="*/ 32 h 82"/>
                    <a:gd name="T8" fmla="*/ 31 w 41"/>
                    <a:gd name="T9" fmla="*/ 16 h 82"/>
                    <a:gd name="T10" fmla="*/ 40 w 41"/>
                    <a:gd name="T11" fmla="*/ 8 h 82"/>
                    <a:gd name="T12" fmla="*/ 40 w 41"/>
                    <a:gd name="T13" fmla="*/ 0 h 82"/>
                    <a:gd name="T14" fmla="*/ 7 w 41"/>
                    <a:gd name="T15" fmla="*/ 0 h 82"/>
                    <a:gd name="T16" fmla="*/ 7 w 41"/>
                    <a:gd name="T17" fmla="*/ 16 h 82"/>
                    <a:gd name="T18" fmla="*/ 0 w 41"/>
                    <a:gd name="T19" fmla="*/ 57 h 82"/>
                    <a:gd name="T20" fmla="*/ 7 w 41"/>
                    <a:gd name="T21" fmla="*/ 57 h 82"/>
                    <a:gd name="T22" fmla="*/ 0 w 41"/>
                    <a:gd name="T23" fmla="*/ 81 h 82"/>
                    <a:gd name="T24" fmla="*/ 24 w 41"/>
                    <a:gd name="T25"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6350" cap="rnd" cmpd="sng">
                  <a:solidFill>
                    <a:srgbClr val="D0D0D0"/>
                  </a:solidFill>
                  <a:prstDash val="solid"/>
                  <a:round/>
                  <a:headEnd/>
                  <a:tailEnd/>
                </a:ln>
                <a:effectLst/>
              </p:spPr>
              <p:txBody>
                <a:bodyPr/>
                <a:lstStyle/>
                <a:p>
                  <a:endParaRPr lang="de-DE" dirty="0"/>
                </a:p>
              </p:txBody>
            </p:sp>
            <p:sp>
              <p:nvSpPr>
                <p:cNvPr id="694" name="Freeform 132">
                  <a:extLst>
                    <a:ext uri="{FF2B5EF4-FFF2-40B4-BE49-F238E27FC236}">
                      <a16:creationId xmlns:a16="http://schemas.microsoft.com/office/drawing/2014/main" id="{2F7DDDD8-9CA5-7F32-70AA-EE800A8FA379}"/>
                    </a:ext>
                  </a:extLst>
                </p:cNvPr>
                <p:cNvSpPr>
                  <a:spLocks/>
                </p:cNvSpPr>
                <p:nvPr/>
              </p:nvSpPr>
              <p:spPr bwMode="gray">
                <a:xfrm>
                  <a:off x="4946348" y="3995262"/>
                  <a:ext cx="238127" cy="235617"/>
                </a:xfrm>
                <a:custGeom>
                  <a:avLst/>
                  <a:gdLst>
                    <a:gd name="T0" fmla="*/ 9 w 155"/>
                    <a:gd name="T1" fmla="*/ 55 h 155"/>
                    <a:gd name="T2" fmla="*/ 24 w 155"/>
                    <a:gd name="T3" fmla="*/ 49 h 155"/>
                    <a:gd name="T4" fmla="*/ 40 w 155"/>
                    <a:gd name="T5" fmla="*/ 55 h 155"/>
                    <a:gd name="T6" fmla="*/ 56 w 155"/>
                    <a:gd name="T7" fmla="*/ 80 h 155"/>
                    <a:gd name="T8" fmla="*/ 65 w 155"/>
                    <a:gd name="T9" fmla="*/ 80 h 155"/>
                    <a:gd name="T10" fmla="*/ 74 w 155"/>
                    <a:gd name="T11" fmla="*/ 97 h 155"/>
                    <a:gd name="T12" fmla="*/ 89 w 155"/>
                    <a:gd name="T13" fmla="*/ 105 h 155"/>
                    <a:gd name="T14" fmla="*/ 106 w 155"/>
                    <a:gd name="T15" fmla="*/ 121 h 155"/>
                    <a:gd name="T16" fmla="*/ 114 w 155"/>
                    <a:gd name="T17" fmla="*/ 121 h 155"/>
                    <a:gd name="T18" fmla="*/ 121 w 155"/>
                    <a:gd name="T19" fmla="*/ 146 h 155"/>
                    <a:gd name="T20" fmla="*/ 114 w 155"/>
                    <a:gd name="T21" fmla="*/ 154 h 155"/>
                    <a:gd name="T22" fmla="*/ 121 w 155"/>
                    <a:gd name="T23" fmla="*/ 154 h 155"/>
                    <a:gd name="T24" fmla="*/ 131 w 155"/>
                    <a:gd name="T25" fmla="*/ 146 h 155"/>
                    <a:gd name="T26" fmla="*/ 131 w 155"/>
                    <a:gd name="T27" fmla="*/ 137 h 155"/>
                    <a:gd name="T28" fmla="*/ 131 w 155"/>
                    <a:gd name="T29" fmla="*/ 130 h 155"/>
                    <a:gd name="T30" fmla="*/ 131 w 155"/>
                    <a:gd name="T31" fmla="*/ 114 h 155"/>
                    <a:gd name="T32" fmla="*/ 146 w 155"/>
                    <a:gd name="T33" fmla="*/ 130 h 155"/>
                    <a:gd name="T34" fmla="*/ 154 w 155"/>
                    <a:gd name="T35" fmla="*/ 121 h 155"/>
                    <a:gd name="T36" fmla="*/ 114 w 155"/>
                    <a:gd name="T37" fmla="*/ 97 h 155"/>
                    <a:gd name="T38" fmla="*/ 121 w 155"/>
                    <a:gd name="T39" fmla="*/ 89 h 155"/>
                    <a:gd name="T40" fmla="*/ 114 w 155"/>
                    <a:gd name="T41" fmla="*/ 89 h 155"/>
                    <a:gd name="T42" fmla="*/ 97 w 155"/>
                    <a:gd name="T43" fmla="*/ 80 h 155"/>
                    <a:gd name="T44" fmla="*/ 89 w 155"/>
                    <a:gd name="T45" fmla="*/ 65 h 155"/>
                    <a:gd name="T46" fmla="*/ 74 w 155"/>
                    <a:gd name="T47" fmla="*/ 49 h 155"/>
                    <a:gd name="T48" fmla="*/ 74 w 155"/>
                    <a:gd name="T49" fmla="*/ 24 h 155"/>
                    <a:gd name="T50" fmla="*/ 89 w 155"/>
                    <a:gd name="T51" fmla="*/ 24 h 155"/>
                    <a:gd name="T52" fmla="*/ 89 w 155"/>
                    <a:gd name="T53" fmla="*/ 15 h 155"/>
                    <a:gd name="T54" fmla="*/ 89 w 155"/>
                    <a:gd name="T55" fmla="*/ 8 h 155"/>
                    <a:gd name="T56" fmla="*/ 74 w 155"/>
                    <a:gd name="T57" fmla="*/ 0 h 155"/>
                    <a:gd name="T58" fmla="*/ 49 w 155"/>
                    <a:gd name="T59" fmla="*/ 0 h 155"/>
                    <a:gd name="T60" fmla="*/ 40 w 155"/>
                    <a:gd name="T61" fmla="*/ 15 h 155"/>
                    <a:gd name="T62" fmla="*/ 34 w 155"/>
                    <a:gd name="T63" fmla="*/ 8 h 155"/>
                    <a:gd name="T64" fmla="*/ 34 w 155"/>
                    <a:gd name="T65" fmla="*/ 15 h 155"/>
                    <a:gd name="T66" fmla="*/ 24 w 155"/>
                    <a:gd name="T67" fmla="*/ 15 h 155"/>
                    <a:gd name="T68" fmla="*/ 9 w 155"/>
                    <a:gd name="T69" fmla="*/ 24 h 155"/>
                    <a:gd name="T70" fmla="*/ 0 w 155"/>
                    <a:gd name="T71" fmla="*/ 24 h 155"/>
                    <a:gd name="T72" fmla="*/ 0 w 155"/>
                    <a:gd name="T73" fmla="*/ 40 h 155"/>
                    <a:gd name="T74" fmla="*/ 9 w 155"/>
                    <a:gd name="T75" fmla="*/ 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6350" cap="rnd" cmpd="sng">
                  <a:solidFill>
                    <a:srgbClr val="D0D0D0"/>
                  </a:solidFill>
                  <a:prstDash val="solid"/>
                  <a:round/>
                  <a:headEnd/>
                  <a:tailEnd/>
                </a:ln>
                <a:effectLst/>
              </p:spPr>
              <p:txBody>
                <a:bodyPr/>
                <a:lstStyle/>
                <a:p>
                  <a:endParaRPr lang="de-DE" dirty="0"/>
                </a:p>
              </p:txBody>
            </p:sp>
            <p:sp>
              <p:nvSpPr>
                <p:cNvPr id="695" name="Freeform 134">
                  <a:extLst>
                    <a:ext uri="{FF2B5EF4-FFF2-40B4-BE49-F238E27FC236}">
                      <a16:creationId xmlns:a16="http://schemas.microsoft.com/office/drawing/2014/main" id="{B6897469-A52F-01DB-6A60-8BBA22E01B6C}"/>
                    </a:ext>
                  </a:extLst>
                </p:cNvPr>
                <p:cNvSpPr>
                  <a:spLocks/>
                </p:cNvSpPr>
                <p:nvPr/>
              </p:nvSpPr>
              <p:spPr bwMode="gray">
                <a:xfrm>
                  <a:off x="5208932" y="4142207"/>
                  <a:ext cx="124856" cy="100074"/>
                </a:xfrm>
                <a:custGeom>
                  <a:avLst/>
                  <a:gdLst>
                    <a:gd name="T0" fmla="*/ 15 w 81"/>
                    <a:gd name="T1" fmla="*/ 8 h 66"/>
                    <a:gd name="T2" fmla="*/ 40 w 81"/>
                    <a:gd name="T3" fmla="*/ 0 h 66"/>
                    <a:gd name="T4" fmla="*/ 55 w 81"/>
                    <a:gd name="T5" fmla="*/ 0 h 66"/>
                    <a:gd name="T6" fmla="*/ 72 w 81"/>
                    <a:gd name="T7" fmla="*/ 8 h 66"/>
                    <a:gd name="T8" fmla="*/ 80 w 81"/>
                    <a:gd name="T9" fmla="*/ 0 h 66"/>
                    <a:gd name="T10" fmla="*/ 72 w 81"/>
                    <a:gd name="T11" fmla="*/ 17 h 66"/>
                    <a:gd name="T12" fmla="*/ 55 w 81"/>
                    <a:gd name="T13" fmla="*/ 8 h 66"/>
                    <a:gd name="T14" fmla="*/ 47 w 81"/>
                    <a:gd name="T15" fmla="*/ 17 h 66"/>
                    <a:gd name="T16" fmla="*/ 47 w 81"/>
                    <a:gd name="T17" fmla="*/ 24 h 66"/>
                    <a:gd name="T18" fmla="*/ 40 w 81"/>
                    <a:gd name="T19" fmla="*/ 24 h 66"/>
                    <a:gd name="T20" fmla="*/ 31 w 81"/>
                    <a:gd name="T21" fmla="*/ 17 h 66"/>
                    <a:gd name="T22" fmla="*/ 31 w 81"/>
                    <a:gd name="T23" fmla="*/ 24 h 66"/>
                    <a:gd name="T24" fmla="*/ 40 w 81"/>
                    <a:gd name="T25" fmla="*/ 40 h 66"/>
                    <a:gd name="T26" fmla="*/ 55 w 81"/>
                    <a:gd name="T27" fmla="*/ 57 h 66"/>
                    <a:gd name="T28" fmla="*/ 47 w 81"/>
                    <a:gd name="T29" fmla="*/ 57 h 66"/>
                    <a:gd name="T30" fmla="*/ 47 w 81"/>
                    <a:gd name="T31" fmla="*/ 65 h 66"/>
                    <a:gd name="T32" fmla="*/ 31 w 81"/>
                    <a:gd name="T33" fmla="*/ 57 h 66"/>
                    <a:gd name="T34" fmla="*/ 15 w 81"/>
                    <a:gd name="T35" fmla="*/ 57 h 66"/>
                    <a:gd name="T36" fmla="*/ 0 w 81"/>
                    <a:gd name="T37" fmla="*/ 33 h 66"/>
                    <a:gd name="T38" fmla="*/ 15 w 81"/>
                    <a:gd name="T39" fmla="*/ 17 h 66"/>
                    <a:gd name="T40" fmla="*/ 15 w 81"/>
                    <a:gd name="T41" fmla="*/ 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96" name="Freeform 167">
                  <a:extLst>
                    <a:ext uri="{FF2B5EF4-FFF2-40B4-BE49-F238E27FC236}">
                      <a16:creationId xmlns:a16="http://schemas.microsoft.com/office/drawing/2014/main" id="{37FA4E44-D30A-2001-9579-A96282B9C87D}"/>
                    </a:ext>
                  </a:extLst>
                </p:cNvPr>
                <p:cNvSpPr>
                  <a:spLocks/>
                </p:cNvSpPr>
                <p:nvPr/>
              </p:nvSpPr>
              <p:spPr bwMode="gray">
                <a:xfrm>
                  <a:off x="7017410" y="2818443"/>
                  <a:ext cx="28318" cy="38002"/>
                </a:xfrm>
                <a:custGeom>
                  <a:avLst/>
                  <a:gdLst>
                    <a:gd name="T0" fmla="*/ 17 w 18"/>
                    <a:gd name="T1" fmla="*/ 24 h 25"/>
                    <a:gd name="T2" fmla="*/ 17 w 18"/>
                    <a:gd name="T3" fmla="*/ 8 h 25"/>
                    <a:gd name="T4" fmla="*/ 0 w 18"/>
                    <a:gd name="T5" fmla="*/ 0 h 25"/>
                    <a:gd name="T6" fmla="*/ 0 w 18"/>
                    <a:gd name="T7" fmla="*/ 8 h 25"/>
                    <a:gd name="T8" fmla="*/ 17 w 18"/>
                    <a:gd name="T9" fmla="*/ 24 h 25"/>
                  </a:gdLst>
                  <a:ahLst/>
                  <a:cxnLst>
                    <a:cxn ang="0">
                      <a:pos x="T0" y="T1"/>
                    </a:cxn>
                    <a:cxn ang="0">
                      <a:pos x="T2" y="T3"/>
                    </a:cxn>
                    <a:cxn ang="0">
                      <a:pos x="T4" y="T5"/>
                    </a:cxn>
                    <a:cxn ang="0">
                      <a:pos x="T6" y="T7"/>
                    </a:cxn>
                    <a:cxn ang="0">
                      <a:pos x="T8" y="T9"/>
                    </a:cxn>
                  </a:cxnLst>
                  <a:rect l="0" t="0" r="r" b="b"/>
                  <a:pathLst>
                    <a:path w="18" h="25">
                      <a:moveTo>
                        <a:pt x="17" y="24"/>
                      </a:moveTo>
                      <a:lnTo>
                        <a:pt x="17" y="8"/>
                      </a:lnTo>
                      <a:lnTo>
                        <a:pt x="0" y="0"/>
                      </a:lnTo>
                      <a:lnTo>
                        <a:pt x="0" y="8"/>
                      </a:lnTo>
                      <a:lnTo>
                        <a:pt x="17" y="24"/>
                      </a:lnTo>
                    </a:path>
                  </a:pathLst>
                </a:custGeom>
                <a:grpFill/>
                <a:ln w="6350" cap="rnd" cmpd="sng">
                  <a:solidFill>
                    <a:srgbClr val="D0D0D0"/>
                  </a:solidFill>
                  <a:prstDash val="solid"/>
                  <a:round/>
                  <a:headEnd/>
                  <a:tailEnd/>
                </a:ln>
                <a:effectLst/>
              </p:spPr>
              <p:txBody>
                <a:bodyPr/>
                <a:lstStyle/>
                <a:p>
                  <a:endParaRPr lang="de-DE" dirty="0"/>
                </a:p>
              </p:txBody>
            </p:sp>
            <p:sp>
              <p:nvSpPr>
                <p:cNvPr id="697" name="Freeform 205">
                  <a:extLst>
                    <a:ext uri="{FF2B5EF4-FFF2-40B4-BE49-F238E27FC236}">
                      <a16:creationId xmlns:a16="http://schemas.microsoft.com/office/drawing/2014/main" id="{917F5430-9222-EEA8-8DFC-986874780B64}"/>
                    </a:ext>
                  </a:extLst>
                </p:cNvPr>
                <p:cNvSpPr>
                  <a:spLocks/>
                </p:cNvSpPr>
                <p:nvPr/>
              </p:nvSpPr>
              <p:spPr bwMode="gray">
                <a:xfrm>
                  <a:off x="6767698" y="2389011"/>
                  <a:ext cx="115845" cy="148211"/>
                </a:xfrm>
                <a:custGeom>
                  <a:avLst/>
                  <a:gdLst>
                    <a:gd name="T0" fmla="*/ 0 w 75"/>
                    <a:gd name="T1" fmla="*/ 97 h 98"/>
                    <a:gd name="T2" fmla="*/ 25 w 75"/>
                    <a:gd name="T3" fmla="*/ 90 h 98"/>
                    <a:gd name="T4" fmla="*/ 49 w 75"/>
                    <a:gd name="T5" fmla="*/ 90 h 98"/>
                    <a:gd name="T6" fmla="*/ 74 w 75"/>
                    <a:gd name="T7" fmla="*/ 72 h 98"/>
                    <a:gd name="T8" fmla="*/ 74 w 75"/>
                    <a:gd name="T9" fmla="*/ 40 h 98"/>
                    <a:gd name="T10" fmla="*/ 40 w 75"/>
                    <a:gd name="T11" fmla="*/ 0 h 98"/>
                    <a:gd name="T12" fmla="*/ 25 w 75"/>
                    <a:gd name="T13" fmla="*/ 16 h 98"/>
                    <a:gd name="T14" fmla="*/ 0 w 75"/>
                    <a:gd name="T15" fmla="*/ 97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6350" cap="rnd" cmpd="sng">
                  <a:solidFill>
                    <a:srgbClr val="D0D0D0"/>
                  </a:solidFill>
                  <a:prstDash val="solid"/>
                  <a:round/>
                  <a:headEnd/>
                  <a:tailEnd/>
                </a:ln>
                <a:effectLst/>
              </p:spPr>
              <p:txBody>
                <a:bodyPr/>
                <a:lstStyle/>
                <a:p>
                  <a:endParaRPr lang="de-DE" dirty="0"/>
                </a:p>
              </p:txBody>
            </p:sp>
            <p:sp>
              <p:nvSpPr>
                <p:cNvPr id="698" name="Freeform 206">
                  <a:extLst>
                    <a:ext uri="{FF2B5EF4-FFF2-40B4-BE49-F238E27FC236}">
                      <a16:creationId xmlns:a16="http://schemas.microsoft.com/office/drawing/2014/main" id="{915091BD-57E6-8F83-071D-4AE3DE0685E1}"/>
                    </a:ext>
                  </a:extLst>
                </p:cNvPr>
                <p:cNvSpPr>
                  <a:spLocks/>
                </p:cNvSpPr>
                <p:nvPr/>
              </p:nvSpPr>
              <p:spPr bwMode="gray">
                <a:xfrm>
                  <a:off x="6606802" y="2181263"/>
                  <a:ext cx="187928" cy="285021"/>
                </a:xfrm>
                <a:custGeom>
                  <a:avLst/>
                  <a:gdLst>
                    <a:gd name="T0" fmla="*/ 0 w 122"/>
                    <a:gd name="T1" fmla="*/ 97 h 188"/>
                    <a:gd name="T2" fmla="*/ 8 w 122"/>
                    <a:gd name="T3" fmla="*/ 122 h 188"/>
                    <a:gd name="T4" fmla="*/ 40 w 122"/>
                    <a:gd name="T5" fmla="*/ 137 h 188"/>
                    <a:gd name="T6" fmla="*/ 49 w 122"/>
                    <a:gd name="T7" fmla="*/ 162 h 188"/>
                    <a:gd name="T8" fmla="*/ 98 w 122"/>
                    <a:gd name="T9" fmla="*/ 187 h 188"/>
                    <a:gd name="T10" fmla="*/ 114 w 122"/>
                    <a:gd name="T11" fmla="*/ 177 h 188"/>
                    <a:gd name="T12" fmla="*/ 114 w 122"/>
                    <a:gd name="T13" fmla="*/ 153 h 188"/>
                    <a:gd name="T14" fmla="*/ 121 w 122"/>
                    <a:gd name="T15" fmla="*/ 122 h 188"/>
                    <a:gd name="T16" fmla="*/ 105 w 122"/>
                    <a:gd name="T17" fmla="*/ 97 h 188"/>
                    <a:gd name="T18" fmla="*/ 80 w 122"/>
                    <a:gd name="T19" fmla="*/ 88 h 188"/>
                    <a:gd name="T20" fmla="*/ 80 w 122"/>
                    <a:gd name="T21" fmla="*/ 65 h 188"/>
                    <a:gd name="T22" fmla="*/ 80 w 122"/>
                    <a:gd name="T23" fmla="*/ 40 h 188"/>
                    <a:gd name="T24" fmla="*/ 56 w 122"/>
                    <a:gd name="T25" fmla="*/ 0 h 188"/>
                    <a:gd name="T26" fmla="*/ 33 w 122"/>
                    <a:gd name="T27" fmla="*/ 32 h 188"/>
                    <a:gd name="T28" fmla="*/ 25 w 122"/>
                    <a:gd name="T29" fmla="*/ 65 h 188"/>
                    <a:gd name="T30" fmla="*/ 0 w 122"/>
                    <a:gd name="T31" fmla="*/ 9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699" name="Freeform 207">
                  <a:extLst>
                    <a:ext uri="{FF2B5EF4-FFF2-40B4-BE49-F238E27FC236}">
                      <a16:creationId xmlns:a16="http://schemas.microsoft.com/office/drawing/2014/main" id="{CAAA35CC-5E58-0CF3-8087-56BBEE8F9051}"/>
                    </a:ext>
                  </a:extLst>
                </p:cNvPr>
                <p:cNvSpPr>
                  <a:spLocks/>
                </p:cNvSpPr>
                <p:nvPr/>
              </p:nvSpPr>
              <p:spPr bwMode="gray">
                <a:xfrm>
                  <a:off x="5920739" y="2158461"/>
                  <a:ext cx="175056" cy="158345"/>
                </a:xfrm>
                <a:custGeom>
                  <a:avLst/>
                  <a:gdLst>
                    <a:gd name="T0" fmla="*/ 0 w 114"/>
                    <a:gd name="T1" fmla="*/ 103 h 104"/>
                    <a:gd name="T2" fmla="*/ 25 w 114"/>
                    <a:gd name="T3" fmla="*/ 103 h 104"/>
                    <a:gd name="T4" fmla="*/ 41 w 114"/>
                    <a:gd name="T5" fmla="*/ 80 h 104"/>
                    <a:gd name="T6" fmla="*/ 73 w 114"/>
                    <a:gd name="T7" fmla="*/ 87 h 104"/>
                    <a:gd name="T8" fmla="*/ 81 w 114"/>
                    <a:gd name="T9" fmla="*/ 80 h 104"/>
                    <a:gd name="T10" fmla="*/ 81 w 114"/>
                    <a:gd name="T11" fmla="*/ 47 h 104"/>
                    <a:gd name="T12" fmla="*/ 97 w 114"/>
                    <a:gd name="T13" fmla="*/ 47 h 104"/>
                    <a:gd name="T14" fmla="*/ 113 w 114"/>
                    <a:gd name="T15" fmla="*/ 40 h 104"/>
                    <a:gd name="T16" fmla="*/ 106 w 114"/>
                    <a:gd name="T17" fmla="*/ 0 h 104"/>
                    <a:gd name="T18" fmla="*/ 88 w 114"/>
                    <a:gd name="T19" fmla="*/ 22 h 104"/>
                    <a:gd name="T20" fmla="*/ 81 w 114"/>
                    <a:gd name="T21" fmla="*/ 47 h 104"/>
                    <a:gd name="T22" fmla="*/ 48 w 114"/>
                    <a:gd name="T23" fmla="*/ 55 h 104"/>
                    <a:gd name="T24" fmla="*/ 41 w 114"/>
                    <a:gd name="T25" fmla="*/ 80 h 104"/>
                    <a:gd name="T26" fmla="*/ 16 w 114"/>
                    <a:gd name="T27" fmla="*/ 80 h 104"/>
                    <a:gd name="T28" fmla="*/ 0 w 114"/>
                    <a:gd name="T29"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6350" cap="rnd" cmpd="sng">
                  <a:solidFill>
                    <a:srgbClr val="D0D0D0"/>
                  </a:solidFill>
                  <a:prstDash val="solid"/>
                  <a:round/>
                  <a:headEnd/>
                  <a:tailEnd/>
                </a:ln>
                <a:effectLst/>
              </p:spPr>
              <p:txBody>
                <a:bodyPr/>
                <a:lstStyle/>
                <a:p>
                  <a:endParaRPr lang="de-DE" dirty="0"/>
                </a:p>
              </p:txBody>
            </p:sp>
            <p:sp>
              <p:nvSpPr>
                <p:cNvPr id="700" name="Freeform 208">
                  <a:extLst>
                    <a:ext uri="{FF2B5EF4-FFF2-40B4-BE49-F238E27FC236}">
                      <a16:creationId xmlns:a16="http://schemas.microsoft.com/office/drawing/2014/main" id="{8A250D0D-B3CE-38F2-BF01-941006852385}"/>
                    </a:ext>
                  </a:extLst>
                </p:cNvPr>
                <p:cNvSpPr>
                  <a:spLocks/>
                </p:cNvSpPr>
                <p:nvPr/>
              </p:nvSpPr>
              <p:spPr bwMode="gray">
                <a:xfrm>
                  <a:off x="5883411" y="2120458"/>
                  <a:ext cx="87528" cy="135544"/>
                </a:xfrm>
                <a:custGeom>
                  <a:avLst/>
                  <a:gdLst>
                    <a:gd name="T0" fmla="*/ 0 w 57"/>
                    <a:gd name="T1" fmla="*/ 80 h 89"/>
                    <a:gd name="T2" fmla="*/ 24 w 57"/>
                    <a:gd name="T3" fmla="*/ 88 h 89"/>
                    <a:gd name="T4" fmla="*/ 56 w 57"/>
                    <a:gd name="T5" fmla="*/ 80 h 89"/>
                    <a:gd name="T6" fmla="*/ 49 w 57"/>
                    <a:gd name="T7" fmla="*/ 65 h 89"/>
                    <a:gd name="T8" fmla="*/ 56 w 57"/>
                    <a:gd name="T9" fmla="*/ 31 h 89"/>
                    <a:gd name="T10" fmla="*/ 56 w 57"/>
                    <a:gd name="T11" fmla="*/ 0 h 89"/>
                    <a:gd name="T12" fmla="*/ 32 w 57"/>
                    <a:gd name="T13" fmla="*/ 25 h 89"/>
                    <a:gd name="T14" fmla="*/ 32 w 57"/>
                    <a:gd name="T15" fmla="*/ 56 h 89"/>
                    <a:gd name="T16" fmla="*/ 7 w 57"/>
                    <a:gd name="T17" fmla="*/ 56 h 89"/>
                    <a:gd name="T18" fmla="*/ 0 w 57"/>
                    <a:gd name="T19" fmla="*/ 8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6350" cap="rnd" cmpd="sng">
                  <a:solidFill>
                    <a:srgbClr val="D0D0D0"/>
                  </a:solidFill>
                  <a:prstDash val="solid"/>
                  <a:round/>
                  <a:headEnd/>
                  <a:tailEnd/>
                </a:ln>
                <a:effectLst/>
              </p:spPr>
              <p:txBody>
                <a:bodyPr/>
                <a:lstStyle/>
                <a:p>
                  <a:endParaRPr lang="de-DE" dirty="0"/>
                </a:p>
              </p:txBody>
            </p:sp>
            <p:sp>
              <p:nvSpPr>
                <p:cNvPr id="701" name="Freeform 209">
                  <a:extLst>
                    <a:ext uri="{FF2B5EF4-FFF2-40B4-BE49-F238E27FC236}">
                      <a16:creationId xmlns:a16="http://schemas.microsoft.com/office/drawing/2014/main" id="{5ECE3197-196C-C2A3-7EA7-725CF4CDF179}"/>
                    </a:ext>
                  </a:extLst>
                </p:cNvPr>
                <p:cNvSpPr>
                  <a:spLocks/>
                </p:cNvSpPr>
                <p:nvPr/>
              </p:nvSpPr>
              <p:spPr bwMode="gray">
                <a:xfrm>
                  <a:off x="5858954" y="2280069"/>
                  <a:ext cx="37328" cy="25335"/>
                </a:xfrm>
                <a:custGeom>
                  <a:avLst/>
                  <a:gdLst>
                    <a:gd name="T0" fmla="*/ 0 w 24"/>
                    <a:gd name="T1" fmla="*/ 16 h 17"/>
                    <a:gd name="T2" fmla="*/ 23 w 24"/>
                    <a:gd name="T3" fmla="*/ 16 h 17"/>
                    <a:gd name="T4" fmla="*/ 16 w 24"/>
                    <a:gd name="T5" fmla="*/ 0 h 17"/>
                    <a:gd name="T6" fmla="*/ 0 w 24"/>
                    <a:gd name="T7" fmla="*/ 16 h 17"/>
                  </a:gdLst>
                  <a:ahLst/>
                  <a:cxnLst>
                    <a:cxn ang="0">
                      <a:pos x="T0" y="T1"/>
                    </a:cxn>
                    <a:cxn ang="0">
                      <a:pos x="T2" y="T3"/>
                    </a:cxn>
                    <a:cxn ang="0">
                      <a:pos x="T4" y="T5"/>
                    </a:cxn>
                    <a:cxn ang="0">
                      <a:pos x="T6" y="T7"/>
                    </a:cxn>
                  </a:cxnLst>
                  <a:rect l="0" t="0" r="r" b="b"/>
                  <a:pathLst>
                    <a:path w="24" h="17">
                      <a:moveTo>
                        <a:pt x="0" y="16"/>
                      </a:moveTo>
                      <a:lnTo>
                        <a:pt x="23" y="16"/>
                      </a:lnTo>
                      <a:lnTo>
                        <a:pt x="16"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702" name="Freeform 210">
                  <a:extLst>
                    <a:ext uri="{FF2B5EF4-FFF2-40B4-BE49-F238E27FC236}">
                      <a16:creationId xmlns:a16="http://schemas.microsoft.com/office/drawing/2014/main" id="{2910E27A-4C14-2398-2F35-645B0142D726}"/>
                    </a:ext>
                  </a:extLst>
                </p:cNvPr>
                <p:cNvSpPr>
                  <a:spLocks/>
                </p:cNvSpPr>
                <p:nvPr/>
              </p:nvSpPr>
              <p:spPr bwMode="gray">
                <a:xfrm>
                  <a:off x="5695483" y="2229400"/>
                  <a:ext cx="127430" cy="100074"/>
                </a:xfrm>
                <a:custGeom>
                  <a:avLst/>
                  <a:gdLst>
                    <a:gd name="T0" fmla="*/ 0 w 83"/>
                    <a:gd name="T1" fmla="*/ 24 h 66"/>
                    <a:gd name="T2" fmla="*/ 16 w 83"/>
                    <a:gd name="T3" fmla="*/ 33 h 66"/>
                    <a:gd name="T4" fmla="*/ 32 w 83"/>
                    <a:gd name="T5" fmla="*/ 33 h 66"/>
                    <a:gd name="T6" fmla="*/ 32 w 83"/>
                    <a:gd name="T7" fmla="*/ 56 h 66"/>
                    <a:gd name="T8" fmla="*/ 48 w 83"/>
                    <a:gd name="T9" fmla="*/ 65 h 66"/>
                    <a:gd name="T10" fmla="*/ 65 w 83"/>
                    <a:gd name="T11" fmla="*/ 56 h 66"/>
                    <a:gd name="T12" fmla="*/ 65 w 83"/>
                    <a:gd name="T13" fmla="*/ 40 h 66"/>
                    <a:gd name="T14" fmla="*/ 82 w 83"/>
                    <a:gd name="T15" fmla="*/ 16 h 66"/>
                    <a:gd name="T16" fmla="*/ 72 w 83"/>
                    <a:gd name="T17" fmla="*/ 8 h 66"/>
                    <a:gd name="T18" fmla="*/ 40 w 83"/>
                    <a:gd name="T19" fmla="*/ 24 h 66"/>
                    <a:gd name="T20" fmla="*/ 40 w 83"/>
                    <a:gd name="T21" fmla="*/ 8 h 66"/>
                    <a:gd name="T22" fmla="*/ 32 w 83"/>
                    <a:gd name="T23" fmla="*/ 0 h 66"/>
                    <a:gd name="T24" fmla="*/ 0 w 83"/>
                    <a:gd name="T25"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6350" cap="rnd" cmpd="sng">
                  <a:solidFill>
                    <a:srgbClr val="D0D0D0"/>
                  </a:solidFill>
                  <a:prstDash val="solid"/>
                  <a:round/>
                  <a:headEnd/>
                  <a:tailEnd/>
                </a:ln>
                <a:effectLst/>
              </p:spPr>
              <p:txBody>
                <a:bodyPr/>
                <a:lstStyle/>
                <a:p>
                  <a:endParaRPr lang="de-DE" dirty="0"/>
                </a:p>
              </p:txBody>
            </p:sp>
            <p:sp>
              <p:nvSpPr>
                <p:cNvPr id="703" name="Freeform 211">
                  <a:extLst>
                    <a:ext uri="{FF2B5EF4-FFF2-40B4-BE49-F238E27FC236}">
                      <a16:creationId xmlns:a16="http://schemas.microsoft.com/office/drawing/2014/main" id="{968FEEA3-0FF6-7C90-D83B-41065EEED9C9}"/>
                    </a:ext>
                  </a:extLst>
                </p:cNvPr>
                <p:cNvSpPr>
                  <a:spLocks/>
                </p:cNvSpPr>
                <p:nvPr/>
              </p:nvSpPr>
              <p:spPr bwMode="gray">
                <a:xfrm>
                  <a:off x="5032589" y="2280069"/>
                  <a:ext cx="315358" cy="393962"/>
                </a:xfrm>
                <a:custGeom>
                  <a:avLst/>
                  <a:gdLst>
                    <a:gd name="T0" fmla="*/ 0 w 205"/>
                    <a:gd name="T1" fmla="*/ 57 h 260"/>
                    <a:gd name="T2" fmla="*/ 9 w 205"/>
                    <a:gd name="T3" fmla="*/ 122 h 260"/>
                    <a:gd name="T4" fmla="*/ 25 w 205"/>
                    <a:gd name="T5" fmla="*/ 153 h 260"/>
                    <a:gd name="T6" fmla="*/ 50 w 205"/>
                    <a:gd name="T7" fmla="*/ 153 h 260"/>
                    <a:gd name="T8" fmla="*/ 33 w 205"/>
                    <a:gd name="T9" fmla="*/ 169 h 260"/>
                    <a:gd name="T10" fmla="*/ 41 w 205"/>
                    <a:gd name="T11" fmla="*/ 202 h 260"/>
                    <a:gd name="T12" fmla="*/ 75 w 205"/>
                    <a:gd name="T13" fmla="*/ 259 h 260"/>
                    <a:gd name="T14" fmla="*/ 106 w 205"/>
                    <a:gd name="T15" fmla="*/ 144 h 260"/>
                    <a:gd name="T16" fmla="*/ 115 w 205"/>
                    <a:gd name="T17" fmla="*/ 128 h 260"/>
                    <a:gd name="T18" fmla="*/ 121 w 205"/>
                    <a:gd name="T19" fmla="*/ 153 h 260"/>
                    <a:gd name="T20" fmla="*/ 139 w 205"/>
                    <a:gd name="T21" fmla="*/ 169 h 260"/>
                    <a:gd name="T22" fmla="*/ 121 w 205"/>
                    <a:gd name="T23" fmla="*/ 202 h 260"/>
                    <a:gd name="T24" fmla="*/ 146 w 205"/>
                    <a:gd name="T25" fmla="*/ 209 h 260"/>
                    <a:gd name="T26" fmla="*/ 180 w 205"/>
                    <a:gd name="T27" fmla="*/ 186 h 260"/>
                    <a:gd name="T28" fmla="*/ 155 w 205"/>
                    <a:gd name="T29" fmla="*/ 162 h 260"/>
                    <a:gd name="T30" fmla="*/ 130 w 205"/>
                    <a:gd name="T31" fmla="*/ 112 h 260"/>
                    <a:gd name="T32" fmla="*/ 106 w 205"/>
                    <a:gd name="T33" fmla="*/ 97 h 260"/>
                    <a:gd name="T34" fmla="*/ 98 w 205"/>
                    <a:gd name="T35" fmla="*/ 57 h 260"/>
                    <a:gd name="T36" fmla="*/ 130 w 205"/>
                    <a:gd name="T37" fmla="*/ 81 h 260"/>
                    <a:gd name="T38" fmla="*/ 162 w 205"/>
                    <a:gd name="T39" fmla="*/ 97 h 260"/>
                    <a:gd name="T40" fmla="*/ 187 w 205"/>
                    <a:gd name="T41" fmla="*/ 72 h 260"/>
                    <a:gd name="T42" fmla="*/ 204 w 205"/>
                    <a:gd name="T43" fmla="*/ 40 h 260"/>
                    <a:gd name="T44" fmla="*/ 204 w 205"/>
                    <a:gd name="T45" fmla="*/ 23 h 260"/>
                    <a:gd name="T46" fmla="*/ 155 w 205"/>
                    <a:gd name="T47" fmla="*/ 0 h 260"/>
                    <a:gd name="T48" fmla="*/ 130 w 205"/>
                    <a:gd name="T49" fmla="*/ 23 h 260"/>
                    <a:gd name="T50" fmla="*/ 115 w 205"/>
                    <a:gd name="T51" fmla="*/ 0 h 260"/>
                    <a:gd name="T52" fmla="*/ 90 w 205"/>
                    <a:gd name="T53" fmla="*/ 15 h 260"/>
                    <a:gd name="T54" fmla="*/ 90 w 205"/>
                    <a:gd name="T55" fmla="*/ 40 h 260"/>
                    <a:gd name="T56" fmla="*/ 65 w 205"/>
                    <a:gd name="T57" fmla="*/ 32 h 260"/>
                    <a:gd name="T58" fmla="*/ 58 w 205"/>
                    <a:gd name="T59" fmla="*/ 57 h 260"/>
                    <a:gd name="T60" fmla="*/ 33 w 205"/>
                    <a:gd name="T61" fmla="*/ 48 h 260"/>
                    <a:gd name="T62" fmla="*/ 0 w 205"/>
                    <a:gd name="T63" fmla="*/ 5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04" name="Freeform 227">
                  <a:extLst>
                    <a:ext uri="{FF2B5EF4-FFF2-40B4-BE49-F238E27FC236}">
                      <a16:creationId xmlns:a16="http://schemas.microsoft.com/office/drawing/2014/main" id="{EE047564-1C3B-AB0A-3DEA-E9AD4838BDE3}"/>
                    </a:ext>
                  </a:extLst>
                </p:cNvPr>
                <p:cNvSpPr>
                  <a:spLocks/>
                </p:cNvSpPr>
                <p:nvPr/>
              </p:nvSpPr>
              <p:spPr bwMode="gray">
                <a:xfrm>
                  <a:off x="8528552" y="3418887"/>
                  <a:ext cx="39902" cy="26602"/>
                </a:xfrm>
                <a:custGeom>
                  <a:avLst/>
                  <a:gdLst>
                    <a:gd name="T0" fmla="*/ 0 w 26"/>
                    <a:gd name="T1" fmla="*/ 0 h 18"/>
                    <a:gd name="T2" fmla="*/ 9 w 26"/>
                    <a:gd name="T3" fmla="*/ 0 h 18"/>
                    <a:gd name="T4" fmla="*/ 25 w 26"/>
                    <a:gd name="T5" fmla="*/ 8 h 18"/>
                    <a:gd name="T6" fmla="*/ 25 w 26"/>
                    <a:gd name="T7" fmla="*/ 17 h 18"/>
                    <a:gd name="T8" fmla="*/ 9 w 26"/>
                    <a:gd name="T9" fmla="*/ 8 h 18"/>
                    <a:gd name="T10" fmla="*/ 0 w 26"/>
                    <a:gd name="T11" fmla="*/ 8 h 18"/>
                    <a:gd name="T12" fmla="*/ 0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0" y="0"/>
                      </a:moveTo>
                      <a:lnTo>
                        <a:pt x="9" y="0"/>
                      </a:lnTo>
                      <a:lnTo>
                        <a:pt x="25" y="8"/>
                      </a:lnTo>
                      <a:lnTo>
                        <a:pt x="25" y="17"/>
                      </a:lnTo>
                      <a:lnTo>
                        <a:pt x="9" y="8"/>
                      </a:lnTo>
                      <a:lnTo>
                        <a:pt x="0" y="8"/>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705" name="Freeform 236">
                  <a:extLst>
                    <a:ext uri="{FF2B5EF4-FFF2-40B4-BE49-F238E27FC236}">
                      <a16:creationId xmlns:a16="http://schemas.microsoft.com/office/drawing/2014/main" id="{D7F0B463-1A26-D604-4B85-B1B9B79EB233}"/>
                    </a:ext>
                  </a:extLst>
                </p:cNvPr>
                <p:cNvSpPr>
                  <a:spLocks/>
                </p:cNvSpPr>
                <p:nvPr/>
              </p:nvSpPr>
              <p:spPr bwMode="gray">
                <a:xfrm>
                  <a:off x="4333654" y="3283343"/>
                  <a:ext cx="212384" cy="149477"/>
                </a:xfrm>
                <a:custGeom>
                  <a:avLst/>
                  <a:gdLst>
                    <a:gd name="T0" fmla="*/ 0 w 138"/>
                    <a:gd name="T1" fmla="*/ 32 h 98"/>
                    <a:gd name="T2" fmla="*/ 9 w 138"/>
                    <a:gd name="T3" fmla="*/ 41 h 98"/>
                    <a:gd name="T4" fmla="*/ 25 w 138"/>
                    <a:gd name="T5" fmla="*/ 32 h 98"/>
                    <a:gd name="T6" fmla="*/ 34 w 138"/>
                    <a:gd name="T7" fmla="*/ 41 h 98"/>
                    <a:gd name="T8" fmla="*/ 9 w 138"/>
                    <a:gd name="T9" fmla="*/ 56 h 98"/>
                    <a:gd name="T10" fmla="*/ 25 w 138"/>
                    <a:gd name="T11" fmla="*/ 56 h 98"/>
                    <a:gd name="T12" fmla="*/ 34 w 138"/>
                    <a:gd name="T13" fmla="*/ 74 h 98"/>
                    <a:gd name="T14" fmla="*/ 25 w 138"/>
                    <a:gd name="T15" fmla="*/ 81 h 98"/>
                    <a:gd name="T16" fmla="*/ 41 w 138"/>
                    <a:gd name="T17" fmla="*/ 81 h 98"/>
                    <a:gd name="T18" fmla="*/ 74 w 138"/>
                    <a:gd name="T19" fmla="*/ 97 h 98"/>
                    <a:gd name="T20" fmla="*/ 131 w 138"/>
                    <a:gd name="T21" fmla="*/ 65 h 98"/>
                    <a:gd name="T22" fmla="*/ 137 w 138"/>
                    <a:gd name="T23" fmla="*/ 56 h 98"/>
                    <a:gd name="T24" fmla="*/ 137 w 138"/>
                    <a:gd name="T25" fmla="*/ 32 h 98"/>
                    <a:gd name="T26" fmla="*/ 121 w 138"/>
                    <a:gd name="T27" fmla="*/ 24 h 98"/>
                    <a:gd name="T28" fmla="*/ 121 w 138"/>
                    <a:gd name="T29" fmla="*/ 9 h 98"/>
                    <a:gd name="T30" fmla="*/ 114 w 138"/>
                    <a:gd name="T31" fmla="*/ 9 h 98"/>
                    <a:gd name="T32" fmla="*/ 106 w 138"/>
                    <a:gd name="T33" fmla="*/ 0 h 98"/>
                    <a:gd name="T34" fmla="*/ 89 w 138"/>
                    <a:gd name="T35" fmla="*/ 16 h 98"/>
                    <a:gd name="T36" fmla="*/ 81 w 138"/>
                    <a:gd name="T37" fmla="*/ 16 h 98"/>
                    <a:gd name="T38" fmla="*/ 65 w 138"/>
                    <a:gd name="T39" fmla="*/ 16 h 98"/>
                    <a:gd name="T40" fmla="*/ 57 w 138"/>
                    <a:gd name="T41" fmla="*/ 24 h 98"/>
                    <a:gd name="T42" fmla="*/ 57 w 138"/>
                    <a:gd name="T43" fmla="*/ 16 h 98"/>
                    <a:gd name="T44" fmla="*/ 49 w 138"/>
                    <a:gd name="T45" fmla="*/ 32 h 98"/>
                    <a:gd name="T46" fmla="*/ 41 w 138"/>
                    <a:gd name="T47" fmla="*/ 41 h 98"/>
                    <a:gd name="T48" fmla="*/ 41 w 138"/>
                    <a:gd name="T49" fmla="*/ 16 h 98"/>
                    <a:gd name="T50" fmla="*/ 25 w 138"/>
                    <a:gd name="T51" fmla="*/ 9 h 98"/>
                    <a:gd name="T52" fmla="*/ 16 w 138"/>
                    <a:gd name="T53" fmla="*/ 9 h 98"/>
                    <a:gd name="T54" fmla="*/ 16 w 138"/>
                    <a:gd name="T55" fmla="*/ 16 h 98"/>
                    <a:gd name="T56" fmla="*/ 9 w 138"/>
                    <a:gd name="T57" fmla="*/ 16 h 98"/>
                    <a:gd name="T58" fmla="*/ 9 w 138"/>
                    <a:gd name="T59" fmla="*/ 24 h 98"/>
                    <a:gd name="T60" fmla="*/ 0 w 138"/>
                    <a:gd name="T6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06" name="Freeform 256">
                  <a:extLst>
                    <a:ext uri="{FF2B5EF4-FFF2-40B4-BE49-F238E27FC236}">
                      <a16:creationId xmlns:a16="http://schemas.microsoft.com/office/drawing/2014/main" id="{DC1F7D64-1273-00CC-ABFD-37B91C3A183B}"/>
                    </a:ext>
                  </a:extLst>
                </p:cNvPr>
                <p:cNvSpPr>
                  <a:spLocks/>
                </p:cNvSpPr>
                <p:nvPr/>
              </p:nvSpPr>
              <p:spPr bwMode="gray">
                <a:xfrm>
                  <a:off x="8329040" y="3014791"/>
                  <a:ext cx="90102" cy="49404"/>
                </a:xfrm>
                <a:custGeom>
                  <a:avLst/>
                  <a:gdLst>
                    <a:gd name="T0" fmla="*/ 18 w 59"/>
                    <a:gd name="T1" fmla="*/ 25 h 33"/>
                    <a:gd name="T2" fmla="*/ 33 w 59"/>
                    <a:gd name="T3" fmla="*/ 25 h 33"/>
                    <a:gd name="T4" fmla="*/ 58 w 59"/>
                    <a:gd name="T5" fmla="*/ 16 h 33"/>
                    <a:gd name="T6" fmla="*/ 42 w 59"/>
                    <a:gd name="T7" fmla="*/ 0 h 33"/>
                    <a:gd name="T8" fmla="*/ 18 w 59"/>
                    <a:gd name="T9" fmla="*/ 0 h 33"/>
                    <a:gd name="T10" fmla="*/ 0 w 59"/>
                    <a:gd name="T11" fmla="*/ 16 h 33"/>
                    <a:gd name="T12" fmla="*/ 8 w 59"/>
                    <a:gd name="T13" fmla="*/ 32 h 33"/>
                    <a:gd name="T14" fmla="*/ 18 w 59"/>
                    <a:gd name="T15" fmla="*/ 25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6350" cap="rnd" cmpd="sng">
                  <a:solidFill>
                    <a:srgbClr val="D0D0D0"/>
                  </a:solidFill>
                  <a:prstDash val="solid"/>
                  <a:round/>
                  <a:headEnd/>
                  <a:tailEnd/>
                </a:ln>
                <a:effectLst/>
              </p:spPr>
              <p:txBody>
                <a:bodyPr/>
                <a:lstStyle/>
                <a:p>
                  <a:endParaRPr lang="de-DE" dirty="0"/>
                </a:p>
              </p:txBody>
            </p:sp>
            <p:sp>
              <p:nvSpPr>
                <p:cNvPr id="707" name="Freeform 257">
                  <a:extLst>
                    <a:ext uri="{FF2B5EF4-FFF2-40B4-BE49-F238E27FC236}">
                      <a16:creationId xmlns:a16="http://schemas.microsoft.com/office/drawing/2014/main" id="{7C3DB843-4435-1924-1B9E-0A0A9657CAEA}"/>
                    </a:ext>
                  </a:extLst>
                </p:cNvPr>
                <p:cNvSpPr>
                  <a:spLocks/>
                </p:cNvSpPr>
                <p:nvPr/>
              </p:nvSpPr>
              <p:spPr bwMode="gray">
                <a:xfrm>
                  <a:off x="7581192" y="2865313"/>
                  <a:ext cx="64359" cy="53203"/>
                </a:xfrm>
                <a:custGeom>
                  <a:avLst/>
                  <a:gdLst>
                    <a:gd name="T0" fmla="*/ 0 w 42"/>
                    <a:gd name="T1" fmla="*/ 17 h 35"/>
                    <a:gd name="T2" fmla="*/ 16 w 42"/>
                    <a:gd name="T3" fmla="*/ 24 h 35"/>
                    <a:gd name="T4" fmla="*/ 41 w 42"/>
                    <a:gd name="T5" fmla="*/ 34 h 35"/>
                    <a:gd name="T6" fmla="*/ 41 w 42"/>
                    <a:gd name="T7" fmla="*/ 17 h 35"/>
                    <a:gd name="T8" fmla="*/ 24 w 42"/>
                    <a:gd name="T9" fmla="*/ 0 h 35"/>
                    <a:gd name="T10" fmla="*/ 9 w 42"/>
                    <a:gd name="T11" fmla="*/ 0 h 35"/>
                    <a:gd name="T12" fmla="*/ 0 w 42"/>
                    <a:gd name="T13" fmla="*/ 17 h 35"/>
                  </a:gdLst>
                  <a:ahLst/>
                  <a:cxnLst>
                    <a:cxn ang="0">
                      <a:pos x="T0" y="T1"/>
                    </a:cxn>
                    <a:cxn ang="0">
                      <a:pos x="T2" y="T3"/>
                    </a:cxn>
                    <a:cxn ang="0">
                      <a:pos x="T4" y="T5"/>
                    </a:cxn>
                    <a:cxn ang="0">
                      <a:pos x="T6" y="T7"/>
                    </a:cxn>
                    <a:cxn ang="0">
                      <a:pos x="T8" y="T9"/>
                    </a:cxn>
                    <a:cxn ang="0">
                      <a:pos x="T10" y="T11"/>
                    </a:cxn>
                    <a:cxn ang="0">
                      <a:pos x="T12" y="T13"/>
                    </a:cxn>
                  </a:cxnLst>
                  <a:rect l="0" t="0" r="r" b="b"/>
                  <a:pathLst>
                    <a:path w="42" h="35">
                      <a:moveTo>
                        <a:pt x="0" y="17"/>
                      </a:moveTo>
                      <a:lnTo>
                        <a:pt x="16" y="24"/>
                      </a:lnTo>
                      <a:lnTo>
                        <a:pt x="41" y="34"/>
                      </a:lnTo>
                      <a:lnTo>
                        <a:pt x="41" y="17"/>
                      </a:lnTo>
                      <a:lnTo>
                        <a:pt x="24" y="0"/>
                      </a:lnTo>
                      <a:lnTo>
                        <a:pt x="9" y="0"/>
                      </a:lnTo>
                      <a:lnTo>
                        <a:pt x="0" y="17"/>
                      </a:lnTo>
                    </a:path>
                  </a:pathLst>
                </a:custGeom>
                <a:grpFill/>
                <a:ln w="6350" cap="rnd" cmpd="sng">
                  <a:solidFill>
                    <a:srgbClr val="D0D0D0"/>
                  </a:solidFill>
                  <a:prstDash val="solid"/>
                  <a:round/>
                  <a:headEnd/>
                  <a:tailEnd/>
                </a:ln>
                <a:effectLst/>
              </p:spPr>
              <p:txBody>
                <a:bodyPr/>
                <a:lstStyle/>
                <a:p>
                  <a:endParaRPr lang="de-DE" dirty="0"/>
                </a:p>
              </p:txBody>
            </p:sp>
            <p:sp>
              <p:nvSpPr>
                <p:cNvPr id="708" name="Freeform 258">
                  <a:extLst>
                    <a:ext uri="{FF2B5EF4-FFF2-40B4-BE49-F238E27FC236}">
                      <a16:creationId xmlns:a16="http://schemas.microsoft.com/office/drawing/2014/main" id="{FC7949F9-4324-2B66-CD94-D9285D89726D}"/>
                    </a:ext>
                  </a:extLst>
                </p:cNvPr>
                <p:cNvSpPr>
                  <a:spLocks/>
                </p:cNvSpPr>
                <p:nvPr/>
              </p:nvSpPr>
              <p:spPr bwMode="gray">
                <a:xfrm>
                  <a:off x="7581192" y="2841245"/>
                  <a:ext cx="25743" cy="26602"/>
                </a:xfrm>
                <a:custGeom>
                  <a:avLst/>
                  <a:gdLst>
                    <a:gd name="T0" fmla="*/ 0 w 17"/>
                    <a:gd name="T1" fmla="*/ 0 h 17"/>
                    <a:gd name="T2" fmla="*/ 0 w 17"/>
                    <a:gd name="T3" fmla="*/ 16 h 17"/>
                    <a:gd name="T4" fmla="*/ 16 w 17"/>
                    <a:gd name="T5" fmla="*/ 9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0" y="16"/>
                      </a:lnTo>
                      <a:lnTo>
                        <a:pt x="16" y="9"/>
                      </a:lnTo>
                      <a:lnTo>
                        <a:pt x="16"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709" name="Freeform 259">
                  <a:extLst>
                    <a:ext uri="{FF2B5EF4-FFF2-40B4-BE49-F238E27FC236}">
                      <a16:creationId xmlns:a16="http://schemas.microsoft.com/office/drawing/2014/main" id="{BC1E4E8A-31EF-6FA6-8765-F80542E1919A}"/>
                    </a:ext>
                  </a:extLst>
                </p:cNvPr>
                <p:cNvSpPr>
                  <a:spLocks/>
                </p:cNvSpPr>
                <p:nvPr/>
              </p:nvSpPr>
              <p:spPr bwMode="gray">
                <a:xfrm>
                  <a:off x="7704761" y="2746237"/>
                  <a:ext cx="90102" cy="62071"/>
                </a:xfrm>
                <a:custGeom>
                  <a:avLst/>
                  <a:gdLst>
                    <a:gd name="T0" fmla="*/ 0 w 58"/>
                    <a:gd name="T1" fmla="*/ 0 h 41"/>
                    <a:gd name="T2" fmla="*/ 9 w 58"/>
                    <a:gd name="T3" fmla="*/ 23 h 41"/>
                    <a:gd name="T4" fmla="*/ 32 w 58"/>
                    <a:gd name="T5" fmla="*/ 40 h 41"/>
                    <a:gd name="T6" fmla="*/ 50 w 58"/>
                    <a:gd name="T7" fmla="*/ 40 h 41"/>
                    <a:gd name="T8" fmla="*/ 57 w 58"/>
                    <a:gd name="T9" fmla="*/ 16 h 41"/>
                    <a:gd name="T10" fmla="*/ 9 w 58"/>
                    <a:gd name="T11" fmla="*/ 6 h 41"/>
                    <a:gd name="T12" fmla="*/ 0 w 5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58" h="41">
                      <a:moveTo>
                        <a:pt x="0" y="0"/>
                      </a:moveTo>
                      <a:lnTo>
                        <a:pt x="9" y="23"/>
                      </a:lnTo>
                      <a:lnTo>
                        <a:pt x="32" y="40"/>
                      </a:lnTo>
                      <a:lnTo>
                        <a:pt x="50" y="40"/>
                      </a:lnTo>
                      <a:lnTo>
                        <a:pt x="57" y="16"/>
                      </a:lnTo>
                      <a:lnTo>
                        <a:pt x="9" y="6"/>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710" name="Freeform 260">
                  <a:extLst>
                    <a:ext uri="{FF2B5EF4-FFF2-40B4-BE49-F238E27FC236}">
                      <a16:creationId xmlns:a16="http://schemas.microsoft.com/office/drawing/2014/main" id="{45C7A9F6-8F02-8265-63E8-1868A7A12C0E}"/>
                    </a:ext>
                  </a:extLst>
                </p:cNvPr>
                <p:cNvSpPr>
                  <a:spLocks/>
                </p:cNvSpPr>
                <p:nvPr/>
              </p:nvSpPr>
              <p:spPr bwMode="gray">
                <a:xfrm>
                  <a:off x="7518120" y="2694301"/>
                  <a:ext cx="150599" cy="114008"/>
                </a:xfrm>
                <a:custGeom>
                  <a:avLst/>
                  <a:gdLst>
                    <a:gd name="T0" fmla="*/ 0 w 98"/>
                    <a:gd name="T1" fmla="*/ 50 h 75"/>
                    <a:gd name="T2" fmla="*/ 8 w 98"/>
                    <a:gd name="T3" fmla="*/ 74 h 75"/>
                    <a:gd name="T4" fmla="*/ 25 w 98"/>
                    <a:gd name="T5" fmla="*/ 74 h 75"/>
                    <a:gd name="T6" fmla="*/ 65 w 98"/>
                    <a:gd name="T7" fmla="*/ 57 h 75"/>
                    <a:gd name="T8" fmla="*/ 73 w 98"/>
                    <a:gd name="T9" fmla="*/ 65 h 75"/>
                    <a:gd name="T10" fmla="*/ 97 w 98"/>
                    <a:gd name="T11" fmla="*/ 40 h 75"/>
                    <a:gd name="T12" fmla="*/ 97 w 98"/>
                    <a:gd name="T13" fmla="*/ 25 h 75"/>
                    <a:gd name="T14" fmla="*/ 90 w 98"/>
                    <a:gd name="T15" fmla="*/ 16 h 75"/>
                    <a:gd name="T16" fmla="*/ 82 w 98"/>
                    <a:gd name="T17" fmla="*/ 16 h 75"/>
                    <a:gd name="T18" fmla="*/ 65 w 98"/>
                    <a:gd name="T19" fmla="*/ 0 h 75"/>
                    <a:gd name="T20" fmla="*/ 50 w 98"/>
                    <a:gd name="T21" fmla="*/ 16 h 75"/>
                    <a:gd name="T22" fmla="*/ 25 w 98"/>
                    <a:gd name="T23" fmla="*/ 0 h 75"/>
                    <a:gd name="T24" fmla="*/ 0 w 98"/>
                    <a:gd name="T25" fmla="*/ 9 h 75"/>
                    <a:gd name="T26" fmla="*/ 0 w 98"/>
                    <a:gd name="T27" fmla="*/ 5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11" name="Freeform 261">
                  <a:extLst>
                    <a:ext uri="{FF2B5EF4-FFF2-40B4-BE49-F238E27FC236}">
                      <a16:creationId xmlns:a16="http://schemas.microsoft.com/office/drawing/2014/main" id="{0EAC3F55-16F7-396B-9F8A-C967CD6EA6CC}"/>
                    </a:ext>
                  </a:extLst>
                </p:cNvPr>
                <p:cNvSpPr>
                  <a:spLocks/>
                </p:cNvSpPr>
                <p:nvPr/>
              </p:nvSpPr>
              <p:spPr bwMode="gray">
                <a:xfrm>
                  <a:off x="5830637" y="2623362"/>
                  <a:ext cx="341101" cy="454767"/>
                </a:xfrm>
                <a:custGeom>
                  <a:avLst/>
                  <a:gdLst>
                    <a:gd name="T0" fmla="*/ 0 w 221"/>
                    <a:gd name="T1" fmla="*/ 258 h 300"/>
                    <a:gd name="T2" fmla="*/ 25 w 221"/>
                    <a:gd name="T3" fmla="*/ 290 h 300"/>
                    <a:gd name="T4" fmla="*/ 66 w 221"/>
                    <a:gd name="T5" fmla="*/ 299 h 300"/>
                    <a:gd name="T6" fmla="*/ 74 w 221"/>
                    <a:gd name="T7" fmla="*/ 290 h 300"/>
                    <a:gd name="T8" fmla="*/ 58 w 221"/>
                    <a:gd name="T9" fmla="*/ 274 h 300"/>
                    <a:gd name="T10" fmla="*/ 49 w 221"/>
                    <a:gd name="T11" fmla="*/ 258 h 300"/>
                    <a:gd name="T12" fmla="*/ 49 w 221"/>
                    <a:gd name="T13" fmla="*/ 218 h 300"/>
                    <a:gd name="T14" fmla="*/ 58 w 221"/>
                    <a:gd name="T15" fmla="*/ 202 h 300"/>
                    <a:gd name="T16" fmla="*/ 114 w 221"/>
                    <a:gd name="T17" fmla="*/ 104 h 300"/>
                    <a:gd name="T18" fmla="*/ 155 w 221"/>
                    <a:gd name="T19" fmla="*/ 72 h 300"/>
                    <a:gd name="T20" fmla="*/ 220 w 221"/>
                    <a:gd name="T21" fmla="*/ 40 h 300"/>
                    <a:gd name="T22" fmla="*/ 220 w 221"/>
                    <a:gd name="T23" fmla="*/ 7 h 300"/>
                    <a:gd name="T24" fmla="*/ 205 w 221"/>
                    <a:gd name="T25" fmla="*/ 0 h 300"/>
                    <a:gd name="T26" fmla="*/ 188 w 221"/>
                    <a:gd name="T27" fmla="*/ 16 h 300"/>
                    <a:gd name="T28" fmla="*/ 171 w 221"/>
                    <a:gd name="T29" fmla="*/ 32 h 300"/>
                    <a:gd name="T30" fmla="*/ 146 w 221"/>
                    <a:gd name="T31" fmla="*/ 40 h 300"/>
                    <a:gd name="T32" fmla="*/ 123 w 221"/>
                    <a:gd name="T33" fmla="*/ 40 h 300"/>
                    <a:gd name="T34" fmla="*/ 99 w 221"/>
                    <a:gd name="T35" fmla="*/ 56 h 300"/>
                    <a:gd name="T36" fmla="*/ 74 w 221"/>
                    <a:gd name="T37" fmla="*/ 87 h 300"/>
                    <a:gd name="T38" fmla="*/ 49 w 221"/>
                    <a:gd name="T39" fmla="*/ 104 h 300"/>
                    <a:gd name="T40" fmla="*/ 49 w 221"/>
                    <a:gd name="T41" fmla="*/ 121 h 300"/>
                    <a:gd name="T42" fmla="*/ 41 w 221"/>
                    <a:gd name="T43" fmla="*/ 144 h 300"/>
                    <a:gd name="T44" fmla="*/ 25 w 221"/>
                    <a:gd name="T45" fmla="*/ 160 h 300"/>
                    <a:gd name="T46" fmla="*/ 34 w 221"/>
                    <a:gd name="T47" fmla="*/ 177 h 300"/>
                    <a:gd name="T48" fmla="*/ 25 w 221"/>
                    <a:gd name="T49" fmla="*/ 194 h 300"/>
                    <a:gd name="T50" fmla="*/ 9 w 221"/>
                    <a:gd name="T51" fmla="*/ 209 h 300"/>
                    <a:gd name="T52" fmla="*/ 18 w 221"/>
                    <a:gd name="T53" fmla="*/ 225 h 300"/>
                    <a:gd name="T54" fmla="*/ 0 w 221"/>
                    <a:gd name="T55" fmla="*/ 234 h 300"/>
                    <a:gd name="T56" fmla="*/ 0 w 221"/>
                    <a:gd name="T57"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6350" cap="rnd" cmpd="sng">
                  <a:solidFill>
                    <a:srgbClr val="D0D0D0"/>
                  </a:solidFill>
                  <a:prstDash val="solid"/>
                  <a:round/>
                  <a:headEnd/>
                  <a:tailEnd/>
                </a:ln>
                <a:effectLst/>
              </p:spPr>
              <p:txBody>
                <a:bodyPr/>
                <a:lstStyle/>
                <a:p>
                  <a:endParaRPr lang="de-DE" dirty="0"/>
                </a:p>
              </p:txBody>
            </p:sp>
            <p:sp>
              <p:nvSpPr>
                <p:cNvPr id="712" name="Freeform 262">
                  <a:extLst>
                    <a:ext uri="{FF2B5EF4-FFF2-40B4-BE49-F238E27FC236}">
                      <a16:creationId xmlns:a16="http://schemas.microsoft.com/office/drawing/2014/main" id="{96CA3024-AC4D-12BC-56CA-72F840D142D5}"/>
                    </a:ext>
                  </a:extLst>
                </p:cNvPr>
                <p:cNvSpPr>
                  <a:spLocks/>
                </p:cNvSpPr>
                <p:nvPr/>
              </p:nvSpPr>
              <p:spPr bwMode="gray">
                <a:xfrm>
                  <a:off x="5770139" y="3124998"/>
                  <a:ext cx="37328" cy="51937"/>
                </a:xfrm>
                <a:custGeom>
                  <a:avLst/>
                  <a:gdLst>
                    <a:gd name="T0" fmla="*/ 0 w 25"/>
                    <a:gd name="T1" fmla="*/ 33 h 34"/>
                    <a:gd name="T2" fmla="*/ 17 w 25"/>
                    <a:gd name="T3" fmla="*/ 24 h 34"/>
                    <a:gd name="T4" fmla="*/ 24 w 25"/>
                    <a:gd name="T5" fmla="*/ 15 h 34"/>
                    <a:gd name="T6" fmla="*/ 9 w 25"/>
                    <a:gd name="T7" fmla="*/ 0 h 34"/>
                    <a:gd name="T8" fmla="*/ 0 w 25"/>
                    <a:gd name="T9" fmla="*/ 15 h 34"/>
                    <a:gd name="T10" fmla="*/ 0 w 25"/>
                    <a:gd name="T11" fmla="*/ 33 h 34"/>
                  </a:gdLst>
                  <a:ahLst/>
                  <a:cxnLst>
                    <a:cxn ang="0">
                      <a:pos x="T0" y="T1"/>
                    </a:cxn>
                    <a:cxn ang="0">
                      <a:pos x="T2" y="T3"/>
                    </a:cxn>
                    <a:cxn ang="0">
                      <a:pos x="T4" y="T5"/>
                    </a:cxn>
                    <a:cxn ang="0">
                      <a:pos x="T6" y="T7"/>
                    </a:cxn>
                    <a:cxn ang="0">
                      <a:pos x="T8" y="T9"/>
                    </a:cxn>
                    <a:cxn ang="0">
                      <a:pos x="T10" y="T11"/>
                    </a:cxn>
                  </a:cxnLst>
                  <a:rect l="0" t="0" r="r" b="b"/>
                  <a:pathLst>
                    <a:path w="25" h="34">
                      <a:moveTo>
                        <a:pt x="0" y="33"/>
                      </a:moveTo>
                      <a:lnTo>
                        <a:pt x="17" y="24"/>
                      </a:lnTo>
                      <a:lnTo>
                        <a:pt x="24" y="15"/>
                      </a:lnTo>
                      <a:lnTo>
                        <a:pt x="9" y="0"/>
                      </a:lnTo>
                      <a:lnTo>
                        <a:pt x="0" y="15"/>
                      </a:lnTo>
                      <a:lnTo>
                        <a:pt x="0" y="33"/>
                      </a:lnTo>
                    </a:path>
                  </a:pathLst>
                </a:custGeom>
                <a:grpFill/>
                <a:ln w="6350" cap="rnd" cmpd="sng">
                  <a:solidFill>
                    <a:srgbClr val="D0D0D0"/>
                  </a:solidFill>
                  <a:prstDash val="solid"/>
                  <a:round/>
                  <a:headEnd/>
                  <a:tailEnd/>
                </a:ln>
                <a:effectLst/>
              </p:spPr>
              <p:txBody>
                <a:bodyPr/>
                <a:lstStyle/>
                <a:p>
                  <a:endParaRPr lang="de-DE" dirty="0"/>
                </a:p>
              </p:txBody>
            </p:sp>
            <p:sp>
              <p:nvSpPr>
                <p:cNvPr id="713" name="Freeform 263">
                  <a:extLst>
                    <a:ext uri="{FF2B5EF4-FFF2-40B4-BE49-F238E27FC236}">
                      <a16:creationId xmlns:a16="http://schemas.microsoft.com/office/drawing/2014/main" id="{C485861E-45EC-9F6B-797A-9ACC32CBB52A}"/>
                    </a:ext>
                  </a:extLst>
                </p:cNvPr>
                <p:cNvSpPr>
                  <a:spLocks/>
                </p:cNvSpPr>
                <p:nvPr/>
              </p:nvSpPr>
              <p:spPr bwMode="gray">
                <a:xfrm>
                  <a:off x="4672181" y="3626636"/>
                  <a:ext cx="27031" cy="39270"/>
                </a:xfrm>
                <a:custGeom>
                  <a:avLst/>
                  <a:gdLst>
                    <a:gd name="T0" fmla="*/ 0 w 17"/>
                    <a:gd name="T1" fmla="*/ 25 h 26"/>
                    <a:gd name="T2" fmla="*/ 7 w 17"/>
                    <a:gd name="T3" fmla="*/ 10 h 26"/>
                    <a:gd name="T4" fmla="*/ 16 w 17"/>
                    <a:gd name="T5" fmla="*/ 0 h 26"/>
                    <a:gd name="T6" fmla="*/ 0 w 17"/>
                    <a:gd name="T7" fmla="*/ 10 h 26"/>
                    <a:gd name="T8" fmla="*/ 0 w 17"/>
                    <a:gd name="T9" fmla="*/ 25 h 26"/>
                  </a:gdLst>
                  <a:ahLst/>
                  <a:cxnLst>
                    <a:cxn ang="0">
                      <a:pos x="T0" y="T1"/>
                    </a:cxn>
                    <a:cxn ang="0">
                      <a:pos x="T2" y="T3"/>
                    </a:cxn>
                    <a:cxn ang="0">
                      <a:pos x="T4" y="T5"/>
                    </a:cxn>
                    <a:cxn ang="0">
                      <a:pos x="T6" y="T7"/>
                    </a:cxn>
                    <a:cxn ang="0">
                      <a:pos x="T8" y="T9"/>
                    </a:cxn>
                  </a:cxnLst>
                  <a:rect l="0" t="0" r="r" b="b"/>
                  <a:pathLst>
                    <a:path w="17" h="26">
                      <a:moveTo>
                        <a:pt x="0" y="25"/>
                      </a:moveTo>
                      <a:lnTo>
                        <a:pt x="7" y="10"/>
                      </a:lnTo>
                      <a:lnTo>
                        <a:pt x="16" y="0"/>
                      </a:lnTo>
                      <a:lnTo>
                        <a:pt x="0" y="10"/>
                      </a:lnTo>
                      <a:lnTo>
                        <a:pt x="0" y="25"/>
                      </a:lnTo>
                    </a:path>
                  </a:pathLst>
                </a:custGeom>
                <a:grpFill/>
                <a:ln w="6350" cap="rnd" cmpd="sng">
                  <a:solidFill>
                    <a:srgbClr val="D0D0D0"/>
                  </a:solidFill>
                  <a:prstDash val="solid"/>
                  <a:round/>
                  <a:headEnd/>
                  <a:tailEnd/>
                </a:ln>
                <a:effectLst/>
              </p:spPr>
              <p:txBody>
                <a:bodyPr/>
                <a:lstStyle/>
                <a:p>
                  <a:endParaRPr lang="de-DE" dirty="0"/>
                </a:p>
              </p:txBody>
            </p:sp>
            <p:sp>
              <p:nvSpPr>
                <p:cNvPr id="714" name="Freeform 264">
                  <a:extLst>
                    <a:ext uri="{FF2B5EF4-FFF2-40B4-BE49-F238E27FC236}">
                      <a16:creationId xmlns:a16="http://schemas.microsoft.com/office/drawing/2014/main" id="{2E702A16-6114-0EA7-E25B-26D24E2509F5}"/>
                    </a:ext>
                  </a:extLst>
                </p:cNvPr>
                <p:cNvSpPr>
                  <a:spLocks/>
                </p:cNvSpPr>
                <p:nvPr/>
              </p:nvSpPr>
              <p:spPr bwMode="gray">
                <a:xfrm>
                  <a:off x="4672181" y="3626636"/>
                  <a:ext cx="27031" cy="39270"/>
                </a:xfrm>
                <a:custGeom>
                  <a:avLst/>
                  <a:gdLst>
                    <a:gd name="T0" fmla="*/ 0 w 17"/>
                    <a:gd name="T1" fmla="*/ 25 h 26"/>
                    <a:gd name="T2" fmla="*/ 7 w 17"/>
                    <a:gd name="T3" fmla="*/ 10 h 26"/>
                    <a:gd name="T4" fmla="*/ 16 w 17"/>
                    <a:gd name="T5" fmla="*/ 0 h 26"/>
                    <a:gd name="T6" fmla="*/ 0 w 17"/>
                    <a:gd name="T7" fmla="*/ 10 h 26"/>
                    <a:gd name="T8" fmla="*/ 0 w 17"/>
                    <a:gd name="T9" fmla="*/ 25 h 26"/>
                  </a:gdLst>
                  <a:ahLst/>
                  <a:cxnLst>
                    <a:cxn ang="0">
                      <a:pos x="T0" y="T1"/>
                    </a:cxn>
                    <a:cxn ang="0">
                      <a:pos x="T2" y="T3"/>
                    </a:cxn>
                    <a:cxn ang="0">
                      <a:pos x="T4" y="T5"/>
                    </a:cxn>
                    <a:cxn ang="0">
                      <a:pos x="T6" y="T7"/>
                    </a:cxn>
                    <a:cxn ang="0">
                      <a:pos x="T8" y="T9"/>
                    </a:cxn>
                  </a:cxnLst>
                  <a:rect l="0" t="0" r="r" b="b"/>
                  <a:pathLst>
                    <a:path w="17" h="26">
                      <a:moveTo>
                        <a:pt x="0" y="25"/>
                      </a:moveTo>
                      <a:lnTo>
                        <a:pt x="7" y="10"/>
                      </a:lnTo>
                      <a:lnTo>
                        <a:pt x="16" y="0"/>
                      </a:lnTo>
                      <a:lnTo>
                        <a:pt x="0" y="10"/>
                      </a:lnTo>
                      <a:lnTo>
                        <a:pt x="0" y="2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15" name="Freeform 265">
                  <a:extLst>
                    <a:ext uri="{FF2B5EF4-FFF2-40B4-BE49-F238E27FC236}">
                      <a16:creationId xmlns:a16="http://schemas.microsoft.com/office/drawing/2014/main" id="{3E4DFFA7-8B3F-0F26-D5B9-22768FD8384F}"/>
                    </a:ext>
                  </a:extLst>
                </p:cNvPr>
                <p:cNvSpPr>
                  <a:spLocks/>
                </p:cNvSpPr>
                <p:nvPr/>
              </p:nvSpPr>
              <p:spPr bwMode="gray">
                <a:xfrm>
                  <a:off x="5008133" y="3725443"/>
                  <a:ext cx="25743" cy="26602"/>
                </a:xfrm>
                <a:custGeom>
                  <a:avLst/>
                  <a:gdLst>
                    <a:gd name="T0" fmla="*/ 0 w 17"/>
                    <a:gd name="T1" fmla="*/ 9 h 17"/>
                    <a:gd name="T2" fmla="*/ 0 w 17"/>
                    <a:gd name="T3" fmla="*/ 16 h 17"/>
                    <a:gd name="T4" fmla="*/ 16 w 17"/>
                    <a:gd name="T5" fmla="*/ 16 h 17"/>
                    <a:gd name="T6" fmla="*/ 16 w 17"/>
                    <a:gd name="T7" fmla="*/ 9 h 17"/>
                    <a:gd name="T8" fmla="*/ 16 w 17"/>
                    <a:gd name="T9" fmla="*/ 0 h 17"/>
                    <a:gd name="T10" fmla="*/ 0 w 17"/>
                    <a:gd name="T11" fmla="*/ 9 h 17"/>
                  </a:gdLst>
                  <a:ahLst/>
                  <a:cxnLst>
                    <a:cxn ang="0">
                      <a:pos x="T0" y="T1"/>
                    </a:cxn>
                    <a:cxn ang="0">
                      <a:pos x="T2" y="T3"/>
                    </a:cxn>
                    <a:cxn ang="0">
                      <a:pos x="T4" y="T5"/>
                    </a:cxn>
                    <a:cxn ang="0">
                      <a:pos x="T6" y="T7"/>
                    </a:cxn>
                    <a:cxn ang="0">
                      <a:pos x="T8" y="T9"/>
                    </a:cxn>
                    <a:cxn ang="0">
                      <a:pos x="T10" y="T11"/>
                    </a:cxn>
                  </a:cxnLst>
                  <a:rect l="0" t="0" r="r" b="b"/>
                  <a:pathLst>
                    <a:path w="17" h="17">
                      <a:moveTo>
                        <a:pt x="0" y="9"/>
                      </a:moveTo>
                      <a:lnTo>
                        <a:pt x="0" y="16"/>
                      </a:lnTo>
                      <a:lnTo>
                        <a:pt x="16" y="16"/>
                      </a:lnTo>
                      <a:lnTo>
                        <a:pt x="16" y="9"/>
                      </a:lnTo>
                      <a:lnTo>
                        <a:pt x="16" y="0"/>
                      </a:lnTo>
                      <a:lnTo>
                        <a:pt x="0" y="9"/>
                      </a:lnTo>
                    </a:path>
                  </a:pathLst>
                </a:custGeom>
                <a:grpFill/>
                <a:ln w="6350" cap="rnd" cmpd="sng">
                  <a:solidFill>
                    <a:srgbClr val="D0D0D0"/>
                  </a:solidFill>
                  <a:prstDash val="solid"/>
                  <a:round/>
                  <a:headEnd/>
                  <a:tailEnd/>
                </a:ln>
                <a:effectLst/>
              </p:spPr>
              <p:txBody>
                <a:bodyPr/>
                <a:lstStyle/>
                <a:p>
                  <a:endParaRPr lang="de-DE" dirty="0"/>
                </a:p>
              </p:txBody>
            </p:sp>
            <p:sp>
              <p:nvSpPr>
                <p:cNvPr id="716" name="Freeform 266">
                  <a:extLst>
                    <a:ext uri="{FF2B5EF4-FFF2-40B4-BE49-F238E27FC236}">
                      <a16:creationId xmlns:a16="http://schemas.microsoft.com/office/drawing/2014/main" id="{FCCC5803-6969-9CD0-2E47-A0CF14ED1E37}"/>
                    </a:ext>
                  </a:extLst>
                </p:cNvPr>
                <p:cNvSpPr>
                  <a:spLocks/>
                </p:cNvSpPr>
                <p:nvPr/>
              </p:nvSpPr>
              <p:spPr bwMode="gray">
                <a:xfrm>
                  <a:off x="5032589" y="3712775"/>
                  <a:ext cx="29605" cy="27868"/>
                </a:xfrm>
                <a:custGeom>
                  <a:avLst/>
                  <a:gdLst>
                    <a:gd name="T0" fmla="*/ 0 w 19"/>
                    <a:gd name="T1" fmla="*/ 9 h 19"/>
                    <a:gd name="T2" fmla="*/ 0 w 19"/>
                    <a:gd name="T3" fmla="*/ 18 h 19"/>
                    <a:gd name="T4" fmla="*/ 18 w 19"/>
                    <a:gd name="T5" fmla="*/ 18 h 19"/>
                    <a:gd name="T6" fmla="*/ 18 w 19"/>
                    <a:gd name="T7" fmla="*/ 9 h 19"/>
                    <a:gd name="T8" fmla="*/ 18 w 19"/>
                    <a:gd name="T9" fmla="*/ 0 h 19"/>
                    <a:gd name="T10" fmla="*/ 0 w 19"/>
                    <a:gd name="T11" fmla="*/ 9 h 19"/>
                  </a:gdLst>
                  <a:ahLst/>
                  <a:cxnLst>
                    <a:cxn ang="0">
                      <a:pos x="T0" y="T1"/>
                    </a:cxn>
                    <a:cxn ang="0">
                      <a:pos x="T2" y="T3"/>
                    </a:cxn>
                    <a:cxn ang="0">
                      <a:pos x="T4" y="T5"/>
                    </a:cxn>
                    <a:cxn ang="0">
                      <a:pos x="T6" y="T7"/>
                    </a:cxn>
                    <a:cxn ang="0">
                      <a:pos x="T8" y="T9"/>
                    </a:cxn>
                    <a:cxn ang="0">
                      <a:pos x="T10" y="T11"/>
                    </a:cxn>
                  </a:cxnLst>
                  <a:rect l="0" t="0" r="r" b="b"/>
                  <a:pathLst>
                    <a:path w="19" h="19">
                      <a:moveTo>
                        <a:pt x="0" y="9"/>
                      </a:moveTo>
                      <a:lnTo>
                        <a:pt x="0" y="18"/>
                      </a:lnTo>
                      <a:lnTo>
                        <a:pt x="18" y="18"/>
                      </a:lnTo>
                      <a:lnTo>
                        <a:pt x="18" y="9"/>
                      </a:lnTo>
                      <a:lnTo>
                        <a:pt x="18" y="0"/>
                      </a:lnTo>
                      <a:lnTo>
                        <a:pt x="0" y="9"/>
                      </a:lnTo>
                    </a:path>
                  </a:pathLst>
                </a:custGeom>
                <a:grpFill/>
                <a:ln w="6350" cap="rnd" cmpd="sng">
                  <a:solidFill>
                    <a:srgbClr val="D0D0D0"/>
                  </a:solidFill>
                  <a:prstDash val="solid"/>
                  <a:round/>
                  <a:headEnd/>
                  <a:tailEnd/>
                </a:ln>
                <a:effectLst/>
              </p:spPr>
              <p:txBody>
                <a:bodyPr/>
                <a:lstStyle/>
                <a:p>
                  <a:endParaRPr lang="de-DE" dirty="0"/>
                </a:p>
              </p:txBody>
            </p:sp>
            <p:sp>
              <p:nvSpPr>
                <p:cNvPr id="717" name="Freeform 267">
                  <a:extLst>
                    <a:ext uri="{FF2B5EF4-FFF2-40B4-BE49-F238E27FC236}">
                      <a16:creationId xmlns:a16="http://schemas.microsoft.com/office/drawing/2014/main" id="{F218DB99-8549-0D8E-FA5F-65C39CE605E2}"/>
                    </a:ext>
                  </a:extLst>
                </p:cNvPr>
                <p:cNvSpPr>
                  <a:spLocks/>
                </p:cNvSpPr>
                <p:nvPr/>
              </p:nvSpPr>
              <p:spPr bwMode="gray">
                <a:xfrm>
                  <a:off x="5032589" y="3750778"/>
                  <a:ext cx="29605" cy="25335"/>
                </a:xfrm>
                <a:custGeom>
                  <a:avLst/>
                  <a:gdLst>
                    <a:gd name="T0" fmla="*/ 0 w 19"/>
                    <a:gd name="T1" fmla="*/ 0 h 17"/>
                    <a:gd name="T2" fmla="*/ 0 w 19"/>
                    <a:gd name="T3" fmla="*/ 16 h 17"/>
                    <a:gd name="T4" fmla="*/ 18 w 19"/>
                    <a:gd name="T5" fmla="*/ 0 h 17"/>
                    <a:gd name="T6" fmla="*/ 0 w 19"/>
                    <a:gd name="T7" fmla="*/ 0 h 17"/>
                  </a:gdLst>
                  <a:ahLst/>
                  <a:cxnLst>
                    <a:cxn ang="0">
                      <a:pos x="T0" y="T1"/>
                    </a:cxn>
                    <a:cxn ang="0">
                      <a:pos x="T2" y="T3"/>
                    </a:cxn>
                    <a:cxn ang="0">
                      <a:pos x="T4" y="T5"/>
                    </a:cxn>
                    <a:cxn ang="0">
                      <a:pos x="T6" y="T7"/>
                    </a:cxn>
                  </a:cxnLst>
                  <a:rect l="0" t="0" r="r" b="b"/>
                  <a:pathLst>
                    <a:path w="19" h="17">
                      <a:moveTo>
                        <a:pt x="0" y="0"/>
                      </a:moveTo>
                      <a:lnTo>
                        <a:pt x="0" y="16"/>
                      </a:lnTo>
                      <a:lnTo>
                        <a:pt x="18"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718" name="Freeform 268">
                  <a:extLst>
                    <a:ext uri="{FF2B5EF4-FFF2-40B4-BE49-F238E27FC236}">
                      <a16:creationId xmlns:a16="http://schemas.microsoft.com/office/drawing/2014/main" id="{581E6D23-DF71-C2F7-E173-C0EFB1F13ED7}"/>
                    </a:ext>
                  </a:extLst>
                </p:cNvPr>
                <p:cNvSpPr>
                  <a:spLocks/>
                </p:cNvSpPr>
                <p:nvPr/>
              </p:nvSpPr>
              <p:spPr bwMode="gray">
                <a:xfrm>
                  <a:off x="4683765" y="3626636"/>
                  <a:ext cx="164758" cy="283754"/>
                </a:xfrm>
                <a:custGeom>
                  <a:avLst/>
                  <a:gdLst>
                    <a:gd name="T0" fmla="*/ 18 w 107"/>
                    <a:gd name="T1" fmla="*/ 187 h 188"/>
                    <a:gd name="T2" fmla="*/ 24 w 107"/>
                    <a:gd name="T3" fmla="*/ 179 h 188"/>
                    <a:gd name="T4" fmla="*/ 41 w 107"/>
                    <a:gd name="T5" fmla="*/ 187 h 188"/>
                    <a:gd name="T6" fmla="*/ 41 w 107"/>
                    <a:gd name="T7" fmla="*/ 179 h 188"/>
                    <a:gd name="T8" fmla="*/ 49 w 107"/>
                    <a:gd name="T9" fmla="*/ 171 h 188"/>
                    <a:gd name="T10" fmla="*/ 58 w 107"/>
                    <a:gd name="T11" fmla="*/ 179 h 188"/>
                    <a:gd name="T12" fmla="*/ 66 w 107"/>
                    <a:gd name="T13" fmla="*/ 171 h 188"/>
                    <a:gd name="T14" fmla="*/ 98 w 107"/>
                    <a:gd name="T15" fmla="*/ 171 h 188"/>
                    <a:gd name="T16" fmla="*/ 106 w 107"/>
                    <a:gd name="T17" fmla="*/ 162 h 188"/>
                    <a:gd name="T18" fmla="*/ 90 w 107"/>
                    <a:gd name="T19" fmla="*/ 162 h 188"/>
                    <a:gd name="T20" fmla="*/ 106 w 107"/>
                    <a:gd name="T21" fmla="*/ 138 h 188"/>
                    <a:gd name="T22" fmla="*/ 98 w 107"/>
                    <a:gd name="T23" fmla="*/ 131 h 188"/>
                    <a:gd name="T24" fmla="*/ 90 w 107"/>
                    <a:gd name="T25" fmla="*/ 131 h 188"/>
                    <a:gd name="T26" fmla="*/ 81 w 107"/>
                    <a:gd name="T27" fmla="*/ 131 h 188"/>
                    <a:gd name="T28" fmla="*/ 90 w 107"/>
                    <a:gd name="T29" fmla="*/ 122 h 188"/>
                    <a:gd name="T30" fmla="*/ 90 w 107"/>
                    <a:gd name="T31" fmla="*/ 115 h 188"/>
                    <a:gd name="T32" fmla="*/ 81 w 107"/>
                    <a:gd name="T33" fmla="*/ 97 h 188"/>
                    <a:gd name="T34" fmla="*/ 74 w 107"/>
                    <a:gd name="T35" fmla="*/ 91 h 188"/>
                    <a:gd name="T36" fmla="*/ 58 w 107"/>
                    <a:gd name="T37" fmla="*/ 66 h 188"/>
                    <a:gd name="T38" fmla="*/ 41 w 107"/>
                    <a:gd name="T39" fmla="*/ 57 h 188"/>
                    <a:gd name="T40" fmla="*/ 66 w 107"/>
                    <a:gd name="T41" fmla="*/ 25 h 188"/>
                    <a:gd name="T42" fmla="*/ 58 w 107"/>
                    <a:gd name="T43" fmla="*/ 17 h 188"/>
                    <a:gd name="T44" fmla="*/ 33 w 107"/>
                    <a:gd name="T45" fmla="*/ 25 h 188"/>
                    <a:gd name="T46" fmla="*/ 33 w 107"/>
                    <a:gd name="T47" fmla="*/ 10 h 188"/>
                    <a:gd name="T48" fmla="*/ 49 w 107"/>
                    <a:gd name="T49" fmla="*/ 0 h 188"/>
                    <a:gd name="T50" fmla="*/ 41 w 107"/>
                    <a:gd name="T51" fmla="*/ 0 h 188"/>
                    <a:gd name="T52" fmla="*/ 24 w 107"/>
                    <a:gd name="T53" fmla="*/ 0 h 188"/>
                    <a:gd name="T54" fmla="*/ 9 w 107"/>
                    <a:gd name="T55" fmla="*/ 25 h 188"/>
                    <a:gd name="T56" fmla="*/ 0 w 107"/>
                    <a:gd name="T57" fmla="*/ 25 h 188"/>
                    <a:gd name="T58" fmla="*/ 9 w 107"/>
                    <a:gd name="T59" fmla="*/ 33 h 188"/>
                    <a:gd name="T60" fmla="*/ 18 w 107"/>
                    <a:gd name="T61" fmla="*/ 33 h 188"/>
                    <a:gd name="T62" fmla="*/ 9 w 107"/>
                    <a:gd name="T63" fmla="*/ 50 h 188"/>
                    <a:gd name="T64" fmla="*/ 18 w 107"/>
                    <a:gd name="T65" fmla="*/ 50 h 188"/>
                    <a:gd name="T66" fmla="*/ 18 w 107"/>
                    <a:gd name="T67" fmla="*/ 57 h 188"/>
                    <a:gd name="T68" fmla="*/ 9 w 107"/>
                    <a:gd name="T69" fmla="*/ 66 h 188"/>
                    <a:gd name="T70" fmla="*/ 18 w 107"/>
                    <a:gd name="T71" fmla="*/ 66 h 188"/>
                    <a:gd name="T72" fmla="*/ 24 w 107"/>
                    <a:gd name="T73" fmla="*/ 75 h 188"/>
                    <a:gd name="T74" fmla="*/ 18 w 107"/>
                    <a:gd name="T75" fmla="*/ 82 h 188"/>
                    <a:gd name="T76" fmla="*/ 24 w 107"/>
                    <a:gd name="T77" fmla="*/ 91 h 188"/>
                    <a:gd name="T78" fmla="*/ 41 w 107"/>
                    <a:gd name="T79" fmla="*/ 82 h 188"/>
                    <a:gd name="T80" fmla="*/ 41 w 107"/>
                    <a:gd name="T81" fmla="*/ 91 h 188"/>
                    <a:gd name="T82" fmla="*/ 41 w 107"/>
                    <a:gd name="T83" fmla="*/ 97 h 188"/>
                    <a:gd name="T84" fmla="*/ 49 w 107"/>
                    <a:gd name="T85" fmla="*/ 97 h 188"/>
                    <a:gd name="T86" fmla="*/ 49 w 107"/>
                    <a:gd name="T87" fmla="*/ 115 h 188"/>
                    <a:gd name="T88" fmla="*/ 24 w 107"/>
                    <a:gd name="T89" fmla="*/ 115 h 188"/>
                    <a:gd name="T90" fmla="*/ 33 w 107"/>
                    <a:gd name="T91" fmla="*/ 122 h 188"/>
                    <a:gd name="T92" fmla="*/ 24 w 107"/>
                    <a:gd name="T93" fmla="*/ 131 h 188"/>
                    <a:gd name="T94" fmla="*/ 33 w 107"/>
                    <a:gd name="T95" fmla="*/ 131 h 188"/>
                    <a:gd name="T96" fmla="*/ 33 w 107"/>
                    <a:gd name="T97" fmla="*/ 138 h 188"/>
                    <a:gd name="T98" fmla="*/ 18 w 107"/>
                    <a:gd name="T99" fmla="*/ 147 h 188"/>
                    <a:gd name="T100" fmla="*/ 24 w 107"/>
                    <a:gd name="T101" fmla="*/ 156 h 188"/>
                    <a:gd name="T102" fmla="*/ 33 w 107"/>
                    <a:gd name="T103" fmla="*/ 156 h 188"/>
                    <a:gd name="T104" fmla="*/ 41 w 107"/>
                    <a:gd name="T105" fmla="*/ 162 h 188"/>
                    <a:gd name="T106" fmla="*/ 49 w 107"/>
                    <a:gd name="T107" fmla="*/ 156 h 188"/>
                    <a:gd name="T108" fmla="*/ 49 w 107"/>
                    <a:gd name="T109" fmla="*/ 162 h 188"/>
                    <a:gd name="T110" fmla="*/ 33 w 107"/>
                    <a:gd name="T111" fmla="*/ 162 h 188"/>
                    <a:gd name="T112" fmla="*/ 18 w 107"/>
                    <a:gd name="T113" fmla="*/ 18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6350" cap="rnd" cmpd="sng">
                  <a:solidFill>
                    <a:srgbClr val="D0D0D0"/>
                  </a:solidFill>
                  <a:prstDash val="solid"/>
                  <a:round/>
                  <a:headEnd/>
                  <a:tailEnd/>
                </a:ln>
                <a:effectLst/>
              </p:spPr>
              <p:txBody>
                <a:bodyPr/>
                <a:lstStyle/>
                <a:p>
                  <a:endParaRPr lang="de-DE" dirty="0"/>
                </a:p>
              </p:txBody>
            </p:sp>
            <p:sp>
              <p:nvSpPr>
                <p:cNvPr id="719" name="Freeform 269">
                  <a:extLst>
                    <a:ext uri="{FF2B5EF4-FFF2-40B4-BE49-F238E27FC236}">
                      <a16:creationId xmlns:a16="http://schemas.microsoft.com/office/drawing/2014/main" id="{ADFEC6B0-C6A8-DE05-A95C-3E7FBFE06A1B}"/>
                    </a:ext>
                  </a:extLst>
                </p:cNvPr>
                <p:cNvSpPr>
                  <a:spLocks/>
                </p:cNvSpPr>
                <p:nvPr/>
              </p:nvSpPr>
              <p:spPr bwMode="gray">
                <a:xfrm>
                  <a:off x="4983676" y="4108004"/>
                  <a:ext cx="25743" cy="48136"/>
                </a:xfrm>
                <a:custGeom>
                  <a:avLst/>
                  <a:gdLst>
                    <a:gd name="T0" fmla="*/ 0 w 17"/>
                    <a:gd name="T1" fmla="*/ 6 h 32"/>
                    <a:gd name="T2" fmla="*/ 0 w 17"/>
                    <a:gd name="T3" fmla="*/ 23 h 32"/>
                    <a:gd name="T4" fmla="*/ 16 w 17"/>
                    <a:gd name="T5" fmla="*/ 31 h 32"/>
                    <a:gd name="T6" fmla="*/ 16 w 17"/>
                    <a:gd name="T7" fmla="*/ 0 h 32"/>
                    <a:gd name="T8" fmla="*/ 0 w 17"/>
                    <a:gd name="T9" fmla="*/ 6 h 32"/>
                  </a:gdLst>
                  <a:ahLst/>
                  <a:cxnLst>
                    <a:cxn ang="0">
                      <a:pos x="T0" y="T1"/>
                    </a:cxn>
                    <a:cxn ang="0">
                      <a:pos x="T2" y="T3"/>
                    </a:cxn>
                    <a:cxn ang="0">
                      <a:pos x="T4" y="T5"/>
                    </a:cxn>
                    <a:cxn ang="0">
                      <a:pos x="T6" y="T7"/>
                    </a:cxn>
                    <a:cxn ang="0">
                      <a:pos x="T8" y="T9"/>
                    </a:cxn>
                  </a:cxnLst>
                  <a:rect l="0" t="0" r="r" b="b"/>
                  <a:pathLst>
                    <a:path w="17" h="32">
                      <a:moveTo>
                        <a:pt x="0" y="6"/>
                      </a:moveTo>
                      <a:lnTo>
                        <a:pt x="0" y="23"/>
                      </a:lnTo>
                      <a:lnTo>
                        <a:pt x="16" y="31"/>
                      </a:lnTo>
                      <a:lnTo>
                        <a:pt x="16" y="0"/>
                      </a:lnTo>
                      <a:lnTo>
                        <a:pt x="0" y="6"/>
                      </a:lnTo>
                    </a:path>
                  </a:pathLst>
                </a:custGeom>
                <a:grpFill/>
                <a:ln w="6350" cap="rnd" cmpd="sng">
                  <a:solidFill>
                    <a:srgbClr val="D0D0D0"/>
                  </a:solidFill>
                  <a:prstDash val="solid"/>
                  <a:round/>
                  <a:headEnd/>
                  <a:tailEnd/>
                </a:ln>
                <a:effectLst/>
              </p:spPr>
              <p:txBody>
                <a:bodyPr/>
                <a:lstStyle/>
                <a:p>
                  <a:endParaRPr lang="de-DE" dirty="0"/>
                </a:p>
              </p:txBody>
            </p:sp>
            <p:sp>
              <p:nvSpPr>
                <p:cNvPr id="720" name="Freeform 270">
                  <a:extLst>
                    <a:ext uri="{FF2B5EF4-FFF2-40B4-BE49-F238E27FC236}">
                      <a16:creationId xmlns:a16="http://schemas.microsoft.com/office/drawing/2014/main" id="{383FEBB8-D65A-7903-37FA-18314F2F98A9}"/>
                    </a:ext>
                  </a:extLst>
                </p:cNvPr>
                <p:cNvSpPr>
                  <a:spLocks/>
                </p:cNvSpPr>
                <p:nvPr/>
              </p:nvSpPr>
              <p:spPr bwMode="gray">
                <a:xfrm>
                  <a:off x="4969518" y="4154874"/>
                  <a:ext cx="39902" cy="63338"/>
                </a:xfrm>
                <a:custGeom>
                  <a:avLst/>
                  <a:gdLst>
                    <a:gd name="T0" fmla="*/ 0 w 26"/>
                    <a:gd name="T1" fmla="*/ 0 h 42"/>
                    <a:gd name="T2" fmla="*/ 9 w 26"/>
                    <a:gd name="T3" fmla="*/ 32 h 42"/>
                    <a:gd name="T4" fmla="*/ 9 w 26"/>
                    <a:gd name="T5" fmla="*/ 41 h 42"/>
                    <a:gd name="T6" fmla="*/ 19 w 26"/>
                    <a:gd name="T7" fmla="*/ 32 h 42"/>
                    <a:gd name="T8" fmla="*/ 25 w 26"/>
                    <a:gd name="T9" fmla="*/ 9 h 42"/>
                    <a:gd name="T10" fmla="*/ 19 w 26"/>
                    <a:gd name="T11" fmla="*/ 0 h 42"/>
                    <a:gd name="T12" fmla="*/ 0 w 26"/>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6" h="42">
                      <a:moveTo>
                        <a:pt x="0" y="0"/>
                      </a:moveTo>
                      <a:lnTo>
                        <a:pt x="9" y="32"/>
                      </a:lnTo>
                      <a:lnTo>
                        <a:pt x="9" y="41"/>
                      </a:lnTo>
                      <a:lnTo>
                        <a:pt x="19" y="32"/>
                      </a:lnTo>
                      <a:lnTo>
                        <a:pt x="25" y="9"/>
                      </a:lnTo>
                      <a:lnTo>
                        <a:pt x="19"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721" name="Freeform 271">
                  <a:extLst>
                    <a:ext uri="{FF2B5EF4-FFF2-40B4-BE49-F238E27FC236}">
                      <a16:creationId xmlns:a16="http://schemas.microsoft.com/office/drawing/2014/main" id="{94E5CD74-0E50-937A-0924-C43720FA2C58}"/>
                    </a:ext>
                  </a:extLst>
                </p:cNvPr>
                <p:cNvSpPr>
                  <a:spLocks/>
                </p:cNvSpPr>
                <p:nvPr/>
              </p:nvSpPr>
              <p:spPr bwMode="gray">
                <a:xfrm>
                  <a:off x="5060907" y="4228346"/>
                  <a:ext cx="63072" cy="39270"/>
                </a:xfrm>
                <a:custGeom>
                  <a:avLst/>
                  <a:gdLst>
                    <a:gd name="T0" fmla="*/ 0 w 41"/>
                    <a:gd name="T1" fmla="*/ 0 h 26"/>
                    <a:gd name="T2" fmla="*/ 0 w 41"/>
                    <a:gd name="T3" fmla="*/ 8 h 26"/>
                    <a:gd name="T4" fmla="*/ 32 w 41"/>
                    <a:gd name="T5" fmla="*/ 25 h 26"/>
                    <a:gd name="T6" fmla="*/ 40 w 41"/>
                    <a:gd name="T7" fmla="*/ 0 h 26"/>
                    <a:gd name="T8" fmla="*/ 23 w 41"/>
                    <a:gd name="T9" fmla="*/ 0 h 26"/>
                    <a:gd name="T10" fmla="*/ 7 w 41"/>
                    <a:gd name="T11" fmla="*/ 0 h 26"/>
                    <a:gd name="T12" fmla="*/ 0 w 4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1" h="26">
                      <a:moveTo>
                        <a:pt x="0" y="0"/>
                      </a:moveTo>
                      <a:lnTo>
                        <a:pt x="0" y="8"/>
                      </a:lnTo>
                      <a:lnTo>
                        <a:pt x="32" y="25"/>
                      </a:lnTo>
                      <a:lnTo>
                        <a:pt x="40" y="0"/>
                      </a:lnTo>
                      <a:lnTo>
                        <a:pt x="23" y="0"/>
                      </a:lnTo>
                      <a:lnTo>
                        <a:pt x="7"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722" name="Freeform 272">
                  <a:extLst>
                    <a:ext uri="{FF2B5EF4-FFF2-40B4-BE49-F238E27FC236}">
                      <a16:creationId xmlns:a16="http://schemas.microsoft.com/office/drawing/2014/main" id="{79EDFD51-31CA-4E75-0C16-F9DBDA088112}"/>
                    </a:ext>
                  </a:extLst>
                </p:cNvPr>
                <p:cNvSpPr>
                  <a:spLocks/>
                </p:cNvSpPr>
                <p:nvPr/>
              </p:nvSpPr>
              <p:spPr bwMode="gray">
                <a:xfrm>
                  <a:off x="5232101" y="4228346"/>
                  <a:ext cx="41189" cy="39270"/>
                </a:xfrm>
                <a:custGeom>
                  <a:avLst/>
                  <a:gdLst>
                    <a:gd name="T0" fmla="*/ 0 w 26"/>
                    <a:gd name="T1" fmla="*/ 8 h 26"/>
                    <a:gd name="T2" fmla="*/ 9 w 26"/>
                    <a:gd name="T3" fmla="*/ 8 h 26"/>
                    <a:gd name="T4" fmla="*/ 9 w 26"/>
                    <a:gd name="T5" fmla="*/ 25 h 26"/>
                    <a:gd name="T6" fmla="*/ 16 w 26"/>
                    <a:gd name="T7" fmla="*/ 25 h 26"/>
                    <a:gd name="T8" fmla="*/ 25 w 26"/>
                    <a:gd name="T9" fmla="*/ 25 h 26"/>
                    <a:gd name="T10" fmla="*/ 16 w 26"/>
                    <a:gd name="T11" fmla="*/ 8 h 26"/>
                    <a:gd name="T12" fmla="*/ 25 w 26"/>
                    <a:gd name="T13" fmla="*/ 16 h 26"/>
                    <a:gd name="T14" fmla="*/ 25 w 26"/>
                    <a:gd name="T15" fmla="*/ 8 h 26"/>
                    <a:gd name="T16" fmla="*/ 9 w 26"/>
                    <a:gd name="T17" fmla="*/ 0 h 26"/>
                    <a:gd name="T18" fmla="*/ 0 w 26"/>
                    <a:gd name="T19"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723" name="Freeform 274">
                  <a:extLst>
                    <a:ext uri="{FF2B5EF4-FFF2-40B4-BE49-F238E27FC236}">
                      <a16:creationId xmlns:a16="http://schemas.microsoft.com/office/drawing/2014/main" id="{A81EA263-4DC4-40B4-04CC-C4A20575823E}"/>
                    </a:ext>
                  </a:extLst>
                </p:cNvPr>
                <p:cNvSpPr>
                  <a:spLocks/>
                </p:cNvSpPr>
                <p:nvPr/>
              </p:nvSpPr>
              <p:spPr bwMode="gray">
                <a:xfrm>
                  <a:off x="4860107" y="4178943"/>
                  <a:ext cx="25743" cy="25335"/>
                </a:xfrm>
                <a:custGeom>
                  <a:avLst/>
                  <a:gdLst>
                    <a:gd name="T0" fmla="*/ 0 w 17"/>
                    <a:gd name="T1" fmla="*/ 9 h 17"/>
                    <a:gd name="T2" fmla="*/ 6 w 17"/>
                    <a:gd name="T3" fmla="*/ 16 h 17"/>
                    <a:gd name="T4" fmla="*/ 16 w 17"/>
                    <a:gd name="T5" fmla="*/ 9 h 17"/>
                    <a:gd name="T6" fmla="*/ 6 w 17"/>
                    <a:gd name="T7" fmla="*/ 0 h 17"/>
                    <a:gd name="T8" fmla="*/ 0 w 17"/>
                    <a:gd name="T9" fmla="*/ 9 h 17"/>
                  </a:gdLst>
                  <a:ahLst/>
                  <a:cxnLst>
                    <a:cxn ang="0">
                      <a:pos x="T0" y="T1"/>
                    </a:cxn>
                    <a:cxn ang="0">
                      <a:pos x="T2" y="T3"/>
                    </a:cxn>
                    <a:cxn ang="0">
                      <a:pos x="T4" y="T5"/>
                    </a:cxn>
                    <a:cxn ang="0">
                      <a:pos x="T6" y="T7"/>
                    </a:cxn>
                    <a:cxn ang="0">
                      <a:pos x="T8" y="T9"/>
                    </a:cxn>
                  </a:cxnLst>
                  <a:rect l="0" t="0" r="r" b="b"/>
                  <a:pathLst>
                    <a:path w="17" h="17">
                      <a:moveTo>
                        <a:pt x="0" y="9"/>
                      </a:moveTo>
                      <a:lnTo>
                        <a:pt x="6" y="16"/>
                      </a:lnTo>
                      <a:lnTo>
                        <a:pt x="16" y="9"/>
                      </a:lnTo>
                      <a:lnTo>
                        <a:pt x="6" y="0"/>
                      </a:lnTo>
                      <a:lnTo>
                        <a:pt x="0" y="9"/>
                      </a:lnTo>
                    </a:path>
                  </a:pathLst>
                </a:custGeom>
                <a:grpFill/>
                <a:ln w="6350" cap="rnd" cmpd="sng">
                  <a:solidFill>
                    <a:srgbClr val="D0D0D0"/>
                  </a:solidFill>
                  <a:prstDash val="solid"/>
                  <a:round/>
                  <a:headEnd/>
                  <a:tailEnd/>
                </a:ln>
                <a:effectLst/>
              </p:spPr>
              <p:txBody>
                <a:bodyPr/>
                <a:lstStyle/>
                <a:p>
                  <a:endParaRPr lang="de-DE" dirty="0"/>
                </a:p>
              </p:txBody>
            </p:sp>
            <p:sp>
              <p:nvSpPr>
                <p:cNvPr id="724" name="Freeform 315">
                  <a:extLst>
                    <a:ext uri="{FF2B5EF4-FFF2-40B4-BE49-F238E27FC236}">
                      <a16:creationId xmlns:a16="http://schemas.microsoft.com/office/drawing/2014/main" id="{34D1E542-C452-4C47-F3FA-3F09C7699EC0}"/>
                    </a:ext>
                  </a:extLst>
                </p:cNvPr>
                <p:cNvSpPr>
                  <a:spLocks/>
                </p:cNvSpPr>
                <p:nvPr/>
              </p:nvSpPr>
              <p:spPr bwMode="gray">
                <a:xfrm>
                  <a:off x="5196060" y="4116872"/>
                  <a:ext cx="38615" cy="77272"/>
                </a:xfrm>
                <a:custGeom>
                  <a:avLst/>
                  <a:gdLst>
                    <a:gd name="T0" fmla="*/ 0 w 25"/>
                    <a:gd name="T1" fmla="*/ 0 h 51"/>
                    <a:gd name="T2" fmla="*/ 9 w 25"/>
                    <a:gd name="T3" fmla="*/ 0 h 51"/>
                    <a:gd name="T4" fmla="*/ 15 w 25"/>
                    <a:gd name="T5" fmla="*/ 9 h 51"/>
                    <a:gd name="T6" fmla="*/ 15 w 25"/>
                    <a:gd name="T7" fmla="*/ 17 h 51"/>
                    <a:gd name="T8" fmla="*/ 24 w 25"/>
                    <a:gd name="T9" fmla="*/ 25 h 51"/>
                    <a:gd name="T10" fmla="*/ 24 w 25"/>
                    <a:gd name="T11" fmla="*/ 34 h 51"/>
                    <a:gd name="T12" fmla="*/ 9 w 25"/>
                    <a:gd name="T13" fmla="*/ 50 h 51"/>
                    <a:gd name="T14" fmla="*/ 0 w 25"/>
                    <a:gd name="T15" fmla="*/ 41 h 51"/>
                    <a:gd name="T16" fmla="*/ 0 w 25"/>
                    <a:gd name="T17" fmla="*/ 9 h 51"/>
                    <a:gd name="T18" fmla="*/ 0 w 25"/>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725" name="Freeform 316">
                  <a:extLst>
                    <a:ext uri="{FF2B5EF4-FFF2-40B4-BE49-F238E27FC236}">
                      <a16:creationId xmlns:a16="http://schemas.microsoft.com/office/drawing/2014/main" id="{CD53197C-4CF6-ABFE-2F34-B1D8D9503052}"/>
                    </a:ext>
                  </a:extLst>
                </p:cNvPr>
                <p:cNvSpPr>
                  <a:spLocks/>
                </p:cNvSpPr>
                <p:nvPr/>
              </p:nvSpPr>
              <p:spPr bwMode="gray">
                <a:xfrm>
                  <a:off x="5257845" y="4070002"/>
                  <a:ext cx="126143" cy="86140"/>
                </a:xfrm>
                <a:custGeom>
                  <a:avLst/>
                  <a:gdLst>
                    <a:gd name="T0" fmla="*/ 81 w 82"/>
                    <a:gd name="T1" fmla="*/ 6 h 57"/>
                    <a:gd name="T2" fmla="*/ 81 w 82"/>
                    <a:gd name="T3" fmla="*/ 16 h 57"/>
                    <a:gd name="T4" fmla="*/ 74 w 82"/>
                    <a:gd name="T5" fmla="*/ 16 h 57"/>
                    <a:gd name="T6" fmla="*/ 66 w 82"/>
                    <a:gd name="T7" fmla="*/ 31 h 57"/>
                    <a:gd name="T8" fmla="*/ 74 w 82"/>
                    <a:gd name="T9" fmla="*/ 40 h 57"/>
                    <a:gd name="T10" fmla="*/ 58 w 82"/>
                    <a:gd name="T11" fmla="*/ 40 h 57"/>
                    <a:gd name="T12" fmla="*/ 49 w 82"/>
                    <a:gd name="T13" fmla="*/ 48 h 57"/>
                    <a:gd name="T14" fmla="*/ 41 w 82"/>
                    <a:gd name="T15" fmla="*/ 56 h 57"/>
                    <a:gd name="T16" fmla="*/ 24 w 82"/>
                    <a:gd name="T17" fmla="*/ 48 h 57"/>
                    <a:gd name="T18" fmla="*/ 9 w 82"/>
                    <a:gd name="T19" fmla="*/ 48 h 57"/>
                    <a:gd name="T20" fmla="*/ 9 w 82"/>
                    <a:gd name="T21" fmla="*/ 40 h 57"/>
                    <a:gd name="T22" fmla="*/ 0 w 82"/>
                    <a:gd name="T23" fmla="*/ 31 h 57"/>
                    <a:gd name="T24" fmla="*/ 9 w 82"/>
                    <a:gd name="T25" fmla="*/ 25 h 57"/>
                    <a:gd name="T26" fmla="*/ 0 w 82"/>
                    <a:gd name="T27" fmla="*/ 6 h 57"/>
                    <a:gd name="T28" fmla="*/ 0 w 82"/>
                    <a:gd name="T29" fmla="*/ 0 h 57"/>
                    <a:gd name="T30" fmla="*/ 9 w 82"/>
                    <a:gd name="T31" fmla="*/ 6 h 57"/>
                    <a:gd name="T32" fmla="*/ 16 w 82"/>
                    <a:gd name="T33" fmla="*/ 6 h 57"/>
                    <a:gd name="T34" fmla="*/ 41 w 82"/>
                    <a:gd name="T35" fmla="*/ 16 h 57"/>
                    <a:gd name="T36" fmla="*/ 58 w 82"/>
                    <a:gd name="T37" fmla="*/ 0 h 57"/>
                    <a:gd name="T38" fmla="*/ 81 w 82"/>
                    <a:gd name="T39"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26" name="Freeform 317">
                  <a:extLst>
                    <a:ext uri="{FF2B5EF4-FFF2-40B4-BE49-F238E27FC236}">
                      <a16:creationId xmlns:a16="http://schemas.microsoft.com/office/drawing/2014/main" id="{A9742844-0845-E636-F939-990E1AA5A6AA}"/>
                    </a:ext>
                  </a:extLst>
                </p:cNvPr>
                <p:cNvSpPr>
                  <a:spLocks/>
                </p:cNvSpPr>
                <p:nvPr/>
              </p:nvSpPr>
              <p:spPr bwMode="gray">
                <a:xfrm>
                  <a:off x="5132989" y="3947125"/>
                  <a:ext cx="126143" cy="86140"/>
                </a:xfrm>
                <a:custGeom>
                  <a:avLst/>
                  <a:gdLst>
                    <a:gd name="T0" fmla="*/ 33 w 82"/>
                    <a:gd name="T1" fmla="*/ 56 h 57"/>
                    <a:gd name="T2" fmla="*/ 50 w 82"/>
                    <a:gd name="T3" fmla="*/ 47 h 57"/>
                    <a:gd name="T4" fmla="*/ 65 w 82"/>
                    <a:gd name="T5" fmla="*/ 47 h 57"/>
                    <a:gd name="T6" fmla="*/ 74 w 82"/>
                    <a:gd name="T7" fmla="*/ 16 h 57"/>
                    <a:gd name="T8" fmla="*/ 81 w 82"/>
                    <a:gd name="T9" fmla="*/ 16 h 57"/>
                    <a:gd name="T10" fmla="*/ 74 w 82"/>
                    <a:gd name="T11" fmla="*/ 7 h 57"/>
                    <a:gd name="T12" fmla="*/ 56 w 82"/>
                    <a:gd name="T13" fmla="*/ 0 h 57"/>
                    <a:gd name="T14" fmla="*/ 25 w 82"/>
                    <a:gd name="T15" fmla="*/ 16 h 57"/>
                    <a:gd name="T16" fmla="*/ 10 w 82"/>
                    <a:gd name="T17" fmla="*/ 16 h 57"/>
                    <a:gd name="T18" fmla="*/ 0 w 82"/>
                    <a:gd name="T19" fmla="*/ 32 h 57"/>
                    <a:gd name="T20" fmla="*/ 0 w 82"/>
                    <a:gd name="T21" fmla="*/ 40 h 57"/>
                    <a:gd name="T22" fmla="*/ 25 w 82"/>
                    <a:gd name="T23" fmla="*/ 56 h 57"/>
                    <a:gd name="T24" fmla="*/ 33 w 82"/>
                    <a:gd name="T25"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27" name="Freeform 318">
                  <a:extLst>
                    <a:ext uri="{FF2B5EF4-FFF2-40B4-BE49-F238E27FC236}">
                      <a16:creationId xmlns:a16="http://schemas.microsoft.com/office/drawing/2014/main" id="{7F903875-6441-81A6-C895-C9C52E92011D}"/>
                    </a:ext>
                  </a:extLst>
                </p:cNvPr>
                <p:cNvSpPr>
                  <a:spLocks/>
                </p:cNvSpPr>
                <p:nvPr/>
              </p:nvSpPr>
              <p:spPr bwMode="gray">
                <a:xfrm>
                  <a:off x="5082789" y="3995262"/>
                  <a:ext cx="51487" cy="38002"/>
                </a:xfrm>
                <a:custGeom>
                  <a:avLst/>
                  <a:gdLst>
                    <a:gd name="T0" fmla="*/ 32 w 33"/>
                    <a:gd name="T1" fmla="*/ 8 h 25"/>
                    <a:gd name="T2" fmla="*/ 25 w 33"/>
                    <a:gd name="T3" fmla="*/ 8 h 25"/>
                    <a:gd name="T4" fmla="*/ 17 w 33"/>
                    <a:gd name="T5" fmla="*/ 24 h 25"/>
                    <a:gd name="T6" fmla="*/ 8 w 33"/>
                    <a:gd name="T7" fmla="*/ 24 h 25"/>
                    <a:gd name="T8" fmla="*/ 0 w 33"/>
                    <a:gd name="T9" fmla="*/ 24 h 25"/>
                    <a:gd name="T10" fmla="*/ 0 w 33"/>
                    <a:gd name="T11" fmla="*/ 15 h 25"/>
                    <a:gd name="T12" fmla="*/ 0 w 33"/>
                    <a:gd name="T13" fmla="*/ 8 h 25"/>
                    <a:gd name="T14" fmla="*/ 32 w 33"/>
                    <a:gd name="T15" fmla="*/ 0 h 25"/>
                    <a:gd name="T16" fmla="*/ 32 w 33"/>
                    <a:gd name="T1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6350" cap="rnd" cmpd="sng">
                  <a:solidFill>
                    <a:srgbClr val="D0D0D0"/>
                  </a:solidFill>
                  <a:prstDash val="solid"/>
                  <a:round/>
                  <a:headEnd/>
                  <a:tailEnd/>
                </a:ln>
                <a:effectLst/>
              </p:spPr>
              <p:txBody>
                <a:bodyPr/>
                <a:lstStyle/>
                <a:p>
                  <a:endParaRPr lang="de-DE" dirty="0"/>
                </a:p>
              </p:txBody>
            </p:sp>
            <p:sp>
              <p:nvSpPr>
                <p:cNvPr id="728" name="Freeform 319">
                  <a:extLst>
                    <a:ext uri="{FF2B5EF4-FFF2-40B4-BE49-F238E27FC236}">
                      <a16:creationId xmlns:a16="http://schemas.microsoft.com/office/drawing/2014/main" id="{83C172C2-7695-0534-9A85-48E07BD78625}"/>
                    </a:ext>
                  </a:extLst>
                </p:cNvPr>
                <p:cNvSpPr>
                  <a:spLocks/>
                </p:cNvSpPr>
                <p:nvPr/>
              </p:nvSpPr>
              <p:spPr bwMode="gray">
                <a:xfrm>
                  <a:off x="5082789" y="4007930"/>
                  <a:ext cx="114558" cy="110208"/>
                </a:xfrm>
                <a:custGeom>
                  <a:avLst/>
                  <a:gdLst>
                    <a:gd name="T0" fmla="*/ 32 w 74"/>
                    <a:gd name="T1" fmla="*/ 0 h 73"/>
                    <a:gd name="T2" fmla="*/ 57 w 74"/>
                    <a:gd name="T3" fmla="*/ 16 h 73"/>
                    <a:gd name="T4" fmla="*/ 65 w 74"/>
                    <a:gd name="T5" fmla="*/ 16 h 73"/>
                    <a:gd name="T6" fmla="*/ 73 w 74"/>
                    <a:gd name="T7" fmla="*/ 25 h 73"/>
                    <a:gd name="T8" fmla="*/ 73 w 74"/>
                    <a:gd name="T9" fmla="*/ 32 h 73"/>
                    <a:gd name="T10" fmla="*/ 65 w 74"/>
                    <a:gd name="T11" fmla="*/ 32 h 73"/>
                    <a:gd name="T12" fmla="*/ 65 w 74"/>
                    <a:gd name="T13" fmla="*/ 25 h 73"/>
                    <a:gd name="T14" fmla="*/ 42 w 74"/>
                    <a:gd name="T15" fmla="*/ 16 h 73"/>
                    <a:gd name="T16" fmla="*/ 32 w 74"/>
                    <a:gd name="T17" fmla="*/ 25 h 73"/>
                    <a:gd name="T18" fmla="*/ 32 w 74"/>
                    <a:gd name="T19" fmla="*/ 16 h 73"/>
                    <a:gd name="T20" fmla="*/ 25 w 74"/>
                    <a:gd name="T21" fmla="*/ 25 h 73"/>
                    <a:gd name="T22" fmla="*/ 32 w 74"/>
                    <a:gd name="T23" fmla="*/ 32 h 73"/>
                    <a:gd name="T24" fmla="*/ 48 w 74"/>
                    <a:gd name="T25" fmla="*/ 57 h 73"/>
                    <a:gd name="T26" fmla="*/ 57 w 74"/>
                    <a:gd name="T27" fmla="*/ 66 h 73"/>
                    <a:gd name="T28" fmla="*/ 57 w 74"/>
                    <a:gd name="T29" fmla="*/ 72 h 73"/>
                    <a:gd name="T30" fmla="*/ 42 w 74"/>
                    <a:gd name="T31" fmla="*/ 57 h 73"/>
                    <a:gd name="T32" fmla="*/ 32 w 74"/>
                    <a:gd name="T33" fmla="*/ 57 h 73"/>
                    <a:gd name="T34" fmla="*/ 17 w 74"/>
                    <a:gd name="T35" fmla="*/ 41 h 73"/>
                    <a:gd name="T36" fmla="*/ 17 w 74"/>
                    <a:gd name="T37" fmla="*/ 25 h 73"/>
                    <a:gd name="T38" fmla="*/ 8 w 74"/>
                    <a:gd name="T39" fmla="*/ 25 h 73"/>
                    <a:gd name="T40" fmla="*/ 0 w 74"/>
                    <a:gd name="T41" fmla="*/ 32 h 73"/>
                    <a:gd name="T42" fmla="*/ 0 w 74"/>
                    <a:gd name="T43" fmla="*/ 16 h 73"/>
                    <a:gd name="T44" fmla="*/ 17 w 74"/>
                    <a:gd name="T45" fmla="*/ 16 h 73"/>
                    <a:gd name="T46" fmla="*/ 25 w 74"/>
                    <a:gd name="T47" fmla="*/ 0 h 73"/>
                    <a:gd name="T48" fmla="*/ 32 w 74"/>
                    <a:gd name="T4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6350" cap="rnd" cmpd="sng">
                  <a:solidFill>
                    <a:srgbClr val="D0D0D0"/>
                  </a:solidFill>
                  <a:prstDash val="solid"/>
                  <a:round/>
                  <a:headEnd/>
                  <a:tailEnd/>
                </a:ln>
                <a:effectLst/>
              </p:spPr>
              <p:txBody>
                <a:bodyPr/>
                <a:lstStyle/>
                <a:p>
                  <a:endParaRPr lang="de-DE" dirty="0"/>
                </a:p>
              </p:txBody>
            </p:sp>
            <p:sp>
              <p:nvSpPr>
                <p:cNvPr id="729" name="Freeform 320">
                  <a:extLst>
                    <a:ext uri="{FF2B5EF4-FFF2-40B4-BE49-F238E27FC236}">
                      <a16:creationId xmlns:a16="http://schemas.microsoft.com/office/drawing/2014/main" id="{4627E65E-2176-FF5D-07FA-6515325E1BC6}"/>
                    </a:ext>
                  </a:extLst>
                </p:cNvPr>
                <p:cNvSpPr>
                  <a:spLocks/>
                </p:cNvSpPr>
                <p:nvPr/>
              </p:nvSpPr>
              <p:spPr bwMode="gray">
                <a:xfrm>
                  <a:off x="5171604" y="4094069"/>
                  <a:ext cx="39902" cy="38002"/>
                </a:xfrm>
                <a:custGeom>
                  <a:avLst/>
                  <a:gdLst>
                    <a:gd name="T0" fmla="*/ 0 w 26"/>
                    <a:gd name="T1" fmla="*/ 15 h 25"/>
                    <a:gd name="T2" fmla="*/ 16 w 26"/>
                    <a:gd name="T3" fmla="*/ 24 h 25"/>
                    <a:gd name="T4" fmla="*/ 16 w 26"/>
                    <a:gd name="T5" fmla="*/ 15 h 25"/>
                    <a:gd name="T6" fmla="*/ 25 w 26"/>
                    <a:gd name="T7" fmla="*/ 15 h 25"/>
                    <a:gd name="T8" fmla="*/ 25 w 26"/>
                    <a:gd name="T9" fmla="*/ 9 h 25"/>
                    <a:gd name="T10" fmla="*/ 16 w 26"/>
                    <a:gd name="T11" fmla="*/ 0 h 25"/>
                    <a:gd name="T12" fmla="*/ 8 w 26"/>
                    <a:gd name="T13" fmla="*/ 0 h 25"/>
                    <a:gd name="T14" fmla="*/ 0 w 26"/>
                    <a:gd name="T15" fmla="*/ 9 h 25"/>
                    <a:gd name="T16" fmla="*/ 0 w 26"/>
                    <a:gd name="T1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6350" cap="rnd" cmpd="sng">
                  <a:solidFill>
                    <a:srgbClr val="D0D0D0"/>
                  </a:solidFill>
                  <a:prstDash val="solid"/>
                  <a:round/>
                  <a:headEnd/>
                  <a:tailEnd/>
                </a:ln>
                <a:effectLst/>
              </p:spPr>
              <p:txBody>
                <a:bodyPr/>
                <a:lstStyle/>
                <a:p>
                  <a:endParaRPr lang="de-DE" dirty="0"/>
                </a:p>
              </p:txBody>
            </p:sp>
            <p:sp>
              <p:nvSpPr>
                <p:cNvPr id="730" name="Freeform 321">
                  <a:extLst>
                    <a:ext uri="{FF2B5EF4-FFF2-40B4-BE49-F238E27FC236}">
                      <a16:creationId xmlns:a16="http://schemas.microsoft.com/office/drawing/2014/main" id="{7D09644C-22E7-8124-54CC-5313BD2A1C4B}"/>
                    </a:ext>
                  </a:extLst>
                </p:cNvPr>
                <p:cNvSpPr>
                  <a:spLocks/>
                </p:cNvSpPr>
                <p:nvPr/>
              </p:nvSpPr>
              <p:spPr bwMode="gray">
                <a:xfrm>
                  <a:off x="5183189" y="4018064"/>
                  <a:ext cx="90102" cy="114008"/>
                </a:xfrm>
                <a:custGeom>
                  <a:avLst/>
                  <a:gdLst>
                    <a:gd name="T0" fmla="*/ 8 w 58"/>
                    <a:gd name="T1" fmla="*/ 25 h 75"/>
                    <a:gd name="T2" fmla="*/ 8 w 58"/>
                    <a:gd name="T3" fmla="*/ 18 h 75"/>
                    <a:gd name="T4" fmla="*/ 0 w 58"/>
                    <a:gd name="T5" fmla="*/ 9 h 75"/>
                    <a:gd name="T6" fmla="*/ 17 w 58"/>
                    <a:gd name="T7" fmla="*/ 0 h 75"/>
                    <a:gd name="T8" fmla="*/ 32 w 58"/>
                    <a:gd name="T9" fmla="*/ 25 h 75"/>
                    <a:gd name="T10" fmla="*/ 48 w 58"/>
                    <a:gd name="T11" fmla="*/ 25 h 75"/>
                    <a:gd name="T12" fmla="*/ 48 w 58"/>
                    <a:gd name="T13" fmla="*/ 34 h 75"/>
                    <a:gd name="T14" fmla="*/ 48 w 58"/>
                    <a:gd name="T15" fmla="*/ 40 h 75"/>
                    <a:gd name="T16" fmla="*/ 57 w 58"/>
                    <a:gd name="T17" fmla="*/ 59 h 75"/>
                    <a:gd name="T18" fmla="*/ 48 w 58"/>
                    <a:gd name="T19" fmla="*/ 65 h 75"/>
                    <a:gd name="T20" fmla="*/ 32 w 58"/>
                    <a:gd name="T21" fmla="*/ 65 h 75"/>
                    <a:gd name="T22" fmla="*/ 23 w 58"/>
                    <a:gd name="T23" fmla="*/ 74 h 75"/>
                    <a:gd name="T24" fmla="*/ 17 w 58"/>
                    <a:gd name="T25" fmla="*/ 65 h 75"/>
                    <a:gd name="T26" fmla="*/ 17 w 58"/>
                    <a:gd name="T27" fmla="*/ 59 h 75"/>
                    <a:gd name="T28" fmla="*/ 8 w 58"/>
                    <a:gd name="T29" fmla="*/ 50 h 75"/>
                    <a:gd name="T30" fmla="*/ 8 w 58"/>
                    <a:gd name="T31"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6350" cap="rnd" cmpd="sng">
                  <a:solidFill>
                    <a:srgbClr val="D0D0D0"/>
                  </a:solidFill>
                  <a:prstDash val="solid"/>
                  <a:round/>
                  <a:headEnd/>
                  <a:tailEnd/>
                </a:ln>
                <a:effectLst/>
              </p:spPr>
              <p:txBody>
                <a:bodyPr/>
                <a:lstStyle/>
                <a:p>
                  <a:endParaRPr lang="de-DE" dirty="0"/>
                </a:p>
              </p:txBody>
            </p:sp>
            <p:sp>
              <p:nvSpPr>
                <p:cNvPr id="731" name="Freeform 322">
                  <a:extLst>
                    <a:ext uri="{FF2B5EF4-FFF2-40B4-BE49-F238E27FC236}">
                      <a16:creationId xmlns:a16="http://schemas.microsoft.com/office/drawing/2014/main" id="{719E62CF-AEA0-FA01-49B6-6E9FA2B709E0}"/>
                    </a:ext>
                  </a:extLst>
                </p:cNvPr>
                <p:cNvSpPr>
                  <a:spLocks/>
                </p:cNvSpPr>
                <p:nvPr/>
              </p:nvSpPr>
              <p:spPr bwMode="gray">
                <a:xfrm>
                  <a:off x="5219230" y="4116872"/>
                  <a:ext cx="54061" cy="39270"/>
                </a:xfrm>
                <a:custGeom>
                  <a:avLst/>
                  <a:gdLst>
                    <a:gd name="T0" fmla="*/ 9 w 35"/>
                    <a:gd name="T1" fmla="*/ 25 h 26"/>
                    <a:gd name="T2" fmla="*/ 0 w 35"/>
                    <a:gd name="T3" fmla="*/ 17 h 26"/>
                    <a:gd name="T4" fmla="*/ 0 w 35"/>
                    <a:gd name="T5" fmla="*/ 9 h 26"/>
                    <a:gd name="T6" fmla="*/ 9 w 35"/>
                    <a:gd name="T7" fmla="*/ 0 h 26"/>
                    <a:gd name="T8" fmla="*/ 25 w 35"/>
                    <a:gd name="T9" fmla="*/ 0 h 26"/>
                    <a:gd name="T10" fmla="*/ 34 w 35"/>
                    <a:gd name="T11" fmla="*/ 9 h 26"/>
                    <a:gd name="T12" fmla="*/ 34 w 35"/>
                    <a:gd name="T13" fmla="*/ 17 h 26"/>
                    <a:gd name="T14" fmla="*/ 9 w 35"/>
                    <a:gd name="T15" fmla="*/ 2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6350" cap="rnd" cmpd="sng">
                  <a:solidFill>
                    <a:srgbClr val="D0D0D0"/>
                  </a:solidFill>
                  <a:prstDash val="solid"/>
                  <a:round/>
                  <a:headEnd/>
                  <a:tailEnd/>
                </a:ln>
                <a:effectLst/>
              </p:spPr>
              <p:txBody>
                <a:bodyPr/>
                <a:lstStyle/>
                <a:p>
                  <a:endParaRPr lang="de-DE" dirty="0"/>
                </a:p>
              </p:txBody>
            </p:sp>
            <p:sp>
              <p:nvSpPr>
                <p:cNvPr id="732" name="Freeform 323">
                  <a:extLst>
                    <a:ext uri="{FF2B5EF4-FFF2-40B4-BE49-F238E27FC236}">
                      <a16:creationId xmlns:a16="http://schemas.microsoft.com/office/drawing/2014/main" id="{CEAE8409-9833-59D4-DEE6-58FD553DEF15}"/>
                    </a:ext>
                  </a:extLst>
                </p:cNvPr>
                <p:cNvSpPr>
                  <a:spLocks/>
                </p:cNvSpPr>
                <p:nvPr/>
              </p:nvSpPr>
              <p:spPr bwMode="gray">
                <a:xfrm>
                  <a:off x="5121404" y="4031998"/>
                  <a:ext cx="75943" cy="77272"/>
                </a:xfrm>
                <a:custGeom>
                  <a:avLst/>
                  <a:gdLst>
                    <a:gd name="T0" fmla="*/ 7 w 49"/>
                    <a:gd name="T1" fmla="*/ 16 h 51"/>
                    <a:gd name="T2" fmla="*/ 23 w 49"/>
                    <a:gd name="T3" fmla="*/ 41 h 51"/>
                    <a:gd name="T4" fmla="*/ 32 w 49"/>
                    <a:gd name="T5" fmla="*/ 50 h 51"/>
                    <a:gd name="T6" fmla="*/ 40 w 49"/>
                    <a:gd name="T7" fmla="*/ 41 h 51"/>
                    <a:gd name="T8" fmla="*/ 48 w 49"/>
                    <a:gd name="T9" fmla="*/ 41 h 51"/>
                    <a:gd name="T10" fmla="*/ 48 w 49"/>
                    <a:gd name="T11" fmla="*/ 16 h 51"/>
                    <a:gd name="T12" fmla="*/ 40 w 49"/>
                    <a:gd name="T13" fmla="*/ 16 h 51"/>
                    <a:gd name="T14" fmla="*/ 40 w 49"/>
                    <a:gd name="T15" fmla="*/ 9 h 51"/>
                    <a:gd name="T16" fmla="*/ 17 w 49"/>
                    <a:gd name="T17" fmla="*/ 0 h 51"/>
                    <a:gd name="T18" fmla="*/ 7 w 49"/>
                    <a:gd name="T19" fmla="*/ 9 h 51"/>
                    <a:gd name="T20" fmla="*/ 7 w 49"/>
                    <a:gd name="T21" fmla="*/ 0 h 51"/>
                    <a:gd name="T22" fmla="*/ 0 w 49"/>
                    <a:gd name="T23" fmla="*/ 9 h 51"/>
                    <a:gd name="T24" fmla="*/ 7 w 49"/>
                    <a:gd name="T25"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6350" cap="rnd" cmpd="sng">
                  <a:solidFill>
                    <a:srgbClr val="D0D0D0"/>
                  </a:solidFill>
                  <a:prstDash val="solid"/>
                  <a:round/>
                  <a:headEnd/>
                  <a:tailEnd/>
                </a:ln>
                <a:effectLst/>
              </p:spPr>
              <p:txBody>
                <a:bodyPr/>
                <a:lstStyle/>
                <a:p>
                  <a:endParaRPr lang="de-DE" dirty="0"/>
                </a:p>
              </p:txBody>
            </p:sp>
            <p:sp>
              <p:nvSpPr>
                <p:cNvPr id="733" name="Freeform 324">
                  <a:extLst>
                    <a:ext uri="{FF2B5EF4-FFF2-40B4-BE49-F238E27FC236}">
                      <a16:creationId xmlns:a16="http://schemas.microsoft.com/office/drawing/2014/main" id="{9C5F36B1-10DA-475F-0C40-F8E200EEE795}"/>
                    </a:ext>
                  </a:extLst>
                </p:cNvPr>
                <p:cNvSpPr>
                  <a:spLocks/>
                </p:cNvSpPr>
                <p:nvPr/>
              </p:nvSpPr>
              <p:spPr bwMode="gray">
                <a:xfrm>
                  <a:off x="5046748" y="3871119"/>
                  <a:ext cx="137728" cy="77272"/>
                </a:xfrm>
                <a:custGeom>
                  <a:avLst/>
                  <a:gdLst>
                    <a:gd name="T0" fmla="*/ 89 w 90"/>
                    <a:gd name="T1" fmla="*/ 34 h 51"/>
                    <a:gd name="T2" fmla="*/ 72 w 90"/>
                    <a:gd name="T3" fmla="*/ 17 h 51"/>
                    <a:gd name="T4" fmla="*/ 66 w 90"/>
                    <a:gd name="T5" fmla="*/ 17 h 51"/>
                    <a:gd name="T6" fmla="*/ 49 w 90"/>
                    <a:gd name="T7" fmla="*/ 9 h 51"/>
                    <a:gd name="T8" fmla="*/ 41 w 90"/>
                    <a:gd name="T9" fmla="*/ 0 h 51"/>
                    <a:gd name="T10" fmla="*/ 32 w 90"/>
                    <a:gd name="T11" fmla="*/ 0 h 51"/>
                    <a:gd name="T12" fmla="*/ 16 w 90"/>
                    <a:gd name="T13" fmla="*/ 9 h 51"/>
                    <a:gd name="T14" fmla="*/ 0 w 90"/>
                    <a:gd name="T15" fmla="*/ 17 h 51"/>
                    <a:gd name="T16" fmla="*/ 9 w 90"/>
                    <a:gd name="T17" fmla="*/ 34 h 51"/>
                    <a:gd name="T18" fmla="*/ 24 w 90"/>
                    <a:gd name="T19" fmla="*/ 50 h 51"/>
                    <a:gd name="T20" fmla="*/ 41 w 90"/>
                    <a:gd name="T21" fmla="*/ 50 h 51"/>
                    <a:gd name="T22" fmla="*/ 41 w 90"/>
                    <a:gd name="T23" fmla="*/ 42 h 51"/>
                    <a:gd name="T24" fmla="*/ 66 w 90"/>
                    <a:gd name="T25" fmla="*/ 50 h 51"/>
                    <a:gd name="T26" fmla="*/ 89 w 90"/>
                    <a:gd name="T27"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734" name="Freeform 328">
                  <a:extLst>
                    <a:ext uri="{FF2B5EF4-FFF2-40B4-BE49-F238E27FC236}">
                      <a16:creationId xmlns:a16="http://schemas.microsoft.com/office/drawing/2014/main" id="{D7F69AA5-AD2F-A9F9-F723-5AB293A83260}"/>
                    </a:ext>
                  </a:extLst>
                </p:cNvPr>
                <p:cNvSpPr>
                  <a:spLocks/>
                </p:cNvSpPr>
                <p:nvPr/>
              </p:nvSpPr>
              <p:spPr bwMode="gray">
                <a:xfrm>
                  <a:off x="5328639" y="3947125"/>
                  <a:ext cx="84954" cy="93740"/>
                </a:xfrm>
                <a:custGeom>
                  <a:avLst/>
                  <a:gdLst>
                    <a:gd name="T0" fmla="*/ 36 w 53"/>
                    <a:gd name="T1" fmla="*/ 41 h 60"/>
                    <a:gd name="T2" fmla="*/ 53 w 53"/>
                    <a:gd name="T3" fmla="*/ 39 h 60"/>
                    <a:gd name="T4" fmla="*/ 44 w 53"/>
                    <a:gd name="T5" fmla="*/ 18 h 60"/>
                    <a:gd name="T6" fmla="*/ 45 w 53"/>
                    <a:gd name="T7" fmla="*/ 5 h 60"/>
                    <a:gd name="T8" fmla="*/ 18 w 53"/>
                    <a:gd name="T9" fmla="*/ 0 h 60"/>
                    <a:gd name="T10" fmla="*/ 0 w 53"/>
                    <a:gd name="T11" fmla="*/ 9 h 60"/>
                    <a:gd name="T12" fmla="*/ 12 w 53"/>
                    <a:gd name="T13" fmla="*/ 11 h 60"/>
                    <a:gd name="T14" fmla="*/ 26 w 53"/>
                    <a:gd name="T15" fmla="*/ 36 h 60"/>
                    <a:gd name="T16" fmla="*/ 27 w 53"/>
                    <a:gd name="T17" fmla="*/ 60 h 60"/>
                    <a:gd name="T18" fmla="*/ 36 w 53"/>
                    <a:gd name="T19"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6350" cap="flat" cmpd="sng">
                  <a:solidFill>
                    <a:srgbClr val="D0D0D0"/>
                  </a:solidFill>
                  <a:prstDash val="solid"/>
                  <a:round/>
                  <a:headEnd type="none" w="med" len="med"/>
                  <a:tailEnd type="none" w="med" len="med"/>
                </a:ln>
                <a:effectLst/>
              </p:spPr>
              <p:txBody>
                <a:bodyPr wrap="none" anchor="ctr"/>
                <a:lstStyle/>
                <a:p>
                  <a:endParaRPr lang="de-DE" dirty="0"/>
                </a:p>
              </p:txBody>
            </p:sp>
          </p:grpSp>
          <p:sp>
            <p:nvSpPr>
              <p:cNvPr id="653" name="Freeform 133">
                <a:extLst>
                  <a:ext uri="{FF2B5EF4-FFF2-40B4-BE49-F238E27FC236}">
                    <a16:creationId xmlns:a16="http://schemas.microsoft.com/office/drawing/2014/main" id="{B4197EEC-841C-D566-C33A-877953E1559E}"/>
                  </a:ext>
                </a:extLst>
              </p:cNvPr>
              <p:cNvSpPr>
                <a:spLocks/>
              </p:cNvSpPr>
              <p:nvPr/>
            </p:nvSpPr>
            <p:spPr bwMode="gray">
              <a:xfrm>
                <a:off x="5208932" y="3957709"/>
                <a:ext cx="187928" cy="138077"/>
              </a:xfrm>
              <a:custGeom>
                <a:avLst/>
                <a:gdLst>
                  <a:gd name="T0" fmla="*/ 15 w 122"/>
                  <a:gd name="T1" fmla="*/ 65 h 91"/>
                  <a:gd name="T2" fmla="*/ 31 w 122"/>
                  <a:gd name="T3" fmla="*/ 65 h 91"/>
                  <a:gd name="T4" fmla="*/ 31 w 122"/>
                  <a:gd name="T5" fmla="*/ 74 h 91"/>
                  <a:gd name="T6" fmla="*/ 40 w 122"/>
                  <a:gd name="T7" fmla="*/ 80 h 91"/>
                  <a:gd name="T8" fmla="*/ 47 w 122"/>
                  <a:gd name="T9" fmla="*/ 80 h 91"/>
                  <a:gd name="T10" fmla="*/ 72 w 122"/>
                  <a:gd name="T11" fmla="*/ 90 h 91"/>
                  <a:gd name="T12" fmla="*/ 89 w 122"/>
                  <a:gd name="T13" fmla="*/ 74 h 91"/>
                  <a:gd name="T14" fmla="*/ 112 w 122"/>
                  <a:gd name="T15" fmla="*/ 80 h 91"/>
                  <a:gd name="T16" fmla="*/ 112 w 122"/>
                  <a:gd name="T17" fmla="*/ 74 h 91"/>
                  <a:gd name="T18" fmla="*/ 121 w 122"/>
                  <a:gd name="T19" fmla="*/ 65 h 91"/>
                  <a:gd name="T20" fmla="*/ 121 w 122"/>
                  <a:gd name="T21" fmla="*/ 58 h 91"/>
                  <a:gd name="T22" fmla="*/ 105 w 122"/>
                  <a:gd name="T23" fmla="*/ 58 h 91"/>
                  <a:gd name="T24" fmla="*/ 105 w 122"/>
                  <a:gd name="T25" fmla="*/ 49 h 91"/>
                  <a:gd name="T26" fmla="*/ 105 w 122"/>
                  <a:gd name="T27" fmla="*/ 25 h 91"/>
                  <a:gd name="T28" fmla="*/ 89 w 122"/>
                  <a:gd name="T29" fmla="*/ 0 h 91"/>
                  <a:gd name="T30" fmla="*/ 80 w 122"/>
                  <a:gd name="T31" fmla="*/ 0 h 91"/>
                  <a:gd name="T32" fmla="*/ 65 w 122"/>
                  <a:gd name="T33" fmla="*/ 9 h 91"/>
                  <a:gd name="T34" fmla="*/ 55 w 122"/>
                  <a:gd name="T35" fmla="*/ 9 h 91"/>
                  <a:gd name="T36" fmla="*/ 31 w 122"/>
                  <a:gd name="T37" fmla="*/ 9 h 91"/>
                  <a:gd name="T38" fmla="*/ 24 w 122"/>
                  <a:gd name="T39" fmla="*/ 9 h 91"/>
                  <a:gd name="T40" fmla="*/ 15 w 122"/>
                  <a:gd name="T41" fmla="*/ 40 h 91"/>
                  <a:gd name="T42" fmla="*/ 0 w 122"/>
                  <a:gd name="T43" fmla="*/ 40 h 91"/>
                  <a:gd name="T44" fmla="*/ 15 w 122"/>
                  <a:gd name="T45" fmla="*/ 6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grpSp>
        <p:grpSp>
          <p:nvGrpSpPr>
            <p:cNvPr id="410" name="Gruppieren 16">
              <a:extLst>
                <a:ext uri="{FF2B5EF4-FFF2-40B4-BE49-F238E27FC236}">
                  <a16:creationId xmlns:a16="http://schemas.microsoft.com/office/drawing/2014/main" id="{A1930B88-BC70-DA8F-51D7-905545CF591F}"/>
                </a:ext>
              </a:extLst>
            </p:cNvPr>
            <p:cNvGrpSpPr/>
            <p:nvPr/>
          </p:nvGrpSpPr>
          <p:grpSpPr bwMode="gray">
            <a:xfrm>
              <a:off x="4149044" y="3234064"/>
              <a:ext cx="3530670" cy="2361849"/>
              <a:chOff x="4471381" y="3624512"/>
              <a:chExt cx="3858945" cy="2441045"/>
            </a:xfrm>
            <a:solidFill>
              <a:srgbClr val="D0D0D0"/>
            </a:solidFill>
          </p:grpSpPr>
          <p:sp>
            <p:nvSpPr>
              <p:cNvPr id="499" name="Freihandform 104">
                <a:extLst>
                  <a:ext uri="{FF2B5EF4-FFF2-40B4-BE49-F238E27FC236}">
                    <a16:creationId xmlns:a16="http://schemas.microsoft.com/office/drawing/2014/main" id="{FC3B108B-5BA7-A695-FC0B-3F23D6AF94FD}"/>
                  </a:ext>
                </a:extLst>
              </p:cNvPr>
              <p:cNvSpPr/>
              <p:nvPr/>
            </p:nvSpPr>
            <p:spPr bwMode="gray">
              <a:xfrm>
                <a:off x="6141244" y="4171950"/>
                <a:ext cx="178594" cy="126206"/>
              </a:xfrm>
              <a:custGeom>
                <a:avLst/>
                <a:gdLst>
                  <a:gd name="connsiteX0" fmla="*/ 0 w 178594"/>
                  <a:gd name="connsiteY0" fmla="*/ 104775 h 126206"/>
                  <a:gd name="connsiteX1" fmla="*/ 2381 w 178594"/>
                  <a:gd name="connsiteY1" fmla="*/ 42863 h 126206"/>
                  <a:gd name="connsiteX2" fmla="*/ 26194 w 178594"/>
                  <a:gd name="connsiteY2" fmla="*/ 35719 h 126206"/>
                  <a:gd name="connsiteX3" fmla="*/ 52387 w 178594"/>
                  <a:gd name="connsiteY3" fmla="*/ 0 h 126206"/>
                  <a:gd name="connsiteX4" fmla="*/ 69056 w 178594"/>
                  <a:gd name="connsiteY4" fmla="*/ 7144 h 126206"/>
                  <a:gd name="connsiteX5" fmla="*/ 88106 w 178594"/>
                  <a:gd name="connsiteY5" fmla="*/ 30956 h 126206"/>
                  <a:gd name="connsiteX6" fmla="*/ 150019 w 178594"/>
                  <a:gd name="connsiteY6" fmla="*/ 40481 h 126206"/>
                  <a:gd name="connsiteX7" fmla="*/ 178594 w 178594"/>
                  <a:gd name="connsiteY7" fmla="*/ 66675 h 126206"/>
                  <a:gd name="connsiteX8" fmla="*/ 173831 w 178594"/>
                  <a:gd name="connsiteY8" fmla="*/ 111919 h 126206"/>
                  <a:gd name="connsiteX9" fmla="*/ 135731 w 178594"/>
                  <a:gd name="connsiteY9" fmla="*/ 119063 h 126206"/>
                  <a:gd name="connsiteX10" fmla="*/ 92869 w 178594"/>
                  <a:gd name="connsiteY10" fmla="*/ 126206 h 126206"/>
                  <a:gd name="connsiteX11" fmla="*/ 61912 w 178594"/>
                  <a:gd name="connsiteY11" fmla="*/ 107156 h 126206"/>
                  <a:gd name="connsiteX12" fmla="*/ 0 w 178594"/>
                  <a:gd name="connsiteY12" fmla="*/ 104775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594" h="126206">
                    <a:moveTo>
                      <a:pt x="0" y="104775"/>
                    </a:moveTo>
                    <a:cubicBezTo>
                      <a:pt x="794" y="84138"/>
                      <a:pt x="1587" y="63500"/>
                      <a:pt x="2381" y="42863"/>
                    </a:cubicBezTo>
                    <a:lnTo>
                      <a:pt x="26194" y="35719"/>
                    </a:lnTo>
                    <a:lnTo>
                      <a:pt x="52387" y="0"/>
                    </a:lnTo>
                    <a:lnTo>
                      <a:pt x="69056" y="7144"/>
                    </a:lnTo>
                    <a:lnTo>
                      <a:pt x="88106" y="30956"/>
                    </a:lnTo>
                    <a:lnTo>
                      <a:pt x="150019" y="40481"/>
                    </a:lnTo>
                    <a:lnTo>
                      <a:pt x="178594" y="66675"/>
                    </a:lnTo>
                    <a:lnTo>
                      <a:pt x="173831" y="111919"/>
                    </a:lnTo>
                    <a:lnTo>
                      <a:pt x="135731" y="119063"/>
                    </a:lnTo>
                    <a:lnTo>
                      <a:pt x="92869" y="126206"/>
                    </a:lnTo>
                    <a:lnTo>
                      <a:pt x="61912" y="107156"/>
                    </a:lnTo>
                    <a:lnTo>
                      <a:pt x="0" y="104775"/>
                    </a:lnTo>
                    <a:close/>
                  </a:path>
                </a:pathLst>
              </a:custGeom>
              <a:grpFill/>
              <a:ln>
                <a:solidFill>
                  <a:srgbClr val="D0D0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p>
            </p:txBody>
          </p:sp>
          <p:grpSp>
            <p:nvGrpSpPr>
              <p:cNvPr id="500" name="Gruppieren 15">
                <a:extLst>
                  <a:ext uri="{FF2B5EF4-FFF2-40B4-BE49-F238E27FC236}">
                    <a16:creationId xmlns:a16="http://schemas.microsoft.com/office/drawing/2014/main" id="{AC0780B3-85D6-8436-475A-2184732301ED}"/>
                  </a:ext>
                </a:extLst>
              </p:cNvPr>
              <p:cNvGrpSpPr/>
              <p:nvPr/>
            </p:nvGrpSpPr>
            <p:grpSpPr bwMode="gray">
              <a:xfrm>
                <a:off x="4471381" y="3624512"/>
                <a:ext cx="3858945" cy="2441045"/>
                <a:chOff x="4471381" y="3624512"/>
                <a:chExt cx="3858945" cy="2441045"/>
              </a:xfrm>
              <a:grpFill/>
            </p:grpSpPr>
            <p:sp>
              <p:nvSpPr>
                <p:cNvPr id="501" name="Freeform 18">
                  <a:extLst>
                    <a:ext uri="{FF2B5EF4-FFF2-40B4-BE49-F238E27FC236}">
                      <a16:creationId xmlns:a16="http://schemas.microsoft.com/office/drawing/2014/main" id="{A72CC467-DBE1-CAB0-A425-F3815AB6A642}"/>
                    </a:ext>
                  </a:extLst>
                </p:cNvPr>
                <p:cNvSpPr>
                  <a:spLocks/>
                </p:cNvSpPr>
                <p:nvPr/>
              </p:nvSpPr>
              <p:spPr bwMode="gray">
                <a:xfrm>
                  <a:off x="4646437" y="4273092"/>
                  <a:ext cx="401598" cy="392695"/>
                </a:xfrm>
                <a:custGeom>
                  <a:avLst/>
                  <a:gdLst>
                    <a:gd name="T0" fmla="*/ 82 w 261"/>
                    <a:gd name="T1" fmla="*/ 32 h 259"/>
                    <a:gd name="T2" fmla="*/ 90 w 261"/>
                    <a:gd name="T3" fmla="*/ 32 h 259"/>
                    <a:gd name="T4" fmla="*/ 98 w 261"/>
                    <a:gd name="T5" fmla="*/ 72 h 259"/>
                    <a:gd name="T6" fmla="*/ 65 w 261"/>
                    <a:gd name="T7" fmla="*/ 81 h 259"/>
                    <a:gd name="T8" fmla="*/ 65 w 261"/>
                    <a:gd name="T9" fmla="*/ 90 h 259"/>
                    <a:gd name="T10" fmla="*/ 42 w 261"/>
                    <a:gd name="T11" fmla="*/ 106 h 259"/>
                    <a:gd name="T12" fmla="*/ 8 w 261"/>
                    <a:gd name="T13" fmla="*/ 121 h 259"/>
                    <a:gd name="T14" fmla="*/ 0 w 261"/>
                    <a:gd name="T15" fmla="*/ 129 h 259"/>
                    <a:gd name="T16" fmla="*/ 0 w 261"/>
                    <a:gd name="T17" fmla="*/ 146 h 259"/>
                    <a:gd name="T18" fmla="*/ 48 w 261"/>
                    <a:gd name="T19" fmla="*/ 178 h 259"/>
                    <a:gd name="T20" fmla="*/ 122 w 261"/>
                    <a:gd name="T21" fmla="*/ 234 h 259"/>
                    <a:gd name="T22" fmla="*/ 130 w 261"/>
                    <a:gd name="T23" fmla="*/ 243 h 259"/>
                    <a:gd name="T24" fmla="*/ 145 w 261"/>
                    <a:gd name="T25" fmla="*/ 252 h 259"/>
                    <a:gd name="T26" fmla="*/ 154 w 261"/>
                    <a:gd name="T27" fmla="*/ 258 h 259"/>
                    <a:gd name="T28" fmla="*/ 163 w 261"/>
                    <a:gd name="T29" fmla="*/ 258 h 259"/>
                    <a:gd name="T30" fmla="*/ 179 w 261"/>
                    <a:gd name="T31" fmla="*/ 258 h 259"/>
                    <a:gd name="T32" fmla="*/ 260 w 261"/>
                    <a:gd name="T33" fmla="*/ 203 h 259"/>
                    <a:gd name="T34" fmla="*/ 251 w 261"/>
                    <a:gd name="T35" fmla="*/ 186 h 259"/>
                    <a:gd name="T36" fmla="*/ 244 w 261"/>
                    <a:gd name="T37" fmla="*/ 186 h 259"/>
                    <a:gd name="T38" fmla="*/ 229 w 261"/>
                    <a:gd name="T39" fmla="*/ 162 h 259"/>
                    <a:gd name="T40" fmla="*/ 235 w 261"/>
                    <a:gd name="T41" fmla="*/ 153 h 259"/>
                    <a:gd name="T42" fmla="*/ 235 w 261"/>
                    <a:gd name="T43" fmla="*/ 137 h 259"/>
                    <a:gd name="T44" fmla="*/ 235 w 261"/>
                    <a:gd name="T45" fmla="*/ 121 h 259"/>
                    <a:gd name="T46" fmla="*/ 229 w 261"/>
                    <a:gd name="T47" fmla="*/ 113 h 259"/>
                    <a:gd name="T48" fmla="*/ 229 w 261"/>
                    <a:gd name="T49" fmla="*/ 106 h 259"/>
                    <a:gd name="T50" fmla="*/ 229 w 261"/>
                    <a:gd name="T51" fmla="*/ 81 h 259"/>
                    <a:gd name="T52" fmla="*/ 210 w 261"/>
                    <a:gd name="T53" fmla="*/ 72 h 259"/>
                    <a:gd name="T54" fmla="*/ 204 w 261"/>
                    <a:gd name="T55" fmla="*/ 56 h 259"/>
                    <a:gd name="T56" fmla="*/ 219 w 261"/>
                    <a:gd name="T57" fmla="*/ 41 h 259"/>
                    <a:gd name="T58" fmla="*/ 210 w 261"/>
                    <a:gd name="T59" fmla="*/ 9 h 259"/>
                    <a:gd name="T60" fmla="*/ 219 w 261"/>
                    <a:gd name="T61" fmla="*/ 0 h 259"/>
                    <a:gd name="T62" fmla="*/ 210 w 261"/>
                    <a:gd name="T63" fmla="*/ 9 h 259"/>
                    <a:gd name="T64" fmla="*/ 187 w 261"/>
                    <a:gd name="T65" fmla="*/ 0 h 259"/>
                    <a:gd name="T66" fmla="*/ 179 w 261"/>
                    <a:gd name="T67" fmla="*/ 9 h 259"/>
                    <a:gd name="T68" fmla="*/ 163 w 261"/>
                    <a:gd name="T69" fmla="*/ 0 h 259"/>
                    <a:gd name="T70" fmla="*/ 145 w 261"/>
                    <a:gd name="T71" fmla="*/ 9 h 259"/>
                    <a:gd name="T72" fmla="*/ 122 w 261"/>
                    <a:gd name="T73" fmla="*/ 9 h 259"/>
                    <a:gd name="T74" fmla="*/ 82 w 261"/>
                    <a:gd name="T75" fmla="*/ 3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02" name="Freeform 141">
                  <a:extLst>
                    <a:ext uri="{FF2B5EF4-FFF2-40B4-BE49-F238E27FC236}">
                      <a16:creationId xmlns:a16="http://schemas.microsoft.com/office/drawing/2014/main" id="{437A2E80-6BD1-637D-CC25-691586D9CA27}"/>
                    </a:ext>
                  </a:extLst>
                </p:cNvPr>
                <p:cNvSpPr>
                  <a:spLocks/>
                </p:cNvSpPr>
                <p:nvPr/>
              </p:nvSpPr>
              <p:spPr bwMode="gray">
                <a:xfrm>
                  <a:off x="5582211" y="4261692"/>
                  <a:ext cx="189215" cy="196348"/>
                </a:xfrm>
                <a:custGeom>
                  <a:avLst/>
                  <a:gdLst>
                    <a:gd name="T0" fmla="*/ 74 w 123"/>
                    <a:gd name="T1" fmla="*/ 8 h 130"/>
                    <a:gd name="T2" fmla="*/ 81 w 123"/>
                    <a:gd name="T3" fmla="*/ 24 h 130"/>
                    <a:gd name="T4" fmla="*/ 90 w 123"/>
                    <a:gd name="T5" fmla="*/ 24 h 130"/>
                    <a:gd name="T6" fmla="*/ 90 w 123"/>
                    <a:gd name="T7" fmla="*/ 40 h 130"/>
                    <a:gd name="T8" fmla="*/ 81 w 123"/>
                    <a:gd name="T9" fmla="*/ 57 h 130"/>
                    <a:gd name="T10" fmla="*/ 90 w 123"/>
                    <a:gd name="T11" fmla="*/ 74 h 130"/>
                    <a:gd name="T12" fmla="*/ 106 w 123"/>
                    <a:gd name="T13" fmla="*/ 80 h 130"/>
                    <a:gd name="T14" fmla="*/ 114 w 123"/>
                    <a:gd name="T15" fmla="*/ 105 h 130"/>
                    <a:gd name="T16" fmla="*/ 122 w 123"/>
                    <a:gd name="T17" fmla="*/ 114 h 130"/>
                    <a:gd name="T18" fmla="*/ 122 w 123"/>
                    <a:gd name="T19" fmla="*/ 121 h 130"/>
                    <a:gd name="T20" fmla="*/ 106 w 123"/>
                    <a:gd name="T21" fmla="*/ 121 h 130"/>
                    <a:gd name="T22" fmla="*/ 97 w 123"/>
                    <a:gd name="T23" fmla="*/ 129 h 130"/>
                    <a:gd name="T24" fmla="*/ 81 w 123"/>
                    <a:gd name="T25" fmla="*/ 121 h 130"/>
                    <a:gd name="T26" fmla="*/ 74 w 123"/>
                    <a:gd name="T27" fmla="*/ 129 h 130"/>
                    <a:gd name="T28" fmla="*/ 57 w 123"/>
                    <a:gd name="T29" fmla="*/ 121 h 130"/>
                    <a:gd name="T30" fmla="*/ 57 w 123"/>
                    <a:gd name="T31" fmla="*/ 114 h 130"/>
                    <a:gd name="T32" fmla="*/ 49 w 123"/>
                    <a:gd name="T33" fmla="*/ 105 h 130"/>
                    <a:gd name="T34" fmla="*/ 25 w 123"/>
                    <a:gd name="T35" fmla="*/ 89 h 130"/>
                    <a:gd name="T36" fmla="*/ 0 w 123"/>
                    <a:gd name="T37" fmla="*/ 80 h 130"/>
                    <a:gd name="T38" fmla="*/ 0 w 123"/>
                    <a:gd name="T39" fmla="*/ 64 h 130"/>
                    <a:gd name="T40" fmla="*/ 25 w 123"/>
                    <a:gd name="T41" fmla="*/ 49 h 130"/>
                    <a:gd name="T42" fmla="*/ 34 w 123"/>
                    <a:gd name="T43" fmla="*/ 17 h 130"/>
                    <a:gd name="T44" fmla="*/ 49 w 123"/>
                    <a:gd name="T45" fmla="*/ 8 h 130"/>
                    <a:gd name="T46" fmla="*/ 49 w 123"/>
                    <a:gd name="T47" fmla="*/ 0 h 130"/>
                    <a:gd name="T48" fmla="*/ 74 w 123"/>
                    <a:gd name="T49" fmla="*/ 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03" name="Freeform 8">
                  <a:extLst>
                    <a:ext uri="{FF2B5EF4-FFF2-40B4-BE49-F238E27FC236}">
                      <a16:creationId xmlns:a16="http://schemas.microsoft.com/office/drawing/2014/main" id="{63518D38-5365-B37F-D60E-84C7BB42302A}"/>
                    </a:ext>
                  </a:extLst>
                </p:cNvPr>
                <p:cNvSpPr>
                  <a:spLocks/>
                </p:cNvSpPr>
                <p:nvPr/>
              </p:nvSpPr>
              <p:spPr bwMode="gray">
                <a:xfrm>
                  <a:off x="6269562" y="3820860"/>
                  <a:ext cx="1200932" cy="822126"/>
                </a:xfrm>
                <a:custGeom>
                  <a:avLst/>
                  <a:gdLst>
                    <a:gd name="T0" fmla="*/ 194 w 780"/>
                    <a:gd name="T1" fmla="*/ 113 h 543"/>
                    <a:gd name="T2" fmla="*/ 219 w 780"/>
                    <a:gd name="T3" fmla="*/ 162 h 543"/>
                    <a:gd name="T4" fmla="*/ 340 w 780"/>
                    <a:gd name="T5" fmla="*/ 203 h 543"/>
                    <a:gd name="T6" fmla="*/ 430 w 780"/>
                    <a:gd name="T7" fmla="*/ 209 h 543"/>
                    <a:gd name="T8" fmla="*/ 480 w 780"/>
                    <a:gd name="T9" fmla="*/ 178 h 543"/>
                    <a:gd name="T10" fmla="*/ 535 w 780"/>
                    <a:gd name="T11" fmla="*/ 153 h 543"/>
                    <a:gd name="T12" fmla="*/ 575 w 780"/>
                    <a:gd name="T13" fmla="*/ 121 h 543"/>
                    <a:gd name="T14" fmla="*/ 535 w 780"/>
                    <a:gd name="T15" fmla="*/ 121 h 543"/>
                    <a:gd name="T16" fmla="*/ 560 w 780"/>
                    <a:gd name="T17" fmla="*/ 81 h 543"/>
                    <a:gd name="T18" fmla="*/ 600 w 780"/>
                    <a:gd name="T19" fmla="*/ 32 h 543"/>
                    <a:gd name="T20" fmla="*/ 600 w 780"/>
                    <a:gd name="T21" fmla="*/ 7 h 543"/>
                    <a:gd name="T22" fmla="*/ 672 w 780"/>
                    <a:gd name="T23" fmla="*/ 23 h 543"/>
                    <a:gd name="T24" fmla="*/ 731 w 780"/>
                    <a:gd name="T25" fmla="*/ 97 h 543"/>
                    <a:gd name="T26" fmla="*/ 779 w 780"/>
                    <a:gd name="T27" fmla="*/ 104 h 543"/>
                    <a:gd name="T28" fmla="*/ 747 w 780"/>
                    <a:gd name="T29" fmla="*/ 162 h 543"/>
                    <a:gd name="T30" fmla="*/ 731 w 780"/>
                    <a:gd name="T31" fmla="*/ 209 h 543"/>
                    <a:gd name="T32" fmla="*/ 697 w 780"/>
                    <a:gd name="T33" fmla="*/ 218 h 543"/>
                    <a:gd name="T34" fmla="*/ 650 w 780"/>
                    <a:gd name="T35" fmla="*/ 250 h 543"/>
                    <a:gd name="T36" fmla="*/ 609 w 780"/>
                    <a:gd name="T37" fmla="*/ 275 h 543"/>
                    <a:gd name="T38" fmla="*/ 617 w 780"/>
                    <a:gd name="T39" fmla="*/ 243 h 543"/>
                    <a:gd name="T40" fmla="*/ 575 w 780"/>
                    <a:gd name="T41" fmla="*/ 266 h 543"/>
                    <a:gd name="T42" fmla="*/ 585 w 780"/>
                    <a:gd name="T43" fmla="*/ 299 h 543"/>
                    <a:gd name="T44" fmla="*/ 625 w 780"/>
                    <a:gd name="T45" fmla="*/ 308 h 543"/>
                    <a:gd name="T46" fmla="*/ 585 w 780"/>
                    <a:gd name="T47" fmla="*/ 331 h 543"/>
                    <a:gd name="T48" fmla="*/ 617 w 780"/>
                    <a:gd name="T49" fmla="*/ 380 h 543"/>
                    <a:gd name="T50" fmla="*/ 592 w 780"/>
                    <a:gd name="T51" fmla="*/ 405 h 543"/>
                    <a:gd name="T52" fmla="*/ 592 w 780"/>
                    <a:gd name="T53" fmla="*/ 452 h 543"/>
                    <a:gd name="T54" fmla="*/ 575 w 780"/>
                    <a:gd name="T55" fmla="*/ 485 h 543"/>
                    <a:gd name="T56" fmla="*/ 544 w 780"/>
                    <a:gd name="T57" fmla="*/ 510 h 543"/>
                    <a:gd name="T58" fmla="*/ 511 w 780"/>
                    <a:gd name="T59" fmla="*/ 510 h 543"/>
                    <a:gd name="T60" fmla="*/ 470 w 780"/>
                    <a:gd name="T61" fmla="*/ 533 h 543"/>
                    <a:gd name="T62" fmla="*/ 446 w 780"/>
                    <a:gd name="T63" fmla="*/ 526 h 543"/>
                    <a:gd name="T64" fmla="*/ 423 w 780"/>
                    <a:gd name="T65" fmla="*/ 510 h 543"/>
                    <a:gd name="T66" fmla="*/ 364 w 780"/>
                    <a:gd name="T67" fmla="*/ 510 h 543"/>
                    <a:gd name="T68" fmla="*/ 358 w 780"/>
                    <a:gd name="T69" fmla="*/ 533 h 543"/>
                    <a:gd name="T70" fmla="*/ 340 w 780"/>
                    <a:gd name="T71" fmla="*/ 526 h 543"/>
                    <a:gd name="T72" fmla="*/ 324 w 780"/>
                    <a:gd name="T73" fmla="*/ 502 h 543"/>
                    <a:gd name="T74" fmla="*/ 317 w 780"/>
                    <a:gd name="T75" fmla="*/ 452 h 543"/>
                    <a:gd name="T76" fmla="*/ 284 w 780"/>
                    <a:gd name="T77" fmla="*/ 420 h 543"/>
                    <a:gd name="T78" fmla="*/ 202 w 780"/>
                    <a:gd name="T79" fmla="*/ 436 h 543"/>
                    <a:gd name="T80" fmla="*/ 178 w 780"/>
                    <a:gd name="T81" fmla="*/ 436 h 543"/>
                    <a:gd name="T82" fmla="*/ 129 w 780"/>
                    <a:gd name="T83" fmla="*/ 420 h 543"/>
                    <a:gd name="T84" fmla="*/ 88 w 780"/>
                    <a:gd name="T85" fmla="*/ 405 h 543"/>
                    <a:gd name="T86" fmla="*/ 73 w 780"/>
                    <a:gd name="T87" fmla="*/ 371 h 543"/>
                    <a:gd name="T88" fmla="*/ 82 w 780"/>
                    <a:gd name="T89" fmla="*/ 323 h 543"/>
                    <a:gd name="T90" fmla="*/ 32 w 780"/>
                    <a:gd name="T91" fmla="*/ 315 h 543"/>
                    <a:gd name="T92" fmla="*/ 16 w 780"/>
                    <a:gd name="T93" fmla="*/ 299 h 543"/>
                    <a:gd name="T94" fmla="*/ 0 w 780"/>
                    <a:gd name="T95" fmla="*/ 250 h 543"/>
                    <a:gd name="T96" fmla="*/ 40 w 780"/>
                    <a:gd name="T97" fmla="*/ 234 h 543"/>
                    <a:gd name="T98" fmla="*/ 88 w 780"/>
                    <a:gd name="T99" fmla="*/ 203 h 543"/>
                    <a:gd name="T100" fmla="*/ 106 w 780"/>
                    <a:gd name="T101" fmla="*/ 162 h 543"/>
                    <a:gd name="T102" fmla="*/ 147 w 780"/>
                    <a:gd name="T103" fmla="*/ 129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04" name="Freeform 9">
                  <a:extLst>
                    <a:ext uri="{FF2B5EF4-FFF2-40B4-BE49-F238E27FC236}">
                      <a16:creationId xmlns:a16="http://schemas.microsoft.com/office/drawing/2014/main" id="{FE5BD4FA-C691-10D9-DFF2-F07B76AB51E9}"/>
                    </a:ext>
                  </a:extLst>
                </p:cNvPr>
                <p:cNvSpPr>
                  <a:spLocks/>
                </p:cNvSpPr>
                <p:nvPr/>
              </p:nvSpPr>
              <p:spPr bwMode="gray">
                <a:xfrm>
                  <a:off x="6019851" y="4273092"/>
                  <a:ext cx="325655" cy="309090"/>
                </a:xfrm>
                <a:custGeom>
                  <a:avLst/>
                  <a:gdLst>
                    <a:gd name="T0" fmla="*/ 8 w 211"/>
                    <a:gd name="T1" fmla="*/ 178 h 204"/>
                    <a:gd name="T2" fmla="*/ 8 w 211"/>
                    <a:gd name="T3" fmla="*/ 162 h 204"/>
                    <a:gd name="T4" fmla="*/ 23 w 211"/>
                    <a:gd name="T5" fmla="*/ 153 h 204"/>
                    <a:gd name="T6" fmla="*/ 16 w 211"/>
                    <a:gd name="T7" fmla="*/ 137 h 204"/>
                    <a:gd name="T8" fmla="*/ 8 w 211"/>
                    <a:gd name="T9" fmla="*/ 129 h 204"/>
                    <a:gd name="T10" fmla="*/ 0 w 211"/>
                    <a:gd name="T11" fmla="*/ 113 h 204"/>
                    <a:gd name="T12" fmla="*/ 16 w 211"/>
                    <a:gd name="T13" fmla="*/ 121 h 204"/>
                    <a:gd name="T14" fmla="*/ 65 w 211"/>
                    <a:gd name="T15" fmla="*/ 113 h 204"/>
                    <a:gd name="T16" fmla="*/ 65 w 211"/>
                    <a:gd name="T17" fmla="*/ 97 h 204"/>
                    <a:gd name="T18" fmla="*/ 73 w 211"/>
                    <a:gd name="T19" fmla="*/ 90 h 204"/>
                    <a:gd name="T20" fmla="*/ 107 w 211"/>
                    <a:gd name="T21" fmla="*/ 81 h 204"/>
                    <a:gd name="T22" fmla="*/ 107 w 211"/>
                    <a:gd name="T23" fmla="*/ 66 h 204"/>
                    <a:gd name="T24" fmla="*/ 113 w 211"/>
                    <a:gd name="T25" fmla="*/ 56 h 204"/>
                    <a:gd name="T26" fmla="*/ 113 w 211"/>
                    <a:gd name="T27" fmla="*/ 49 h 204"/>
                    <a:gd name="T28" fmla="*/ 122 w 211"/>
                    <a:gd name="T29" fmla="*/ 49 h 204"/>
                    <a:gd name="T30" fmla="*/ 129 w 211"/>
                    <a:gd name="T31" fmla="*/ 32 h 204"/>
                    <a:gd name="T32" fmla="*/ 129 w 211"/>
                    <a:gd name="T33" fmla="*/ 16 h 204"/>
                    <a:gd name="T34" fmla="*/ 147 w 211"/>
                    <a:gd name="T35" fmla="*/ 9 h 204"/>
                    <a:gd name="T36" fmla="*/ 162 w 211"/>
                    <a:gd name="T37" fmla="*/ 0 h 204"/>
                    <a:gd name="T38" fmla="*/ 170 w 211"/>
                    <a:gd name="T39" fmla="*/ 0 h 204"/>
                    <a:gd name="T40" fmla="*/ 187 w 211"/>
                    <a:gd name="T41" fmla="*/ 9 h 204"/>
                    <a:gd name="T42" fmla="*/ 194 w 211"/>
                    <a:gd name="T43" fmla="*/ 16 h 204"/>
                    <a:gd name="T44" fmla="*/ 210 w 211"/>
                    <a:gd name="T45" fmla="*/ 24 h 204"/>
                    <a:gd name="T46" fmla="*/ 202 w 211"/>
                    <a:gd name="T47" fmla="*/ 32 h 204"/>
                    <a:gd name="T48" fmla="*/ 187 w 211"/>
                    <a:gd name="T49" fmla="*/ 41 h 204"/>
                    <a:gd name="T50" fmla="*/ 170 w 211"/>
                    <a:gd name="T51" fmla="*/ 32 h 204"/>
                    <a:gd name="T52" fmla="*/ 162 w 211"/>
                    <a:gd name="T53" fmla="*/ 41 h 204"/>
                    <a:gd name="T54" fmla="*/ 170 w 211"/>
                    <a:gd name="T55" fmla="*/ 49 h 204"/>
                    <a:gd name="T56" fmla="*/ 162 w 211"/>
                    <a:gd name="T57" fmla="*/ 66 h 204"/>
                    <a:gd name="T58" fmla="*/ 178 w 211"/>
                    <a:gd name="T59" fmla="*/ 72 h 204"/>
                    <a:gd name="T60" fmla="*/ 178 w 211"/>
                    <a:gd name="T61" fmla="*/ 81 h 204"/>
                    <a:gd name="T62" fmla="*/ 170 w 211"/>
                    <a:gd name="T63" fmla="*/ 81 h 204"/>
                    <a:gd name="T64" fmla="*/ 178 w 211"/>
                    <a:gd name="T65" fmla="*/ 90 h 204"/>
                    <a:gd name="T66" fmla="*/ 138 w 211"/>
                    <a:gd name="T67" fmla="*/ 137 h 204"/>
                    <a:gd name="T68" fmla="*/ 122 w 211"/>
                    <a:gd name="T69" fmla="*/ 146 h 204"/>
                    <a:gd name="T70" fmla="*/ 113 w 211"/>
                    <a:gd name="T71" fmla="*/ 137 h 204"/>
                    <a:gd name="T72" fmla="*/ 107 w 211"/>
                    <a:gd name="T73" fmla="*/ 146 h 204"/>
                    <a:gd name="T74" fmla="*/ 107 w 211"/>
                    <a:gd name="T75" fmla="*/ 162 h 204"/>
                    <a:gd name="T76" fmla="*/ 113 w 211"/>
                    <a:gd name="T77" fmla="*/ 162 h 204"/>
                    <a:gd name="T78" fmla="*/ 113 w 211"/>
                    <a:gd name="T79" fmla="*/ 169 h 204"/>
                    <a:gd name="T80" fmla="*/ 122 w 211"/>
                    <a:gd name="T81" fmla="*/ 169 h 204"/>
                    <a:gd name="T82" fmla="*/ 122 w 211"/>
                    <a:gd name="T83" fmla="*/ 186 h 204"/>
                    <a:gd name="T84" fmla="*/ 122 w 211"/>
                    <a:gd name="T85" fmla="*/ 194 h 204"/>
                    <a:gd name="T86" fmla="*/ 97 w 211"/>
                    <a:gd name="T87" fmla="*/ 194 h 204"/>
                    <a:gd name="T88" fmla="*/ 88 w 211"/>
                    <a:gd name="T89" fmla="*/ 203 h 204"/>
                    <a:gd name="T90" fmla="*/ 82 w 211"/>
                    <a:gd name="T91" fmla="*/ 194 h 204"/>
                    <a:gd name="T92" fmla="*/ 73 w 211"/>
                    <a:gd name="T93" fmla="*/ 178 h 204"/>
                    <a:gd name="T94" fmla="*/ 48 w 211"/>
                    <a:gd name="T95" fmla="*/ 178 h 204"/>
                    <a:gd name="T96" fmla="*/ 32 w 211"/>
                    <a:gd name="T97" fmla="*/ 178 h 204"/>
                    <a:gd name="T98" fmla="*/ 8 w 211"/>
                    <a:gd name="T99"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05" name="Freeform 10">
                  <a:extLst>
                    <a:ext uri="{FF2B5EF4-FFF2-40B4-BE49-F238E27FC236}">
                      <a16:creationId xmlns:a16="http://schemas.microsoft.com/office/drawing/2014/main" id="{56C5CB87-0858-75A7-26BE-E9BFF5FA2A00}"/>
                    </a:ext>
                  </a:extLst>
                </p:cNvPr>
                <p:cNvSpPr>
                  <a:spLocks/>
                </p:cNvSpPr>
                <p:nvPr/>
              </p:nvSpPr>
              <p:spPr bwMode="gray">
                <a:xfrm>
                  <a:off x="6006979" y="4237623"/>
                  <a:ext cx="288327" cy="220416"/>
                </a:xfrm>
                <a:custGeom>
                  <a:avLst/>
                  <a:gdLst>
                    <a:gd name="T0" fmla="*/ 179 w 188"/>
                    <a:gd name="T1" fmla="*/ 24 h 146"/>
                    <a:gd name="T2" fmla="*/ 171 w 188"/>
                    <a:gd name="T3" fmla="*/ 24 h 146"/>
                    <a:gd name="T4" fmla="*/ 156 w 188"/>
                    <a:gd name="T5" fmla="*/ 33 h 146"/>
                    <a:gd name="T6" fmla="*/ 138 w 188"/>
                    <a:gd name="T7" fmla="*/ 40 h 146"/>
                    <a:gd name="T8" fmla="*/ 138 w 188"/>
                    <a:gd name="T9" fmla="*/ 56 h 146"/>
                    <a:gd name="T10" fmla="*/ 131 w 188"/>
                    <a:gd name="T11" fmla="*/ 73 h 146"/>
                    <a:gd name="T12" fmla="*/ 122 w 188"/>
                    <a:gd name="T13" fmla="*/ 73 h 146"/>
                    <a:gd name="T14" fmla="*/ 122 w 188"/>
                    <a:gd name="T15" fmla="*/ 80 h 146"/>
                    <a:gd name="T16" fmla="*/ 116 w 188"/>
                    <a:gd name="T17" fmla="*/ 90 h 146"/>
                    <a:gd name="T18" fmla="*/ 116 w 188"/>
                    <a:gd name="T19" fmla="*/ 105 h 146"/>
                    <a:gd name="T20" fmla="*/ 82 w 188"/>
                    <a:gd name="T21" fmla="*/ 114 h 146"/>
                    <a:gd name="T22" fmla="*/ 74 w 188"/>
                    <a:gd name="T23" fmla="*/ 121 h 146"/>
                    <a:gd name="T24" fmla="*/ 74 w 188"/>
                    <a:gd name="T25" fmla="*/ 137 h 146"/>
                    <a:gd name="T26" fmla="*/ 25 w 188"/>
                    <a:gd name="T27" fmla="*/ 145 h 146"/>
                    <a:gd name="T28" fmla="*/ 9 w 188"/>
                    <a:gd name="T29" fmla="*/ 137 h 146"/>
                    <a:gd name="T30" fmla="*/ 17 w 188"/>
                    <a:gd name="T31" fmla="*/ 121 h 146"/>
                    <a:gd name="T32" fmla="*/ 17 w 188"/>
                    <a:gd name="T33" fmla="*/ 114 h 146"/>
                    <a:gd name="T34" fmla="*/ 0 w 188"/>
                    <a:gd name="T35" fmla="*/ 105 h 146"/>
                    <a:gd name="T36" fmla="*/ 0 w 188"/>
                    <a:gd name="T37" fmla="*/ 73 h 146"/>
                    <a:gd name="T38" fmla="*/ 9 w 188"/>
                    <a:gd name="T39" fmla="*/ 56 h 146"/>
                    <a:gd name="T40" fmla="*/ 9 w 188"/>
                    <a:gd name="T41" fmla="*/ 48 h 146"/>
                    <a:gd name="T42" fmla="*/ 32 w 188"/>
                    <a:gd name="T43" fmla="*/ 48 h 146"/>
                    <a:gd name="T44" fmla="*/ 32 w 188"/>
                    <a:gd name="T45" fmla="*/ 40 h 146"/>
                    <a:gd name="T46" fmla="*/ 50 w 188"/>
                    <a:gd name="T47" fmla="*/ 40 h 146"/>
                    <a:gd name="T48" fmla="*/ 57 w 188"/>
                    <a:gd name="T49" fmla="*/ 24 h 146"/>
                    <a:gd name="T50" fmla="*/ 66 w 188"/>
                    <a:gd name="T51" fmla="*/ 24 h 146"/>
                    <a:gd name="T52" fmla="*/ 66 w 188"/>
                    <a:gd name="T53" fmla="*/ 16 h 146"/>
                    <a:gd name="T54" fmla="*/ 97 w 188"/>
                    <a:gd name="T55" fmla="*/ 24 h 146"/>
                    <a:gd name="T56" fmla="*/ 116 w 188"/>
                    <a:gd name="T57" fmla="*/ 24 h 146"/>
                    <a:gd name="T58" fmla="*/ 116 w 188"/>
                    <a:gd name="T59" fmla="*/ 16 h 146"/>
                    <a:gd name="T60" fmla="*/ 122 w 188"/>
                    <a:gd name="T61" fmla="*/ 16 h 146"/>
                    <a:gd name="T62" fmla="*/ 131 w 188"/>
                    <a:gd name="T63" fmla="*/ 0 h 146"/>
                    <a:gd name="T64" fmla="*/ 138 w 188"/>
                    <a:gd name="T65" fmla="*/ 8 h 146"/>
                    <a:gd name="T66" fmla="*/ 147 w 188"/>
                    <a:gd name="T67" fmla="*/ 33 h 146"/>
                    <a:gd name="T68" fmla="*/ 162 w 188"/>
                    <a:gd name="T69" fmla="*/ 16 h 146"/>
                    <a:gd name="T70" fmla="*/ 187 w 188"/>
                    <a:gd name="T71" fmla="*/ 24 h 146"/>
                    <a:gd name="T72" fmla="*/ 179 w 188"/>
                    <a:gd name="T73"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06" name="Freeform 11">
                  <a:extLst>
                    <a:ext uri="{FF2B5EF4-FFF2-40B4-BE49-F238E27FC236}">
                      <a16:creationId xmlns:a16="http://schemas.microsoft.com/office/drawing/2014/main" id="{DF93FA0B-F6B1-5DB1-485D-6327F06581D9}"/>
                    </a:ext>
                  </a:extLst>
                </p:cNvPr>
                <p:cNvSpPr>
                  <a:spLocks/>
                </p:cNvSpPr>
                <p:nvPr/>
              </p:nvSpPr>
              <p:spPr bwMode="gray">
                <a:xfrm>
                  <a:off x="5683898" y="4199621"/>
                  <a:ext cx="373280" cy="344559"/>
                </a:xfrm>
                <a:custGeom>
                  <a:avLst/>
                  <a:gdLst>
                    <a:gd name="T0" fmla="*/ 227 w 243"/>
                    <a:gd name="T1" fmla="*/ 227 h 228"/>
                    <a:gd name="T2" fmla="*/ 170 w 243"/>
                    <a:gd name="T3" fmla="*/ 218 h 228"/>
                    <a:gd name="T4" fmla="*/ 162 w 243"/>
                    <a:gd name="T5" fmla="*/ 202 h 228"/>
                    <a:gd name="T6" fmla="*/ 137 w 243"/>
                    <a:gd name="T7" fmla="*/ 211 h 228"/>
                    <a:gd name="T8" fmla="*/ 121 w 243"/>
                    <a:gd name="T9" fmla="*/ 211 h 228"/>
                    <a:gd name="T10" fmla="*/ 96 w 243"/>
                    <a:gd name="T11" fmla="*/ 186 h 228"/>
                    <a:gd name="T12" fmla="*/ 80 w 243"/>
                    <a:gd name="T13" fmla="*/ 162 h 228"/>
                    <a:gd name="T14" fmla="*/ 65 w 243"/>
                    <a:gd name="T15" fmla="*/ 155 h 228"/>
                    <a:gd name="T16" fmla="*/ 56 w 243"/>
                    <a:gd name="T17" fmla="*/ 155 h 228"/>
                    <a:gd name="T18" fmla="*/ 48 w 243"/>
                    <a:gd name="T19" fmla="*/ 146 h 228"/>
                    <a:gd name="T20" fmla="*/ 40 w 243"/>
                    <a:gd name="T21" fmla="*/ 121 h 228"/>
                    <a:gd name="T22" fmla="*/ 24 w 243"/>
                    <a:gd name="T23" fmla="*/ 115 h 228"/>
                    <a:gd name="T24" fmla="*/ 15 w 243"/>
                    <a:gd name="T25" fmla="*/ 98 h 228"/>
                    <a:gd name="T26" fmla="*/ 24 w 243"/>
                    <a:gd name="T27" fmla="*/ 81 h 228"/>
                    <a:gd name="T28" fmla="*/ 24 w 243"/>
                    <a:gd name="T29" fmla="*/ 65 h 228"/>
                    <a:gd name="T30" fmla="*/ 15 w 243"/>
                    <a:gd name="T31" fmla="*/ 65 h 228"/>
                    <a:gd name="T32" fmla="*/ 8 w 243"/>
                    <a:gd name="T33" fmla="*/ 49 h 228"/>
                    <a:gd name="T34" fmla="*/ 0 w 243"/>
                    <a:gd name="T35" fmla="*/ 9 h 228"/>
                    <a:gd name="T36" fmla="*/ 8 w 243"/>
                    <a:gd name="T37" fmla="*/ 0 h 228"/>
                    <a:gd name="T38" fmla="*/ 15 w 243"/>
                    <a:gd name="T39" fmla="*/ 16 h 228"/>
                    <a:gd name="T40" fmla="*/ 24 w 243"/>
                    <a:gd name="T41" fmla="*/ 16 h 228"/>
                    <a:gd name="T42" fmla="*/ 31 w 243"/>
                    <a:gd name="T43" fmla="*/ 16 h 228"/>
                    <a:gd name="T44" fmla="*/ 48 w 243"/>
                    <a:gd name="T45" fmla="*/ 9 h 228"/>
                    <a:gd name="T46" fmla="*/ 56 w 243"/>
                    <a:gd name="T47" fmla="*/ 9 h 228"/>
                    <a:gd name="T48" fmla="*/ 48 w 243"/>
                    <a:gd name="T49" fmla="*/ 16 h 228"/>
                    <a:gd name="T50" fmla="*/ 65 w 243"/>
                    <a:gd name="T51" fmla="*/ 25 h 228"/>
                    <a:gd name="T52" fmla="*/ 65 w 243"/>
                    <a:gd name="T53" fmla="*/ 41 h 228"/>
                    <a:gd name="T54" fmla="*/ 96 w 243"/>
                    <a:gd name="T55" fmla="*/ 58 h 228"/>
                    <a:gd name="T56" fmla="*/ 130 w 243"/>
                    <a:gd name="T57" fmla="*/ 58 h 228"/>
                    <a:gd name="T58" fmla="*/ 130 w 243"/>
                    <a:gd name="T59" fmla="*/ 41 h 228"/>
                    <a:gd name="T60" fmla="*/ 145 w 243"/>
                    <a:gd name="T61" fmla="*/ 33 h 228"/>
                    <a:gd name="T62" fmla="*/ 170 w 243"/>
                    <a:gd name="T63" fmla="*/ 33 h 228"/>
                    <a:gd name="T64" fmla="*/ 219 w 243"/>
                    <a:gd name="T65" fmla="*/ 58 h 228"/>
                    <a:gd name="T66" fmla="*/ 219 w 243"/>
                    <a:gd name="T67" fmla="*/ 65 h 228"/>
                    <a:gd name="T68" fmla="*/ 219 w 243"/>
                    <a:gd name="T69" fmla="*/ 73 h 228"/>
                    <a:gd name="T70" fmla="*/ 219 w 243"/>
                    <a:gd name="T71" fmla="*/ 81 h 228"/>
                    <a:gd name="T72" fmla="*/ 210 w 243"/>
                    <a:gd name="T73" fmla="*/ 98 h 228"/>
                    <a:gd name="T74" fmla="*/ 210 w 243"/>
                    <a:gd name="T75" fmla="*/ 130 h 228"/>
                    <a:gd name="T76" fmla="*/ 227 w 243"/>
                    <a:gd name="T77" fmla="*/ 139 h 228"/>
                    <a:gd name="T78" fmla="*/ 227 w 243"/>
                    <a:gd name="T79" fmla="*/ 146 h 228"/>
                    <a:gd name="T80" fmla="*/ 219 w 243"/>
                    <a:gd name="T81" fmla="*/ 162 h 228"/>
                    <a:gd name="T82" fmla="*/ 227 w 243"/>
                    <a:gd name="T83" fmla="*/ 178 h 228"/>
                    <a:gd name="T84" fmla="*/ 235 w 243"/>
                    <a:gd name="T85" fmla="*/ 186 h 228"/>
                    <a:gd name="T86" fmla="*/ 242 w 243"/>
                    <a:gd name="T87" fmla="*/ 202 h 228"/>
                    <a:gd name="T88" fmla="*/ 227 w 243"/>
                    <a:gd name="T89" fmla="*/ 211 h 228"/>
                    <a:gd name="T90" fmla="*/ 227 w 243"/>
                    <a:gd name="T91" fmla="*/ 2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07" name="Freeform 12">
                  <a:extLst>
                    <a:ext uri="{FF2B5EF4-FFF2-40B4-BE49-F238E27FC236}">
                      <a16:creationId xmlns:a16="http://schemas.microsoft.com/office/drawing/2014/main" id="{FD3A0533-3A74-8DB8-2388-BF092500BBDF}"/>
                    </a:ext>
                  </a:extLst>
                </p:cNvPr>
                <p:cNvSpPr>
                  <a:spLocks/>
                </p:cNvSpPr>
                <p:nvPr/>
              </p:nvSpPr>
              <p:spPr bwMode="gray">
                <a:xfrm>
                  <a:off x="6184609" y="4114748"/>
                  <a:ext cx="212384" cy="100074"/>
                </a:xfrm>
                <a:custGeom>
                  <a:avLst/>
                  <a:gdLst>
                    <a:gd name="T0" fmla="*/ 137 w 138"/>
                    <a:gd name="T1" fmla="*/ 15 h 66"/>
                    <a:gd name="T2" fmla="*/ 137 w 138"/>
                    <a:gd name="T3" fmla="*/ 24 h 66"/>
                    <a:gd name="T4" fmla="*/ 112 w 138"/>
                    <a:gd name="T5" fmla="*/ 40 h 66"/>
                    <a:gd name="T6" fmla="*/ 95 w 138"/>
                    <a:gd name="T7" fmla="*/ 40 h 66"/>
                    <a:gd name="T8" fmla="*/ 87 w 138"/>
                    <a:gd name="T9" fmla="*/ 49 h 66"/>
                    <a:gd name="T10" fmla="*/ 71 w 138"/>
                    <a:gd name="T11" fmla="*/ 49 h 66"/>
                    <a:gd name="T12" fmla="*/ 55 w 138"/>
                    <a:gd name="T13" fmla="*/ 56 h 66"/>
                    <a:gd name="T14" fmla="*/ 55 w 138"/>
                    <a:gd name="T15" fmla="*/ 65 h 66"/>
                    <a:gd name="T16" fmla="*/ 31 w 138"/>
                    <a:gd name="T17" fmla="*/ 65 h 66"/>
                    <a:gd name="T18" fmla="*/ 22 w 138"/>
                    <a:gd name="T19" fmla="*/ 65 h 66"/>
                    <a:gd name="T20" fmla="*/ 0 w 138"/>
                    <a:gd name="T21" fmla="*/ 65 h 66"/>
                    <a:gd name="T22" fmla="*/ 0 w 138"/>
                    <a:gd name="T23" fmla="*/ 56 h 66"/>
                    <a:gd name="T24" fmla="*/ 15 w 138"/>
                    <a:gd name="T25" fmla="*/ 56 h 66"/>
                    <a:gd name="T26" fmla="*/ 15 w 138"/>
                    <a:gd name="T27" fmla="*/ 49 h 66"/>
                    <a:gd name="T28" fmla="*/ 31 w 138"/>
                    <a:gd name="T29" fmla="*/ 49 h 66"/>
                    <a:gd name="T30" fmla="*/ 46 w 138"/>
                    <a:gd name="T31" fmla="*/ 40 h 66"/>
                    <a:gd name="T32" fmla="*/ 31 w 138"/>
                    <a:gd name="T33" fmla="*/ 32 h 66"/>
                    <a:gd name="T34" fmla="*/ 22 w 138"/>
                    <a:gd name="T35" fmla="*/ 32 h 66"/>
                    <a:gd name="T36" fmla="*/ 6 w 138"/>
                    <a:gd name="T37" fmla="*/ 32 h 66"/>
                    <a:gd name="T38" fmla="*/ 22 w 138"/>
                    <a:gd name="T39" fmla="*/ 15 h 66"/>
                    <a:gd name="T40" fmla="*/ 15 w 138"/>
                    <a:gd name="T41" fmla="*/ 15 h 66"/>
                    <a:gd name="T42" fmla="*/ 22 w 138"/>
                    <a:gd name="T43" fmla="*/ 9 h 66"/>
                    <a:gd name="T44" fmla="*/ 46 w 138"/>
                    <a:gd name="T45" fmla="*/ 15 h 66"/>
                    <a:gd name="T46" fmla="*/ 46 w 138"/>
                    <a:gd name="T47" fmla="*/ 9 h 66"/>
                    <a:gd name="T48" fmla="*/ 55 w 138"/>
                    <a:gd name="T49" fmla="*/ 0 h 66"/>
                    <a:gd name="T50" fmla="*/ 71 w 138"/>
                    <a:gd name="T51" fmla="*/ 9 h 66"/>
                    <a:gd name="T52" fmla="*/ 120 w 138"/>
                    <a:gd name="T53" fmla="*/ 9 h 66"/>
                    <a:gd name="T54" fmla="*/ 137 w 138"/>
                    <a:gd name="T55" fmla="*/ 1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08" name="Freeform 13">
                  <a:extLst>
                    <a:ext uri="{FF2B5EF4-FFF2-40B4-BE49-F238E27FC236}">
                      <a16:creationId xmlns:a16="http://schemas.microsoft.com/office/drawing/2014/main" id="{150E89CA-7318-1183-983A-5A20A8A7B02D}"/>
                    </a:ext>
                  </a:extLst>
                </p:cNvPr>
                <p:cNvSpPr>
                  <a:spLocks/>
                </p:cNvSpPr>
                <p:nvPr/>
              </p:nvSpPr>
              <p:spPr bwMode="gray">
                <a:xfrm>
                  <a:off x="5844795" y="4128682"/>
                  <a:ext cx="289614" cy="182414"/>
                </a:xfrm>
                <a:custGeom>
                  <a:avLst/>
                  <a:gdLst>
                    <a:gd name="T0" fmla="*/ 179 w 188"/>
                    <a:gd name="T1" fmla="*/ 96 h 121"/>
                    <a:gd name="T2" fmla="*/ 171 w 188"/>
                    <a:gd name="T3" fmla="*/ 88 h 121"/>
                    <a:gd name="T4" fmla="*/ 171 w 188"/>
                    <a:gd name="T5" fmla="*/ 96 h 121"/>
                    <a:gd name="T6" fmla="*/ 162 w 188"/>
                    <a:gd name="T7" fmla="*/ 96 h 121"/>
                    <a:gd name="T8" fmla="*/ 155 w 188"/>
                    <a:gd name="T9" fmla="*/ 112 h 121"/>
                    <a:gd name="T10" fmla="*/ 137 w 188"/>
                    <a:gd name="T11" fmla="*/ 112 h 121"/>
                    <a:gd name="T12" fmla="*/ 137 w 188"/>
                    <a:gd name="T13" fmla="*/ 120 h 121"/>
                    <a:gd name="T14" fmla="*/ 114 w 188"/>
                    <a:gd name="T15" fmla="*/ 120 h 121"/>
                    <a:gd name="T16" fmla="*/ 114 w 188"/>
                    <a:gd name="T17" fmla="*/ 112 h 121"/>
                    <a:gd name="T18" fmla="*/ 114 w 188"/>
                    <a:gd name="T19" fmla="*/ 105 h 121"/>
                    <a:gd name="T20" fmla="*/ 65 w 188"/>
                    <a:gd name="T21" fmla="*/ 80 h 121"/>
                    <a:gd name="T22" fmla="*/ 40 w 188"/>
                    <a:gd name="T23" fmla="*/ 80 h 121"/>
                    <a:gd name="T24" fmla="*/ 25 w 188"/>
                    <a:gd name="T25" fmla="*/ 88 h 121"/>
                    <a:gd name="T26" fmla="*/ 25 w 188"/>
                    <a:gd name="T27" fmla="*/ 63 h 121"/>
                    <a:gd name="T28" fmla="*/ 16 w 188"/>
                    <a:gd name="T29" fmla="*/ 63 h 121"/>
                    <a:gd name="T30" fmla="*/ 16 w 188"/>
                    <a:gd name="T31" fmla="*/ 47 h 121"/>
                    <a:gd name="T32" fmla="*/ 9 w 188"/>
                    <a:gd name="T33" fmla="*/ 47 h 121"/>
                    <a:gd name="T34" fmla="*/ 9 w 188"/>
                    <a:gd name="T35" fmla="*/ 40 h 121"/>
                    <a:gd name="T36" fmla="*/ 25 w 188"/>
                    <a:gd name="T37" fmla="*/ 40 h 121"/>
                    <a:gd name="T38" fmla="*/ 32 w 188"/>
                    <a:gd name="T39" fmla="*/ 31 h 121"/>
                    <a:gd name="T40" fmla="*/ 16 w 188"/>
                    <a:gd name="T41" fmla="*/ 15 h 121"/>
                    <a:gd name="T42" fmla="*/ 9 w 188"/>
                    <a:gd name="T43" fmla="*/ 15 h 121"/>
                    <a:gd name="T44" fmla="*/ 9 w 188"/>
                    <a:gd name="T45" fmla="*/ 31 h 121"/>
                    <a:gd name="T46" fmla="*/ 0 w 188"/>
                    <a:gd name="T47" fmla="*/ 15 h 121"/>
                    <a:gd name="T48" fmla="*/ 25 w 188"/>
                    <a:gd name="T49" fmla="*/ 6 h 121"/>
                    <a:gd name="T50" fmla="*/ 40 w 188"/>
                    <a:gd name="T51" fmla="*/ 23 h 121"/>
                    <a:gd name="T52" fmla="*/ 49 w 188"/>
                    <a:gd name="T53" fmla="*/ 23 h 121"/>
                    <a:gd name="T54" fmla="*/ 57 w 188"/>
                    <a:gd name="T55" fmla="*/ 23 h 121"/>
                    <a:gd name="T56" fmla="*/ 57 w 188"/>
                    <a:gd name="T57" fmla="*/ 15 h 121"/>
                    <a:gd name="T58" fmla="*/ 74 w 188"/>
                    <a:gd name="T59" fmla="*/ 6 h 121"/>
                    <a:gd name="T60" fmla="*/ 81 w 188"/>
                    <a:gd name="T61" fmla="*/ 6 h 121"/>
                    <a:gd name="T62" fmla="*/ 74 w 188"/>
                    <a:gd name="T63" fmla="*/ 0 h 121"/>
                    <a:gd name="T64" fmla="*/ 81 w 188"/>
                    <a:gd name="T65" fmla="*/ 0 h 121"/>
                    <a:gd name="T66" fmla="*/ 97 w 188"/>
                    <a:gd name="T67" fmla="*/ 6 h 121"/>
                    <a:gd name="T68" fmla="*/ 97 w 188"/>
                    <a:gd name="T69" fmla="*/ 23 h 121"/>
                    <a:gd name="T70" fmla="*/ 122 w 188"/>
                    <a:gd name="T71" fmla="*/ 23 h 121"/>
                    <a:gd name="T72" fmla="*/ 130 w 188"/>
                    <a:gd name="T73" fmla="*/ 47 h 121"/>
                    <a:gd name="T74" fmla="*/ 171 w 188"/>
                    <a:gd name="T75" fmla="*/ 72 h 121"/>
                    <a:gd name="T76" fmla="*/ 187 w 188"/>
                    <a:gd name="T77" fmla="*/ 80 h 121"/>
                    <a:gd name="T78" fmla="*/ 179 w 188"/>
                    <a:gd name="T79" fmla="*/ 9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09" name="Freeform 14">
                  <a:extLst>
                    <a:ext uri="{FF2B5EF4-FFF2-40B4-BE49-F238E27FC236}">
                      <a16:creationId xmlns:a16="http://schemas.microsoft.com/office/drawing/2014/main" id="{F1677698-D940-F588-2F1B-C24C2CD5C2B5}"/>
                    </a:ext>
                  </a:extLst>
                </p:cNvPr>
                <p:cNvSpPr>
                  <a:spLocks/>
                </p:cNvSpPr>
                <p:nvPr/>
              </p:nvSpPr>
              <p:spPr bwMode="gray">
                <a:xfrm>
                  <a:off x="5920738" y="4052677"/>
                  <a:ext cx="337240" cy="222950"/>
                </a:xfrm>
                <a:custGeom>
                  <a:avLst/>
                  <a:gdLst>
                    <a:gd name="T0" fmla="*/ 130 w 219"/>
                    <a:gd name="T1" fmla="*/ 146 h 147"/>
                    <a:gd name="T2" fmla="*/ 147 w 219"/>
                    <a:gd name="T3" fmla="*/ 146 h 147"/>
                    <a:gd name="T4" fmla="*/ 153 w 219"/>
                    <a:gd name="T5" fmla="*/ 130 h 147"/>
                    <a:gd name="T6" fmla="*/ 153 w 219"/>
                    <a:gd name="T7" fmla="*/ 113 h 147"/>
                    <a:gd name="T8" fmla="*/ 147 w 219"/>
                    <a:gd name="T9" fmla="*/ 106 h 147"/>
                    <a:gd name="T10" fmla="*/ 162 w 219"/>
                    <a:gd name="T11" fmla="*/ 106 h 147"/>
                    <a:gd name="T12" fmla="*/ 172 w 219"/>
                    <a:gd name="T13" fmla="*/ 90 h 147"/>
                    <a:gd name="T14" fmla="*/ 172 w 219"/>
                    <a:gd name="T15" fmla="*/ 81 h 147"/>
                    <a:gd name="T16" fmla="*/ 187 w 219"/>
                    <a:gd name="T17" fmla="*/ 81 h 147"/>
                    <a:gd name="T18" fmla="*/ 187 w 219"/>
                    <a:gd name="T19" fmla="*/ 90 h 147"/>
                    <a:gd name="T20" fmla="*/ 203 w 219"/>
                    <a:gd name="T21" fmla="*/ 90 h 147"/>
                    <a:gd name="T22" fmla="*/ 218 w 219"/>
                    <a:gd name="T23" fmla="*/ 81 h 147"/>
                    <a:gd name="T24" fmla="*/ 203 w 219"/>
                    <a:gd name="T25" fmla="*/ 73 h 147"/>
                    <a:gd name="T26" fmla="*/ 194 w 219"/>
                    <a:gd name="T27" fmla="*/ 73 h 147"/>
                    <a:gd name="T28" fmla="*/ 178 w 219"/>
                    <a:gd name="T29" fmla="*/ 73 h 147"/>
                    <a:gd name="T30" fmla="*/ 194 w 219"/>
                    <a:gd name="T31" fmla="*/ 56 h 147"/>
                    <a:gd name="T32" fmla="*/ 187 w 219"/>
                    <a:gd name="T33" fmla="*/ 56 h 147"/>
                    <a:gd name="T34" fmla="*/ 162 w 219"/>
                    <a:gd name="T35" fmla="*/ 81 h 147"/>
                    <a:gd name="T36" fmla="*/ 153 w 219"/>
                    <a:gd name="T37" fmla="*/ 73 h 147"/>
                    <a:gd name="T38" fmla="*/ 138 w 219"/>
                    <a:gd name="T39" fmla="*/ 73 h 147"/>
                    <a:gd name="T40" fmla="*/ 138 w 219"/>
                    <a:gd name="T41" fmla="*/ 65 h 147"/>
                    <a:gd name="T42" fmla="*/ 130 w 219"/>
                    <a:gd name="T43" fmla="*/ 65 h 147"/>
                    <a:gd name="T44" fmla="*/ 130 w 219"/>
                    <a:gd name="T45" fmla="*/ 50 h 147"/>
                    <a:gd name="T46" fmla="*/ 113 w 219"/>
                    <a:gd name="T47" fmla="*/ 31 h 147"/>
                    <a:gd name="T48" fmla="*/ 73 w 219"/>
                    <a:gd name="T49" fmla="*/ 31 h 147"/>
                    <a:gd name="T50" fmla="*/ 48 w 219"/>
                    <a:gd name="T51" fmla="*/ 9 h 147"/>
                    <a:gd name="T52" fmla="*/ 32 w 219"/>
                    <a:gd name="T53" fmla="*/ 0 h 147"/>
                    <a:gd name="T54" fmla="*/ 0 w 219"/>
                    <a:gd name="T55" fmla="*/ 9 h 147"/>
                    <a:gd name="T56" fmla="*/ 0 w 219"/>
                    <a:gd name="T57" fmla="*/ 73 h 147"/>
                    <a:gd name="T58" fmla="*/ 8 w 219"/>
                    <a:gd name="T59" fmla="*/ 73 h 147"/>
                    <a:gd name="T60" fmla="*/ 8 w 219"/>
                    <a:gd name="T61" fmla="*/ 65 h 147"/>
                    <a:gd name="T62" fmla="*/ 25 w 219"/>
                    <a:gd name="T63" fmla="*/ 56 h 147"/>
                    <a:gd name="T64" fmla="*/ 32 w 219"/>
                    <a:gd name="T65" fmla="*/ 56 h 147"/>
                    <a:gd name="T66" fmla="*/ 25 w 219"/>
                    <a:gd name="T67" fmla="*/ 50 h 147"/>
                    <a:gd name="T68" fmla="*/ 32 w 219"/>
                    <a:gd name="T69" fmla="*/ 50 h 147"/>
                    <a:gd name="T70" fmla="*/ 48 w 219"/>
                    <a:gd name="T71" fmla="*/ 56 h 147"/>
                    <a:gd name="T72" fmla="*/ 48 w 219"/>
                    <a:gd name="T73" fmla="*/ 73 h 147"/>
                    <a:gd name="T74" fmla="*/ 73 w 219"/>
                    <a:gd name="T75" fmla="*/ 73 h 147"/>
                    <a:gd name="T76" fmla="*/ 81 w 219"/>
                    <a:gd name="T77" fmla="*/ 97 h 147"/>
                    <a:gd name="T78" fmla="*/ 122 w 219"/>
                    <a:gd name="T79" fmla="*/ 122 h 147"/>
                    <a:gd name="T80" fmla="*/ 138 w 219"/>
                    <a:gd name="T81" fmla="*/ 130 h 147"/>
                    <a:gd name="T82" fmla="*/ 130 w 219"/>
                    <a:gd name="T83" fmla="*/ 1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10" name="Freeform 15">
                  <a:extLst>
                    <a:ext uri="{FF2B5EF4-FFF2-40B4-BE49-F238E27FC236}">
                      <a16:creationId xmlns:a16="http://schemas.microsoft.com/office/drawing/2014/main" id="{E6005120-ABD4-FE7B-6F76-47BA05112996}"/>
                    </a:ext>
                  </a:extLst>
                </p:cNvPr>
                <p:cNvSpPr>
                  <a:spLocks/>
                </p:cNvSpPr>
                <p:nvPr/>
              </p:nvSpPr>
              <p:spPr bwMode="gray">
                <a:xfrm>
                  <a:off x="5731524" y="3760056"/>
                  <a:ext cx="813493" cy="416764"/>
                </a:xfrm>
                <a:custGeom>
                  <a:avLst/>
                  <a:gdLst>
                    <a:gd name="T0" fmla="*/ 504 w 529"/>
                    <a:gd name="T1" fmla="*/ 144 h 275"/>
                    <a:gd name="T2" fmla="*/ 487 w 529"/>
                    <a:gd name="T3" fmla="*/ 169 h 275"/>
                    <a:gd name="T4" fmla="*/ 456 w 529"/>
                    <a:gd name="T5" fmla="*/ 202 h 275"/>
                    <a:gd name="T6" fmla="*/ 432 w 529"/>
                    <a:gd name="T7" fmla="*/ 209 h 275"/>
                    <a:gd name="T8" fmla="*/ 432 w 529"/>
                    <a:gd name="T9" fmla="*/ 249 h 275"/>
                    <a:gd name="T10" fmla="*/ 366 w 529"/>
                    <a:gd name="T11" fmla="*/ 243 h 275"/>
                    <a:gd name="T12" fmla="*/ 341 w 529"/>
                    <a:gd name="T13" fmla="*/ 243 h 275"/>
                    <a:gd name="T14" fmla="*/ 317 w 529"/>
                    <a:gd name="T15" fmla="*/ 243 h 275"/>
                    <a:gd name="T16" fmla="*/ 285 w 529"/>
                    <a:gd name="T17" fmla="*/ 274 h 275"/>
                    <a:gd name="T18" fmla="*/ 261 w 529"/>
                    <a:gd name="T19" fmla="*/ 266 h 275"/>
                    <a:gd name="T20" fmla="*/ 253 w 529"/>
                    <a:gd name="T21" fmla="*/ 258 h 275"/>
                    <a:gd name="T22" fmla="*/ 236 w 529"/>
                    <a:gd name="T23" fmla="*/ 224 h 275"/>
                    <a:gd name="T24" fmla="*/ 171 w 529"/>
                    <a:gd name="T25" fmla="*/ 202 h 275"/>
                    <a:gd name="T26" fmla="*/ 123 w 529"/>
                    <a:gd name="T27" fmla="*/ 202 h 275"/>
                    <a:gd name="T28" fmla="*/ 114 w 529"/>
                    <a:gd name="T29" fmla="*/ 266 h 275"/>
                    <a:gd name="T30" fmla="*/ 74 w 529"/>
                    <a:gd name="T31" fmla="*/ 258 h 275"/>
                    <a:gd name="T32" fmla="*/ 65 w 529"/>
                    <a:gd name="T33" fmla="*/ 243 h 275"/>
                    <a:gd name="T34" fmla="*/ 49 w 529"/>
                    <a:gd name="T35" fmla="*/ 218 h 275"/>
                    <a:gd name="T36" fmla="*/ 59 w 529"/>
                    <a:gd name="T37" fmla="*/ 209 h 275"/>
                    <a:gd name="T38" fmla="*/ 99 w 529"/>
                    <a:gd name="T39" fmla="*/ 202 h 275"/>
                    <a:gd name="T40" fmla="*/ 74 w 529"/>
                    <a:gd name="T41" fmla="*/ 169 h 275"/>
                    <a:gd name="T42" fmla="*/ 34 w 529"/>
                    <a:gd name="T43" fmla="*/ 177 h 275"/>
                    <a:gd name="T44" fmla="*/ 34 w 529"/>
                    <a:gd name="T45" fmla="*/ 169 h 275"/>
                    <a:gd name="T46" fmla="*/ 9 w 529"/>
                    <a:gd name="T47" fmla="*/ 153 h 275"/>
                    <a:gd name="T48" fmla="*/ 9 w 529"/>
                    <a:gd name="T49" fmla="*/ 96 h 275"/>
                    <a:gd name="T50" fmla="*/ 34 w 529"/>
                    <a:gd name="T51" fmla="*/ 112 h 275"/>
                    <a:gd name="T52" fmla="*/ 49 w 529"/>
                    <a:gd name="T53" fmla="*/ 72 h 275"/>
                    <a:gd name="T54" fmla="*/ 74 w 529"/>
                    <a:gd name="T55" fmla="*/ 72 h 275"/>
                    <a:gd name="T56" fmla="*/ 114 w 529"/>
                    <a:gd name="T57" fmla="*/ 96 h 275"/>
                    <a:gd name="T58" fmla="*/ 148 w 529"/>
                    <a:gd name="T59" fmla="*/ 87 h 275"/>
                    <a:gd name="T60" fmla="*/ 188 w 529"/>
                    <a:gd name="T61" fmla="*/ 96 h 275"/>
                    <a:gd name="T62" fmla="*/ 171 w 529"/>
                    <a:gd name="T63" fmla="*/ 72 h 275"/>
                    <a:gd name="T64" fmla="*/ 179 w 529"/>
                    <a:gd name="T65" fmla="*/ 56 h 275"/>
                    <a:gd name="T66" fmla="*/ 188 w 529"/>
                    <a:gd name="T67" fmla="*/ 22 h 275"/>
                    <a:gd name="T68" fmla="*/ 276 w 529"/>
                    <a:gd name="T69" fmla="*/ 7 h 275"/>
                    <a:gd name="T70" fmla="*/ 285 w 529"/>
                    <a:gd name="T71" fmla="*/ 0 h 275"/>
                    <a:gd name="T72" fmla="*/ 317 w 529"/>
                    <a:gd name="T73" fmla="*/ 16 h 275"/>
                    <a:gd name="T74" fmla="*/ 326 w 529"/>
                    <a:gd name="T75" fmla="*/ 22 h 275"/>
                    <a:gd name="T76" fmla="*/ 341 w 529"/>
                    <a:gd name="T77" fmla="*/ 40 h 275"/>
                    <a:gd name="T78" fmla="*/ 375 w 529"/>
                    <a:gd name="T79" fmla="*/ 22 h 275"/>
                    <a:gd name="T80" fmla="*/ 398 w 529"/>
                    <a:gd name="T81" fmla="*/ 40 h 275"/>
                    <a:gd name="T82" fmla="*/ 438 w 529"/>
                    <a:gd name="T83" fmla="*/ 81 h 275"/>
                    <a:gd name="T84" fmla="*/ 472 w 529"/>
                    <a:gd name="T85" fmla="*/ 87 h 275"/>
                    <a:gd name="T86" fmla="*/ 512 w 529"/>
                    <a:gd name="T87" fmla="*/ 121 h 275"/>
                    <a:gd name="T88" fmla="*/ 528 w 529"/>
                    <a:gd name="T89" fmla="*/ 12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11" name="Freeform 72">
                  <a:extLst>
                    <a:ext uri="{FF2B5EF4-FFF2-40B4-BE49-F238E27FC236}">
                      <a16:creationId xmlns:a16="http://schemas.microsoft.com/office/drawing/2014/main" id="{531B3CDB-B928-F33D-E72F-88E2BF2E4DDA}"/>
                    </a:ext>
                  </a:extLst>
                </p:cNvPr>
                <p:cNvSpPr>
                  <a:spLocks/>
                </p:cNvSpPr>
                <p:nvPr/>
              </p:nvSpPr>
              <p:spPr bwMode="gray">
                <a:xfrm>
                  <a:off x="6568186" y="4480841"/>
                  <a:ext cx="63072" cy="26602"/>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1" h="17">
                      <a:moveTo>
                        <a:pt x="33" y="0"/>
                      </a:moveTo>
                      <a:lnTo>
                        <a:pt x="8" y="0"/>
                      </a:lnTo>
                      <a:lnTo>
                        <a:pt x="0" y="9"/>
                      </a:lnTo>
                      <a:lnTo>
                        <a:pt x="0" y="16"/>
                      </a:lnTo>
                      <a:lnTo>
                        <a:pt x="33" y="16"/>
                      </a:lnTo>
                      <a:lnTo>
                        <a:pt x="40" y="16"/>
                      </a:lnTo>
                      <a:lnTo>
                        <a:pt x="33"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12" name="Freeform 73">
                  <a:extLst>
                    <a:ext uri="{FF2B5EF4-FFF2-40B4-BE49-F238E27FC236}">
                      <a16:creationId xmlns:a16="http://schemas.microsoft.com/office/drawing/2014/main" id="{79FEFB6A-906D-2034-77A7-D0A2DF7FB667}"/>
                    </a:ext>
                  </a:extLst>
                </p:cNvPr>
                <p:cNvSpPr>
                  <a:spLocks/>
                </p:cNvSpPr>
                <p:nvPr/>
              </p:nvSpPr>
              <p:spPr bwMode="gray">
                <a:xfrm>
                  <a:off x="6568186" y="4480841"/>
                  <a:ext cx="63072" cy="26602"/>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1" h="17">
                      <a:moveTo>
                        <a:pt x="33" y="0"/>
                      </a:moveTo>
                      <a:lnTo>
                        <a:pt x="8" y="0"/>
                      </a:lnTo>
                      <a:lnTo>
                        <a:pt x="0" y="9"/>
                      </a:lnTo>
                      <a:lnTo>
                        <a:pt x="0" y="16"/>
                      </a:lnTo>
                      <a:lnTo>
                        <a:pt x="33" y="16"/>
                      </a:lnTo>
                      <a:lnTo>
                        <a:pt x="40" y="16"/>
                      </a:lnTo>
                      <a:lnTo>
                        <a:pt x="33"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13" name="Freeform 74">
                  <a:extLst>
                    <a:ext uri="{FF2B5EF4-FFF2-40B4-BE49-F238E27FC236}">
                      <a16:creationId xmlns:a16="http://schemas.microsoft.com/office/drawing/2014/main" id="{FE7005A2-1096-9317-C2BE-6DA7DF31C01F}"/>
                    </a:ext>
                  </a:extLst>
                </p:cNvPr>
                <p:cNvSpPr>
                  <a:spLocks/>
                </p:cNvSpPr>
                <p:nvPr/>
              </p:nvSpPr>
              <p:spPr bwMode="gray">
                <a:xfrm>
                  <a:off x="6156290" y="4298428"/>
                  <a:ext cx="575366" cy="590310"/>
                </a:xfrm>
                <a:custGeom>
                  <a:avLst/>
                  <a:gdLst>
                    <a:gd name="T0" fmla="*/ 358 w 374"/>
                    <a:gd name="T1" fmla="*/ 105 h 390"/>
                    <a:gd name="T2" fmla="*/ 373 w 374"/>
                    <a:gd name="T3" fmla="*/ 137 h 390"/>
                    <a:gd name="T4" fmla="*/ 349 w 374"/>
                    <a:gd name="T5" fmla="*/ 146 h 390"/>
                    <a:gd name="T6" fmla="*/ 326 w 374"/>
                    <a:gd name="T7" fmla="*/ 187 h 390"/>
                    <a:gd name="T8" fmla="*/ 318 w 374"/>
                    <a:gd name="T9" fmla="*/ 211 h 390"/>
                    <a:gd name="T10" fmla="*/ 308 w 374"/>
                    <a:gd name="T11" fmla="*/ 178 h 390"/>
                    <a:gd name="T12" fmla="*/ 293 w 374"/>
                    <a:gd name="T13" fmla="*/ 187 h 390"/>
                    <a:gd name="T14" fmla="*/ 308 w 374"/>
                    <a:gd name="T15" fmla="*/ 162 h 390"/>
                    <a:gd name="T16" fmla="*/ 276 w 374"/>
                    <a:gd name="T17" fmla="*/ 146 h 390"/>
                    <a:gd name="T18" fmla="*/ 261 w 374"/>
                    <a:gd name="T19" fmla="*/ 146 h 390"/>
                    <a:gd name="T20" fmla="*/ 252 w 374"/>
                    <a:gd name="T21" fmla="*/ 170 h 390"/>
                    <a:gd name="T22" fmla="*/ 268 w 374"/>
                    <a:gd name="T23" fmla="*/ 211 h 390"/>
                    <a:gd name="T24" fmla="*/ 261 w 374"/>
                    <a:gd name="T25" fmla="*/ 202 h 390"/>
                    <a:gd name="T26" fmla="*/ 236 w 374"/>
                    <a:gd name="T27" fmla="*/ 236 h 390"/>
                    <a:gd name="T28" fmla="*/ 180 w 374"/>
                    <a:gd name="T29" fmla="*/ 276 h 390"/>
                    <a:gd name="T30" fmla="*/ 171 w 374"/>
                    <a:gd name="T31" fmla="*/ 283 h 390"/>
                    <a:gd name="T32" fmla="*/ 156 w 374"/>
                    <a:gd name="T33" fmla="*/ 292 h 390"/>
                    <a:gd name="T34" fmla="*/ 156 w 374"/>
                    <a:gd name="T35" fmla="*/ 324 h 390"/>
                    <a:gd name="T36" fmla="*/ 147 w 374"/>
                    <a:gd name="T37" fmla="*/ 364 h 390"/>
                    <a:gd name="T38" fmla="*/ 131 w 374"/>
                    <a:gd name="T39" fmla="*/ 380 h 390"/>
                    <a:gd name="T40" fmla="*/ 106 w 374"/>
                    <a:gd name="T41" fmla="*/ 380 h 390"/>
                    <a:gd name="T42" fmla="*/ 65 w 374"/>
                    <a:gd name="T43" fmla="*/ 283 h 390"/>
                    <a:gd name="T44" fmla="*/ 59 w 374"/>
                    <a:gd name="T45" fmla="*/ 202 h 390"/>
                    <a:gd name="T46" fmla="*/ 34 w 374"/>
                    <a:gd name="T47" fmla="*/ 227 h 390"/>
                    <a:gd name="T48" fmla="*/ 25 w 374"/>
                    <a:gd name="T49" fmla="*/ 202 h 390"/>
                    <a:gd name="T50" fmla="*/ 19 w 374"/>
                    <a:gd name="T51" fmla="*/ 195 h 390"/>
                    <a:gd name="T52" fmla="*/ 9 w 374"/>
                    <a:gd name="T53" fmla="*/ 178 h 390"/>
                    <a:gd name="T54" fmla="*/ 34 w 374"/>
                    <a:gd name="T55" fmla="*/ 170 h 390"/>
                    <a:gd name="T56" fmla="*/ 25 w 374"/>
                    <a:gd name="T57" fmla="*/ 153 h 390"/>
                    <a:gd name="T58" fmla="*/ 19 w 374"/>
                    <a:gd name="T59" fmla="*/ 146 h 390"/>
                    <a:gd name="T60" fmla="*/ 25 w 374"/>
                    <a:gd name="T61" fmla="*/ 121 h 390"/>
                    <a:gd name="T62" fmla="*/ 50 w 374"/>
                    <a:gd name="T63" fmla="*/ 121 h 390"/>
                    <a:gd name="T64" fmla="*/ 82 w 374"/>
                    <a:gd name="T65" fmla="*/ 65 h 390"/>
                    <a:gd name="T66" fmla="*/ 90 w 374"/>
                    <a:gd name="T67" fmla="*/ 56 h 390"/>
                    <a:gd name="T68" fmla="*/ 82 w 374"/>
                    <a:gd name="T69" fmla="*/ 33 h 390"/>
                    <a:gd name="T70" fmla="*/ 82 w 374"/>
                    <a:gd name="T71" fmla="*/ 16 h 390"/>
                    <a:gd name="T72" fmla="*/ 114 w 374"/>
                    <a:gd name="T73" fmla="*/ 16 h 390"/>
                    <a:gd name="T74" fmla="*/ 147 w 374"/>
                    <a:gd name="T75" fmla="*/ 0 h 390"/>
                    <a:gd name="T76" fmla="*/ 156 w 374"/>
                    <a:gd name="T77" fmla="*/ 25 h 390"/>
                    <a:gd name="T78" fmla="*/ 147 w 374"/>
                    <a:gd name="T79" fmla="*/ 56 h 390"/>
                    <a:gd name="T80" fmla="*/ 139 w 374"/>
                    <a:gd name="T81" fmla="*/ 81 h 390"/>
                    <a:gd name="T82" fmla="*/ 156 w 374"/>
                    <a:gd name="T83" fmla="*/ 113 h 390"/>
                    <a:gd name="T84" fmla="*/ 243 w 374"/>
                    <a:gd name="T85" fmla="*/ 146 h 390"/>
                    <a:gd name="T86" fmla="*/ 252 w 374"/>
                    <a:gd name="T87" fmla="*/ 137 h 390"/>
                    <a:gd name="T88" fmla="*/ 261 w 374"/>
                    <a:gd name="T89" fmla="*/ 121 h 390"/>
                    <a:gd name="T90" fmla="*/ 268 w 374"/>
                    <a:gd name="T91" fmla="*/ 137 h 390"/>
                    <a:gd name="T92" fmla="*/ 308 w 374"/>
                    <a:gd name="T93" fmla="*/ 137 h 390"/>
                    <a:gd name="T94" fmla="*/ 342 w 374"/>
                    <a:gd name="T95" fmla="*/ 10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14" name="Freeform 75">
                  <a:extLst>
                    <a:ext uri="{FF2B5EF4-FFF2-40B4-BE49-F238E27FC236}">
                      <a16:creationId xmlns:a16="http://schemas.microsoft.com/office/drawing/2014/main" id="{A81FE2E7-E2B2-530B-DC9C-5D8F6F10BE64}"/>
                    </a:ext>
                  </a:extLst>
                </p:cNvPr>
                <p:cNvSpPr>
                  <a:spLocks/>
                </p:cNvSpPr>
                <p:nvPr/>
              </p:nvSpPr>
              <p:spPr bwMode="gray">
                <a:xfrm>
                  <a:off x="6543730" y="3868997"/>
                  <a:ext cx="628140" cy="295155"/>
                </a:xfrm>
                <a:custGeom>
                  <a:avLst/>
                  <a:gdLst>
                    <a:gd name="T0" fmla="*/ 268 w 408"/>
                    <a:gd name="T1" fmla="*/ 49 h 195"/>
                    <a:gd name="T2" fmla="*/ 220 w 408"/>
                    <a:gd name="T3" fmla="*/ 24 h 195"/>
                    <a:gd name="T4" fmla="*/ 205 w 408"/>
                    <a:gd name="T5" fmla="*/ 32 h 195"/>
                    <a:gd name="T6" fmla="*/ 195 w 408"/>
                    <a:gd name="T7" fmla="*/ 32 h 195"/>
                    <a:gd name="T8" fmla="*/ 180 w 408"/>
                    <a:gd name="T9" fmla="*/ 9 h 195"/>
                    <a:gd name="T10" fmla="*/ 146 w 408"/>
                    <a:gd name="T11" fmla="*/ 0 h 195"/>
                    <a:gd name="T12" fmla="*/ 130 w 408"/>
                    <a:gd name="T13" fmla="*/ 9 h 195"/>
                    <a:gd name="T14" fmla="*/ 130 w 408"/>
                    <a:gd name="T15" fmla="*/ 24 h 195"/>
                    <a:gd name="T16" fmla="*/ 130 w 408"/>
                    <a:gd name="T17" fmla="*/ 40 h 195"/>
                    <a:gd name="T18" fmla="*/ 97 w 408"/>
                    <a:gd name="T19" fmla="*/ 40 h 195"/>
                    <a:gd name="T20" fmla="*/ 81 w 408"/>
                    <a:gd name="T21" fmla="*/ 32 h 195"/>
                    <a:gd name="T22" fmla="*/ 49 w 408"/>
                    <a:gd name="T23" fmla="*/ 24 h 195"/>
                    <a:gd name="T24" fmla="*/ 9 w 408"/>
                    <a:gd name="T25" fmla="*/ 49 h 195"/>
                    <a:gd name="T26" fmla="*/ 0 w 408"/>
                    <a:gd name="T27" fmla="*/ 57 h 195"/>
                    <a:gd name="T28" fmla="*/ 16 w 408"/>
                    <a:gd name="T29" fmla="*/ 81 h 195"/>
                    <a:gd name="T30" fmla="*/ 34 w 408"/>
                    <a:gd name="T31" fmla="*/ 81 h 195"/>
                    <a:gd name="T32" fmla="*/ 41 w 408"/>
                    <a:gd name="T33" fmla="*/ 97 h 195"/>
                    <a:gd name="T34" fmla="*/ 41 w 408"/>
                    <a:gd name="T35" fmla="*/ 130 h 195"/>
                    <a:gd name="T36" fmla="*/ 90 w 408"/>
                    <a:gd name="T37" fmla="*/ 146 h 195"/>
                    <a:gd name="T38" fmla="*/ 115 w 408"/>
                    <a:gd name="T39" fmla="*/ 171 h 195"/>
                    <a:gd name="T40" fmla="*/ 162 w 408"/>
                    <a:gd name="T41" fmla="*/ 171 h 195"/>
                    <a:gd name="T42" fmla="*/ 186 w 408"/>
                    <a:gd name="T43" fmla="*/ 186 h 195"/>
                    <a:gd name="T44" fmla="*/ 220 w 408"/>
                    <a:gd name="T45" fmla="*/ 194 h 195"/>
                    <a:gd name="T46" fmla="*/ 252 w 408"/>
                    <a:gd name="T47" fmla="*/ 177 h 195"/>
                    <a:gd name="T48" fmla="*/ 285 w 408"/>
                    <a:gd name="T49" fmla="*/ 177 h 195"/>
                    <a:gd name="T50" fmla="*/ 308 w 408"/>
                    <a:gd name="T51" fmla="*/ 152 h 195"/>
                    <a:gd name="T52" fmla="*/ 302 w 408"/>
                    <a:gd name="T53" fmla="*/ 146 h 195"/>
                    <a:gd name="T54" fmla="*/ 317 w 408"/>
                    <a:gd name="T55" fmla="*/ 130 h 195"/>
                    <a:gd name="T56" fmla="*/ 333 w 408"/>
                    <a:gd name="T57" fmla="*/ 137 h 195"/>
                    <a:gd name="T58" fmla="*/ 357 w 408"/>
                    <a:gd name="T59" fmla="*/ 121 h 195"/>
                    <a:gd name="T60" fmla="*/ 373 w 408"/>
                    <a:gd name="T61" fmla="*/ 105 h 195"/>
                    <a:gd name="T62" fmla="*/ 407 w 408"/>
                    <a:gd name="T63" fmla="*/ 105 h 195"/>
                    <a:gd name="T64" fmla="*/ 397 w 408"/>
                    <a:gd name="T65" fmla="*/ 89 h 195"/>
                    <a:gd name="T66" fmla="*/ 389 w 408"/>
                    <a:gd name="T67" fmla="*/ 81 h 195"/>
                    <a:gd name="T68" fmla="*/ 373 w 408"/>
                    <a:gd name="T69" fmla="*/ 89 h 195"/>
                    <a:gd name="T70" fmla="*/ 357 w 408"/>
                    <a:gd name="T71" fmla="*/ 89 h 195"/>
                    <a:gd name="T72" fmla="*/ 357 w 408"/>
                    <a:gd name="T73" fmla="*/ 57 h 195"/>
                    <a:gd name="T74" fmla="*/ 366 w 408"/>
                    <a:gd name="T75" fmla="*/ 40 h 195"/>
                    <a:gd name="T76" fmla="*/ 342 w 408"/>
                    <a:gd name="T77" fmla="*/ 32 h 195"/>
                    <a:gd name="T78" fmla="*/ 325 w 408"/>
                    <a:gd name="T79" fmla="*/ 49 h 195"/>
                    <a:gd name="T80" fmla="*/ 292 w 408"/>
                    <a:gd name="T81" fmla="*/ 57 h 195"/>
                    <a:gd name="T82" fmla="*/ 268 w 408"/>
                    <a:gd name="T83" fmla="*/ 4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15" name="Freeform 111">
                  <a:extLst>
                    <a:ext uri="{FF2B5EF4-FFF2-40B4-BE49-F238E27FC236}">
                      <a16:creationId xmlns:a16="http://schemas.microsoft.com/office/drawing/2014/main" id="{51100321-27E3-DD64-EC13-3F93F52C2844}"/>
                    </a:ext>
                  </a:extLst>
                </p:cNvPr>
                <p:cNvSpPr>
                  <a:spLocks/>
                </p:cNvSpPr>
                <p:nvPr/>
              </p:nvSpPr>
              <p:spPr bwMode="gray">
                <a:xfrm>
                  <a:off x="5695483" y="4199621"/>
                  <a:ext cx="27031" cy="25335"/>
                </a:xfrm>
                <a:custGeom>
                  <a:avLst/>
                  <a:gdLst>
                    <a:gd name="T0" fmla="*/ 16 w 17"/>
                    <a:gd name="T1" fmla="*/ 16 h 17"/>
                    <a:gd name="T2" fmla="*/ 7 w 17"/>
                    <a:gd name="T3" fmla="*/ 16 h 17"/>
                    <a:gd name="T4" fmla="*/ 0 w 17"/>
                    <a:gd name="T5" fmla="*/ 0 h 17"/>
                    <a:gd name="T6" fmla="*/ 16 w 17"/>
                    <a:gd name="T7" fmla="*/ 9 h 17"/>
                    <a:gd name="T8" fmla="*/ 16 w 17"/>
                    <a:gd name="T9" fmla="*/ 16 h 17"/>
                  </a:gdLst>
                  <a:ahLst/>
                  <a:cxnLst>
                    <a:cxn ang="0">
                      <a:pos x="T0" y="T1"/>
                    </a:cxn>
                    <a:cxn ang="0">
                      <a:pos x="T2" y="T3"/>
                    </a:cxn>
                    <a:cxn ang="0">
                      <a:pos x="T4" y="T5"/>
                    </a:cxn>
                    <a:cxn ang="0">
                      <a:pos x="T6" y="T7"/>
                    </a:cxn>
                    <a:cxn ang="0">
                      <a:pos x="T8" y="T9"/>
                    </a:cxn>
                  </a:cxnLst>
                  <a:rect l="0" t="0" r="r" b="b"/>
                  <a:pathLst>
                    <a:path w="17" h="17">
                      <a:moveTo>
                        <a:pt x="16" y="16"/>
                      </a:moveTo>
                      <a:lnTo>
                        <a:pt x="7" y="16"/>
                      </a:lnTo>
                      <a:lnTo>
                        <a:pt x="0" y="0"/>
                      </a:lnTo>
                      <a:lnTo>
                        <a:pt x="16" y="9"/>
                      </a:lnTo>
                      <a:lnTo>
                        <a:pt x="16" y="16"/>
                      </a:lnTo>
                    </a:path>
                  </a:pathLst>
                </a:custGeom>
                <a:grpFill/>
                <a:ln w="6350" cap="rnd" cmpd="sng">
                  <a:solidFill>
                    <a:srgbClr val="D0D0D0"/>
                  </a:solidFill>
                  <a:prstDash val="solid"/>
                  <a:round/>
                  <a:headEnd/>
                  <a:tailEnd/>
                </a:ln>
                <a:effectLst/>
              </p:spPr>
              <p:txBody>
                <a:bodyPr/>
                <a:lstStyle/>
                <a:p>
                  <a:endParaRPr lang="de-DE" dirty="0"/>
                </a:p>
              </p:txBody>
            </p:sp>
            <p:sp>
              <p:nvSpPr>
                <p:cNvPr id="516" name="Freeform 150">
                  <a:extLst>
                    <a:ext uri="{FF2B5EF4-FFF2-40B4-BE49-F238E27FC236}">
                      <a16:creationId xmlns:a16="http://schemas.microsoft.com/office/drawing/2014/main" id="{2213F338-6189-B8CF-FC02-4CCAF4FF8350}"/>
                    </a:ext>
                  </a:extLst>
                </p:cNvPr>
                <p:cNvSpPr>
                  <a:spLocks/>
                </p:cNvSpPr>
                <p:nvPr/>
              </p:nvSpPr>
              <p:spPr bwMode="gray">
                <a:xfrm>
                  <a:off x="5858954" y="4555580"/>
                  <a:ext cx="136441" cy="162145"/>
                </a:xfrm>
                <a:custGeom>
                  <a:avLst/>
                  <a:gdLst>
                    <a:gd name="T0" fmla="*/ 0 w 89"/>
                    <a:gd name="T1" fmla="*/ 106 h 107"/>
                    <a:gd name="T2" fmla="*/ 23 w 89"/>
                    <a:gd name="T3" fmla="*/ 106 h 107"/>
                    <a:gd name="T4" fmla="*/ 31 w 89"/>
                    <a:gd name="T5" fmla="*/ 97 h 107"/>
                    <a:gd name="T6" fmla="*/ 40 w 89"/>
                    <a:gd name="T7" fmla="*/ 89 h 107"/>
                    <a:gd name="T8" fmla="*/ 56 w 89"/>
                    <a:gd name="T9" fmla="*/ 82 h 107"/>
                    <a:gd name="T10" fmla="*/ 65 w 89"/>
                    <a:gd name="T11" fmla="*/ 72 h 107"/>
                    <a:gd name="T12" fmla="*/ 65 w 89"/>
                    <a:gd name="T13" fmla="*/ 66 h 107"/>
                    <a:gd name="T14" fmla="*/ 81 w 89"/>
                    <a:gd name="T15" fmla="*/ 41 h 107"/>
                    <a:gd name="T16" fmla="*/ 88 w 89"/>
                    <a:gd name="T17" fmla="*/ 32 h 107"/>
                    <a:gd name="T18" fmla="*/ 72 w 89"/>
                    <a:gd name="T19" fmla="*/ 17 h 107"/>
                    <a:gd name="T20" fmla="*/ 56 w 89"/>
                    <a:gd name="T21" fmla="*/ 8 h 107"/>
                    <a:gd name="T22" fmla="*/ 48 w 89"/>
                    <a:gd name="T23" fmla="*/ 0 h 107"/>
                    <a:gd name="T24" fmla="*/ 31 w 89"/>
                    <a:gd name="T25" fmla="*/ 17 h 107"/>
                    <a:gd name="T26" fmla="*/ 40 w 89"/>
                    <a:gd name="T27" fmla="*/ 25 h 107"/>
                    <a:gd name="T28" fmla="*/ 48 w 89"/>
                    <a:gd name="T29" fmla="*/ 32 h 107"/>
                    <a:gd name="T30" fmla="*/ 48 w 89"/>
                    <a:gd name="T31" fmla="*/ 41 h 107"/>
                    <a:gd name="T32" fmla="*/ 48 w 89"/>
                    <a:gd name="T33" fmla="*/ 48 h 107"/>
                    <a:gd name="T34" fmla="*/ 48 w 89"/>
                    <a:gd name="T35" fmla="*/ 57 h 107"/>
                    <a:gd name="T36" fmla="*/ 40 w 89"/>
                    <a:gd name="T37" fmla="*/ 57 h 107"/>
                    <a:gd name="T38" fmla="*/ 31 w 89"/>
                    <a:gd name="T39" fmla="*/ 66 h 107"/>
                    <a:gd name="T40" fmla="*/ 23 w 89"/>
                    <a:gd name="T41" fmla="*/ 72 h 107"/>
                    <a:gd name="T42" fmla="*/ 16 w 89"/>
                    <a:gd name="T43" fmla="*/ 82 h 107"/>
                    <a:gd name="T44" fmla="*/ 7 w 89"/>
                    <a:gd name="T45" fmla="*/ 89 h 107"/>
                    <a:gd name="T46" fmla="*/ 0 w 89"/>
                    <a:gd name="T47" fmla="*/ 97 h 107"/>
                    <a:gd name="T48" fmla="*/ 0 w 89"/>
                    <a:gd name="T49" fmla="*/ 10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17" name="Freeform 152">
                  <a:extLst>
                    <a:ext uri="{FF2B5EF4-FFF2-40B4-BE49-F238E27FC236}">
                      <a16:creationId xmlns:a16="http://schemas.microsoft.com/office/drawing/2014/main" id="{6DB487DB-7E47-59D8-9126-42B701B8C103}"/>
                    </a:ext>
                  </a:extLst>
                </p:cNvPr>
                <p:cNvSpPr>
                  <a:spLocks/>
                </p:cNvSpPr>
                <p:nvPr/>
              </p:nvSpPr>
              <p:spPr bwMode="gray">
                <a:xfrm>
                  <a:off x="6395705" y="4433971"/>
                  <a:ext cx="149312" cy="86140"/>
                </a:xfrm>
                <a:custGeom>
                  <a:avLst/>
                  <a:gdLst>
                    <a:gd name="T0" fmla="*/ 6 w 97"/>
                    <a:gd name="T1" fmla="*/ 0 h 57"/>
                    <a:gd name="T2" fmla="*/ 0 w 97"/>
                    <a:gd name="T3" fmla="*/ 23 h 57"/>
                    <a:gd name="T4" fmla="*/ 15 w 97"/>
                    <a:gd name="T5" fmla="*/ 31 h 57"/>
                    <a:gd name="T6" fmla="*/ 87 w 97"/>
                    <a:gd name="T7" fmla="*/ 56 h 57"/>
                    <a:gd name="T8" fmla="*/ 96 w 97"/>
                    <a:gd name="T9" fmla="*/ 56 h 57"/>
                    <a:gd name="T10" fmla="*/ 96 w 97"/>
                    <a:gd name="T11" fmla="*/ 47 h 57"/>
                    <a:gd name="T12" fmla="*/ 96 w 97"/>
                    <a:gd name="T13" fmla="*/ 31 h 57"/>
                    <a:gd name="T14" fmla="*/ 72 w 97"/>
                    <a:gd name="T15" fmla="*/ 31 h 57"/>
                    <a:gd name="T16" fmla="*/ 55 w 97"/>
                    <a:gd name="T17" fmla="*/ 23 h 57"/>
                    <a:gd name="T18" fmla="*/ 47 w 97"/>
                    <a:gd name="T19" fmla="*/ 15 h 57"/>
                    <a:gd name="T20" fmla="*/ 40 w 97"/>
                    <a:gd name="T21" fmla="*/ 15 h 57"/>
                    <a:gd name="T22" fmla="*/ 24 w 97"/>
                    <a:gd name="T23" fmla="*/ 0 h 57"/>
                    <a:gd name="T24" fmla="*/ 6 w 97"/>
                    <a:gd name="T2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18" name="Freeform 153">
                  <a:extLst>
                    <a:ext uri="{FF2B5EF4-FFF2-40B4-BE49-F238E27FC236}">
                      <a16:creationId xmlns:a16="http://schemas.microsoft.com/office/drawing/2014/main" id="{B90A9721-ECBD-D390-49AD-0E222B9C3B47}"/>
                    </a:ext>
                  </a:extLst>
                </p:cNvPr>
                <p:cNvSpPr>
                  <a:spLocks/>
                </p:cNvSpPr>
                <p:nvPr/>
              </p:nvSpPr>
              <p:spPr bwMode="gray">
                <a:xfrm>
                  <a:off x="6543730" y="4518844"/>
                  <a:ext cx="102974" cy="110208"/>
                </a:xfrm>
                <a:custGeom>
                  <a:avLst/>
                  <a:gdLst>
                    <a:gd name="T0" fmla="*/ 66 w 67"/>
                    <a:gd name="T1" fmla="*/ 65 h 73"/>
                    <a:gd name="T2" fmla="*/ 56 w 67"/>
                    <a:gd name="T3" fmla="*/ 41 h 73"/>
                    <a:gd name="T4" fmla="*/ 56 w 67"/>
                    <a:gd name="T5" fmla="*/ 32 h 73"/>
                    <a:gd name="T6" fmla="*/ 49 w 67"/>
                    <a:gd name="T7" fmla="*/ 41 h 73"/>
                    <a:gd name="T8" fmla="*/ 41 w 67"/>
                    <a:gd name="T9" fmla="*/ 41 h 73"/>
                    <a:gd name="T10" fmla="*/ 41 w 67"/>
                    <a:gd name="T11" fmla="*/ 32 h 73"/>
                    <a:gd name="T12" fmla="*/ 56 w 67"/>
                    <a:gd name="T13" fmla="*/ 16 h 73"/>
                    <a:gd name="T14" fmla="*/ 24 w 67"/>
                    <a:gd name="T15" fmla="*/ 16 h 73"/>
                    <a:gd name="T16" fmla="*/ 24 w 67"/>
                    <a:gd name="T17" fmla="*/ 0 h 73"/>
                    <a:gd name="T18" fmla="*/ 16 w 67"/>
                    <a:gd name="T19" fmla="*/ 0 h 73"/>
                    <a:gd name="T20" fmla="*/ 9 w 67"/>
                    <a:gd name="T21" fmla="*/ 0 h 73"/>
                    <a:gd name="T22" fmla="*/ 9 w 67"/>
                    <a:gd name="T23" fmla="*/ 7 h 73"/>
                    <a:gd name="T24" fmla="*/ 0 w 67"/>
                    <a:gd name="T25" fmla="*/ 24 h 73"/>
                    <a:gd name="T26" fmla="*/ 9 w 67"/>
                    <a:gd name="T27" fmla="*/ 24 h 73"/>
                    <a:gd name="T28" fmla="*/ 16 w 67"/>
                    <a:gd name="T29" fmla="*/ 65 h 73"/>
                    <a:gd name="T30" fmla="*/ 34 w 67"/>
                    <a:gd name="T31" fmla="*/ 65 h 73"/>
                    <a:gd name="T32" fmla="*/ 49 w 67"/>
                    <a:gd name="T33" fmla="*/ 49 h 73"/>
                    <a:gd name="T34" fmla="*/ 56 w 67"/>
                    <a:gd name="T35" fmla="*/ 72 h 73"/>
                    <a:gd name="T36" fmla="*/ 66 w 67"/>
                    <a:gd name="T37"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19" name="Freeform 154">
                  <a:extLst>
                    <a:ext uri="{FF2B5EF4-FFF2-40B4-BE49-F238E27FC236}">
                      <a16:creationId xmlns:a16="http://schemas.microsoft.com/office/drawing/2014/main" id="{FCD6D1D5-EDF8-11A6-D344-AAAE160CCB0D}"/>
                    </a:ext>
                  </a:extLst>
                </p:cNvPr>
                <p:cNvSpPr>
                  <a:spLocks/>
                </p:cNvSpPr>
                <p:nvPr/>
              </p:nvSpPr>
              <p:spPr bwMode="gray">
                <a:xfrm>
                  <a:off x="6629971" y="4480841"/>
                  <a:ext cx="177630" cy="383828"/>
                </a:xfrm>
                <a:custGeom>
                  <a:avLst/>
                  <a:gdLst>
                    <a:gd name="T0" fmla="*/ 83 w 116"/>
                    <a:gd name="T1" fmla="*/ 252 h 253"/>
                    <a:gd name="T2" fmla="*/ 99 w 116"/>
                    <a:gd name="T3" fmla="*/ 218 h 253"/>
                    <a:gd name="T4" fmla="*/ 90 w 116"/>
                    <a:gd name="T5" fmla="*/ 196 h 253"/>
                    <a:gd name="T6" fmla="*/ 83 w 116"/>
                    <a:gd name="T7" fmla="*/ 178 h 253"/>
                    <a:gd name="T8" fmla="*/ 83 w 116"/>
                    <a:gd name="T9" fmla="*/ 162 h 253"/>
                    <a:gd name="T10" fmla="*/ 74 w 116"/>
                    <a:gd name="T11" fmla="*/ 138 h 253"/>
                    <a:gd name="T12" fmla="*/ 74 w 116"/>
                    <a:gd name="T13" fmla="*/ 121 h 253"/>
                    <a:gd name="T14" fmla="*/ 106 w 116"/>
                    <a:gd name="T15" fmla="*/ 106 h 253"/>
                    <a:gd name="T16" fmla="*/ 115 w 116"/>
                    <a:gd name="T17" fmla="*/ 90 h 253"/>
                    <a:gd name="T18" fmla="*/ 106 w 116"/>
                    <a:gd name="T19" fmla="*/ 90 h 253"/>
                    <a:gd name="T20" fmla="*/ 90 w 116"/>
                    <a:gd name="T21" fmla="*/ 81 h 253"/>
                    <a:gd name="T22" fmla="*/ 90 w 116"/>
                    <a:gd name="T23" fmla="*/ 74 h 253"/>
                    <a:gd name="T24" fmla="*/ 90 w 116"/>
                    <a:gd name="T25" fmla="*/ 66 h 253"/>
                    <a:gd name="T26" fmla="*/ 83 w 116"/>
                    <a:gd name="T27" fmla="*/ 57 h 253"/>
                    <a:gd name="T28" fmla="*/ 74 w 116"/>
                    <a:gd name="T29" fmla="*/ 57 h 253"/>
                    <a:gd name="T30" fmla="*/ 83 w 116"/>
                    <a:gd name="T31" fmla="*/ 16 h 253"/>
                    <a:gd name="T32" fmla="*/ 74 w 116"/>
                    <a:gd name="T33" fmla="*/ 0 h 253"/>
                    <a:gd name="T34" fmla="*/ 65 w 116"/>
                    <a:gd name="T35" fmla="*/ 0 h 253"/>
                    <a:gd name="T36" fmla="*/ 65 w 116"/>
                    <a:gd name="T37" fmla="*/ 16 h 253"/>
                    <a:gd name="T38" fmla="*/ 50 w 116"/>
                    <a:gd name="T39" fmla="*/ 16 h 253"/>
                    <a:gd name="T40" fmla="*/ 41 w 116"/>
                    <a:gd name="T41" fmla="*/ 25 h 253"/>
                    <a:gd name="T42" fmla="*/ 25 w 116"/>
                    <a:gd name="T43" fmla="*/ 57 h 253"/>
                    <a:gd name="T44" fmla="*/ 18 w 116"/>
                    <a:gd name="T45" fmla="*/ 66 h 253"/>
                    <a:gd name="T46" fmla="*/ 10 w 116"/>
                    <a:gd name="T47" fmla="*/ 81 h 253"/>
                    <a:gd name="T48" fmla="*/ 10 w 116"/>
                    <a:gd name="T49" fmla="*/ 90 h 253"/>
                    <a:gd name="T50" fmla="*/ 0 w 116"/>
                    <a:gd name="T51" fmla="*/ 97 h 253"/>
                    <a:gd name="T52" fmla="*/ 18 w 116"/>
                    <a:gd name="T53" fmla="*/ 115 h 253"/>
                    <a:gd name="T54" fmla="*/ 25 w 116"/>
                    <a:gd name="T55" fmla="*/ 131 h 253"/>
                    <a:gd name="T56" fmla="*/ 34 w 116"/>
                    <a:gd name="T57" fmla="*/ 155 h 253"/>
                    <a:gd name="T58" fmla="*/ 25 w 116"/>
                    <a:gd name="T59" fmla="*/ 162 h 253"/>
                    <a:gd name="T60" fmla="*/ 41 w 116"/>
                    <a:gd name="T61" fmla="*/ 171 h 253"/>
                    <a:gd name="T62" fmla="*/ 59 w 116"/>
                    <a:gd name="T63" fmla="*/ 155 h 253"/>
                    <a:gd name="T64" fmla="*/ 65 w 116"/>
                    <a:gd name="T65" fmla="*/ 162 h 253"/>
                    <a:gd name="T66" fmla="*/ 83 w 116"/>
                    <a:gd name="T67" fmla="*/ 211 h 253"/>
                    <a:gd name="T68" fmla="*/ 83 w 116"/>
                    <a:gd name="T69" fmla="*/ 25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0" name="Freeform 155">
                  <a:extLst>
                    <a:ext uri="{FF2B5EF4-FFF2-40B4-BE49-F238E27FC236}">
                      <a16:creationId xmlns:a16="http://schemas.microsoft.com/office/drawing/2014/main" id="{542D450C-1BC2-A418-7320-099672DAC11F}"/>
                    </a:ext>
                  </a:extLst>
                </p:cNvPr>
                <p:cNvSpPr>
                  <a:spLocks/>
                </p:cNvSpPr>
                <p:nvPr/>
              </p:nvSpPr>
              <p:spPr bwMode="gray">
                <a:xfrm>
                  <a:off x="6743241" y="4641720"/>
                  <a:ext cx="150599" cy="296422"/>
                </a:xfrm>
                <a:custGeom>
                  <a:avLst/>
                  <a:gdLst>
                    <a:gd name="T0" fmla="*/ 32 w 98"/>
                    <a:gd name="T1" fmla="*/ 0 h 196"/>
                    <a:gd name="T2" fmla="*/ 0 w 98"/>
                    <a:gd name="T3" fmla="*/ 15 h 196"/>
                    <a:gd name="T4" fmla="*/ 0 w 98"/>
                    <a:gd name="T5" fmla="*/ 32 h 196"/>
                    <a:gd name="T6" fmla="*/ 9 w 98"/>
                    <a:gd name="T7" fmla="*/ 56 h 196"/>
                    <a:gd name="T8" fmla="*/ 9 w 98"/>
                    <a:gd name="T9" fmla="*/ 72 h 196"/>
                    <a:gd name="T10" fmla="*/ 16 w 98"/>
                    <a:gd name="T11" fmla="*/ 90 h 196"/>
                    <a:gd name="T12" fmla="*/ 25 w 98"/>
                    <a:gd name="T13" fmla="*/ 112 h 196"/>
                    <a:gd name="T14" fmla="*/ 9 w 98"/>
                    <a:gd name="T15" fmla="*/ 146 h 196"/>
                    <a:gd name="T16" fmla="*/ 9 w 98"/>
                    <a:gd name="T17" fmla="*/ 153 h 196"/>
                    <a:gd name="T18" fmla="*/ 9 w 98"/>
                    <a:gd name="T19" fmla="*/ 162 h 196"/>
                    <a:gd name="T20" fmla="*/ 32 w 98"/>
                    <a:gd name="T21" fmla="*/ 186 h 196"/>
                    <a:gd name="T22" fmla="*/ 32 w 98"/>
                    <a:gd name="T23" fmla="*/ 177 h 196"/>
                    <a:gd name="T24" fmla="*/ 41 w 98"/>
                    <a:gd name="T25" fmla="*/ 186 h 196"/>
                    <a:gd name="T26" fmla="*/ 50 w 98"/>
                    <a:gd name="T27" fmla="*/ 195 h 196"/>
                    <a:gd name="T28" fmla="*/ 56 w 98"/>
                    <a:gd name="T29" fmla="*/ 186 h 196"/>
                    <a:gd name="T30" fmla="*/ 50 w 98"/>
                    <a:gd name="T31" fmla="*/ 177 h 196"/>
                    <a:gd name="T32" fmla="*/ 32 w 98"/>
                    <a:gd name="T33" fmla="*/ 177 h 196"/>
                    <a:gd name="T34" fmla="*/ 25 w 98"/>
                    <a:gd name="T35" fmla="*/ 146 h 196"/>
                    <a:gd name="T36" fmla="*/ 16 w 98"/>
                    <a:gd name="T37" fmla="*/ 146 h 196"/>
                    <a:gd name="T38" fmla="*/ 16 w 98"/>
                    <a:gd name="T39" fmla="*/ 137 h 196"/>
                    <a:gd name="T40" fmla="*/ 25 w 98"/>
                    <a:gd name="T41" fmla="*/ 112 h 196"/>
                    <a:gd name="T42" fmla="*/ 25 w 98"/>
                    <a:gd name="T43" fmla="*/ 97 h 196"/>
                    <a:gd name="T44" fmla="*/ 41 w 98"/>
                    <a:gd name="T45" fmla="*/ 97 h 196"/>
                    <a:gd name="T46" fmla="*/ 41 w 98"/>
                    <a:gd name="T47" fmla="*/ 105 h 196"/>
                    <a:gd name="T48" fmla="*/ 50 w 98"/>
                    <a:gd name="T49" fmla="*/ 105 h 196"/>
                    <a:gd name="T50" fmla="*/ 65 w 98"/>
                    <a:gd name="T51" fmla="*/ 122 h 196"/>
                    <a:gd name="T52" fmla="*/ 65 w 98"/>
                    <a:gd name="T53" fmla="*/ 112 h 196"/>
                    <a:gd name="T54" fmla="*/ 56 w 98"/>
                    <a:gd name="T55" fmla="*/ 97 h 196"/>
                    <a:gd name="T56" fmla="*/ 65 w 98"/>
                    <a:gd name="T57" fmla="*/ 80 h 196"/>
                    <a:gd name="T58" fmla="*/ 97 w 98"/>
                    <a:gd name="T59" fmla="*/ 80 h 196"/>
                    <a:gd name="T60" fmla="*/ 97 w 98"/>
                    <a:gd name="T61" fmla="*/ 65 h 196"/>
                    <a:gd name="T62" fmla="*/ 90 w 98"/>
                    <a:gd name="T63" fmla="*/ 56 h 196"/>
                    <a:gd name="T64" fmla="*/ 81 w 98"/>
                    <a:gd name="T65" fmla="*/ 40 h 196"/>
                    <a:gd name="T66" fmla="*/ 75 w 98"/>
                    <a:gd name="T67" fmla="*/ 25 h 196"/>
                    <a:gd name="T68" fmla="*/ 56 w 98"/>
                    <a:gd name="T69" fmla="*/ 32 h 196"/>
                    <a:gd name="T70" fmla="*/ 41 w 98"/>
                    <a:gd name="T71" fmla="*/ 40 h 196"/>
                    <a:gd name="T72" fmla="*/ 41 w 98"/>
                    <a:gd name="T73" fmla="*/ 15 h 196"/>
                    <a:gd name="T74" fmla="*/ 32 w 98"/>
                    <a:gd name="T75" fmla="*/ 9 h 196"/>
                    <a:gd name="T76" fmla="*/ 32 w 98"/>
                    <a:gd name="T7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1" name="Freeform 156">
                  <a:extLst>
                    <a:ext uri="{FF2B5EF4-FFF2-40B4-BE49-F238E27FC236}">
                      <a16:creationId xmlns:a16="http://schemas.microsoft.com/office/drawing/2014/main" id="{F93DE231-9B37-26EC-1088-1A0B60322884}"/>
                    </a:ext>
                  </a:extLst>
                </p:cNvPr>
                <p:cNvSpPr>
                  <a:spLocks/>
                </p:cNvSpPr>
                <p:nvPr/>
              </p:nvSpPr>
              <p:spPr bwMode="gray">
                <a:xfrm>
                  <a:off x="6793441" y="4603717"/>
                  <a:ext cx="139015" cy="176080"/>
                </a:xfrm>
                <a:custGeom>
                  <a:avLst/>
                  <a:gdLst>
                    <a:gd name="T0" fmla="*/ 90 w 91"/>
                    <a:gd name="T1" fmla="*/ 105 h 116"/>
                    <a:gd name="T2" fmla="*/ 90 w 91"/>
                    <a:gd name="T3" fmla="*/ 90 h 116"/>
                    <a:gd name="T4" fmla="*/ 74 w 91"/>
                    <a:gd name="T5" fmla="*/ 74 h 116"/>
                    <a:gd name="T6" fmla="*/ 74 w 91"/>
                    <a:gd name="T7" fmla="*/ 65 h 116"/>
                    <a:gd name="T8" fmla="*/ 43 w 91"/>
                    <a:gd name="T9" fmla="*/ 40 h 116"/>
                    <a:gd name="T10" fmla="*/ 58 w 91"/>
                    <a:gd name="T11" fmla="*/ 34 h 116"/>
                    <a:gd name="T12" fmla="*/ 49 w 91"/>
                    <a:gd name="T13" fmla="*/ 25 h 116"/>
                    <a:gd name="T14" fmla="*/ 33 w 91"/>
                    <a:gd name="T15" fmla="*/ 16 h 116"/>
                    <a:gd name="T16" fmla="*/ 24 w 91"/>
                    <a:gd name="T17" fmla="*/ 0 h 116"/>
                    <a:gd name="T18" fmla="*/ 18 w 91"/>
                    <a:gd name="T19" fmla="*/ 0 h 116"/>
                    <a:gd name="T20" fmla="*/ 18 w 91"/>
                    <a:gd name="T21" fmla="*/ 16 h 116"/>
                    <a:gd name="T22" fmla="*/ 9 w 91"/>
                    <a:gd name="T23" fmla="*/ 16 h 116"/>
                    <a:gd name="T24" fmla="*/ 9 w 91"/>
                    <a:gd name="T25" fmla="*/ 9 h 116"/>
                    <a:gd name="T26" fmla="*/ 0 w 91"/>
                    <a:gd name="T27" fmla="*/ 25 h 116"/>
                    <a:gd name="T28" fmla="*/ 0 w 91"/>
                    <a:gd name="T29" fmla="*/ 34 h 116"/>
                    <a:gd name="T30" fmla="*/ 9 w 91"/>
                    <a:gd name="T31" fmla="*/ 40 h 116"/>
                    <a:gd name="T32" fmla="*/ 9 w 91"/>
                    <a:gd name="T33" fmla="*/ 65 h 116"/>
                    <a:gd name="T34" fmla="*/ 24 w 91"/>
                    <a:gd name="T35" fmla="*/ 57 h 116"/>
                    <a:gd name="T36" fmla="*/ 43 w 91"/>
                    <a:gd name="T37" fmla="*/ 50 h 116"/>
                    <a:gd name="T38" fmla="*/ 49 w 91"/>
                    <a:gd name="T39" fmla="*/ 65 h 116"/>
                    <a:gd name="T40" fmla="*/ 58 w 91"/>
                    <a:gd name="T41" fmla="*/ 81 h 116"/>
                    <a:gd name="T42" fmla="*/ 65 w 91"/>
                    <a:gd name="T43" fmla="*/ 90 h 116"/>
                    <a:gd name="T44" fmla="*/ 65 w 91"/>
                    <a:gd name="T45" fmla="*/ 105 h 116"/>
                    <a:gd name="T46" fmla="*/ 74 w 91"/>
                    <a:gd name="T47" fmla="*/ 115 h 116"/>
                    <a:gd name="T48" fmla="*/ 74 w 91"/>
                    <a:gd name="T49" fmla="*/ 105 h 116"/>
                    <a:gd name="T50" fmla="*/ 90 w 91"/>
                    <a:gd name="T51"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2" name="Freeform 157">
                  <a:extLst>
                    <a:ext uri="{FF2B5EF4-FFF2-40B4-BE49-F238E27FC236}">
                      <a16:creationId xmlns:a16="http://schemas.microsoft.com/office/drawing/2014/main" id="{FFC3D447-7627-B3E4-812B-23646613FA56}"/>
                    </a:ext>
                  </a:extLst>
                </p:cNvPr>
                <p:cNvSpPr>
                  <a:spLocks/>
                </p:cNvSpPr>
                <p:nvPr/>
              </p:nvSpPr>
              <p:spPr bwMode="gray">
                <a:xfrm>
                  <a:off x="6829482" y="4593583"/>
                  <a:ext cx="141589" cy="281220"/>
                </a:xfrm>
                <a:custGeom>
                  <a:avLst/>
                  <a:gdLst>
                    <a:gd name="T0" fmla="*/ 0 w 92"/>
                    <a:gd name="T1" fmla="*/ 7 h 186"/>
                    <a:gd name="T2" fmla="*/ 0 w 92"/>
                    <a:gd name="T3" fmla="*/ 0 h 186"/>
                    <a:gd name="T4" fmla="*/ 9 w 92"/>
                    <a:gd name="T5" fmla="*/ 7 h 186"/>
                    <a:gd name="T6" fmla="*/ 41 w 92"/>
                    <a:gd name="T7" fmla="*/ 0 h 186"/>
                    <a:gd name="T8" fmla="*/ 59 w 92"/>
                    <a:gd name="T9" fmla="*/ 0 h 186"/>
                    <a:gd name="T10" fmla="*/ 59 w 92"/>
                    <a:gd name="T11" fmla="*/ 16 h 186"/>
                    <a:gd name="T12" fmla="*/ 74 w 92"/>
                    <a:gd name="T13" fmla="*/ 16 h 186"/>
                    <a:gd name="T14" fmla="*/ 59 w 92"/>
                    <a:gd name="T15" fmla="*/ 23 h 186"/>
                    <a:gd name="T16" fmla="*/ 50 w 92"/>
                    <a:gd name="T17" fmla="*/ 41 h 186"/>
                    <a:gd name="T18" fmla="*/ 41 w 92"/>
                    <a:gd name="T19" fmla="*/ 47 h 186"/>
                    <a:gd name="T20" fmla="*/ 82 w 92"/>
                    <a:gd name="T21" fmla="*/ 104 h 186"/>
                    <a:gd name="T22" fmla="*/ 91 w 92"/>
                    <a:gd name="T23" fmla="*/ 122 h 186"/>
                    <a:gd name="T24" fmla="*/ 82 w 92"/>
                    <a:gd name="T25" fmla="*/ 154 h 186"/>
                    <a:gd name="T26" fmla="*/ 66 w 92"/>
                    <a:gd name="T27" fmla="*/ 162 h 186"/>
                    <a:gd name="T28" fmla="*/ 59 w 92"/>
                    <a:gd name="T29" fmla="*/ 162 h 186"/>
                    <a:gd name="T30" fmla="*/ 50 w 92"/>
                    <a:gd name="T31" fmla="*/ 178 h 186"/>
                    <a:gd name="T32" fmla="*/ 34 w 92"/>
                    <a:gd name="T33" fmla="*/ 185 h 186"/>
                    <a:gd name="T34" fmla="*/ 34 w 92"/>
                    <a:gd name="T35" fmla="*/ 169 h 186"/>
                    <a:gd name="T36" fmla="*/ 25 w 92"/>
                    <a:gd name="T37" fmla="*/ 162 h 186"/>
                    <a:gd name="T38" fmla="*/ 41 w 92"/>
                    <a:gd name="T39" fmla="*/ 154 h 186"/>
                    <a:gd name="T40" fmla="*/ 50 w 92"/>
                    <a:gd name="T41" fmla="*/ 144 h 186"/>
                    <a:gd name="T42" fmla="*/ 66 w 92"/>
                    <a:gd name="T43" fmla="*/ 137 h 186"/>
                    <a:gd name="T44" fmla="*/ 66 w 92"/>
                    <a:gd name="T45" fmla="*/ 112 h 186"/>
                    <a:gd name="T46" fmla="*/ 66 w 92"/>
                    <a:gd name="T47" fmla="*/ 97 h 186"/>
                    <a:gd name="T48" fmla="*/ 50 w 92"/>
                    <a:gd name="T49" fmla="*/ 81 h 186"/>
                    <a:gd name="T50" fmla="*/ 50 w 92"/>
                    <a:gd name="T51" fmla="*/ 72 h 186"/>
                    <a:gd name="T52" fmla="*/ 19 w 92"/>
                    <a:gd name="T53" fmla="*/ 47 h 186"/>
                    <a:gd name="T54" fmla="*/ 34 w 92"/>
                    <a:gd name="T55" fmla="*/ 41 h 186"/>
                    <a:gd name="T56" fmla="*/ 25 w 92"/>
                    <a:gd name="T57" fmla="*/ 32 h 186"/>
                    <a:gd name="T58" fmla="*/ 9 w 92"/>
                    <a:gd name="T59" fmla="*/ 23 h 186"/>
                    <a:gd name="T60" fmla="*/ 0 w 92"/>
                    <a:gd name="T61" fmla="*/ 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3" name="Freeform 158">
                  <a:extLst>
                    <a:ext uri="{FF2B5EF4-FFF2-40B4-BE49-F238E27FC236}">
                      <a16:creationId xmlns:a16="http://schemas.microsoft.com/office/drawing/2014/main" id="{FCAA92C4-AD0B-109D-8526-ED53C96BC441}"/>
                    </a:ext>
                  </a:extLst>
                </p:cNvPr>
                <p:cNvSpPr>
                  <a:spLocks/>
                </p:cNvSpPr>
                <p:nvPr/>
              </p:nvSpPr>
              <p:spPr bwMode="gray">
                <a:xfrm>
                  <a:off x="6829482" y="4763328"/>
                  <a:ext cx="102974" cy="77272"/>
                </a:xfrm>
                <a:custGeom>
                  <a:avLst/>
                  <a:gdLst>
                    <a:gd name="T0" fmla="*/ 25 w 67"/>
                    <a:gd name="T1" fmla="*/ 50 h 51"/>
                    <a:gd name="T2" fmla="*/ 41 w 67"/>
                    <a:gd name="T3" fmla="*/ 42 h 51"/>
                    <a:gd name="T4" fmla="*/ 50 w 67"/>
                    <a:gd name="T5" fmla="*/ 32 h 51"/>
                    <a:gd name="T6" fmla="*/ 66 w 67"/>
                    <a:gd name="T7" fmla="*/ 25 h 51"/>
                    <a:gd name="T8" fmla="*/ 66 w 67"/>
                    <a:gd name="T9" fmla="*/ 0 h 51"/>
                    <a:gd name="T10" fmla="*/ 50 w 67"/>
                    <a:gd name="T11" fmla="*/ 0 h 51"/>
                    <a:gd name="T12" fmla="*/ 50 w 67"/>
                    <a:gd name="T13" fmla="*/ 10 h 51"/>
                    <a:gd name="T14" fmla="*/ 41 w 67"/>
                    <a:gd name="T15" fmla="*/ 0 h 51"/>
                    <a:gd name="T16" fmla="*/ 9 w 67"/>
                    <a:gd name="T17" fmla="*/ 0 h 51"/>
                    <a:gd name="T18" fmla="*/ 0 w 67"/>
                    <a:gd name="T19" fmla="*/ 17 h 51"/>
                    <a:gd name="T20" fmla="*/ 9 w 67"/>
                    <a:gd name="T21" fmla="*/ 32 h 51"/>
                    <a:gd name="T22" fmla="*/ 9 w 67"/>
                    <a:gd name="T23" fmla="*/ 42 h 51"/>
                    <a:gd name="T24" fmla="*/ 9 w 67"/>
                    <a:gd name="T25" fmla="*/ 50 h 51"/>
                    <a:gd name="T26" fmla="*/ 25 w 67"/>
                    <a:gd name="T27"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4" name="Freeform 159">
                  <a:extLst>
                    <a:ext uri="{FF2B5EF4-FFF2-40B4-BE49-F238E27FC236}">
                      <a16:creationId xmlns:a16="http://schemas.microsoft.com/office/drawing/2014/main" id="{922F51B1-CCE5-17C0-D97D-81C183A677AA}"/>
                    </a:ext>
                  </a:extLst>
                </p:cNvPr>
                <p:cNvSpPr>
                  <a:spLocks/>
                </p:cNvSpPr>
                <p:nvPr/>
              </p:nvSpPr>
              <p:spPr bwMode="gray">
                <a:xfrm>
                  <a:off x="6793441" y="4910272"/>
                  <a:ext cx="75943" cy="112741"/>
                </a:xfrm>
                <a:custGeom>
                  <a:avLst/>
                  <a:gdLst>
                    <a:gd name="T0" fmla="*/ 24 w 50"/>
                    <a:gd name="T1" fmla="*/ 9 h 75"/>
                    <a:gd name="T2" fmla="*/ 18 w 50"/>
                    <a:gd name="T3" fmla="*/ 18 h 75"/>
                    <a:gd name="T4" fmla="*/ 9 w 50"/>
                    <a:gd name="T5" fmla="*/ 9 h 75"/>
                    <a:gd name="T6" fmla="*/ 0 w 50"/>
                    <a:gd name="T7" fmla="*/ 0 h 75"/>
                    <a:gd name="T8" fmla="*/ 0 w 50"/>
                    <a:gd name="T9" fmla="*/ 9 h 75"/>
                    <a:gd name="T10" fmla="*/ 0 w 50"/>
                    <a:gd name="T11" fmla="*/ 34 h 75"/>
                    <a:gd name="T12" fmla="*/ 18 w 50"/>
                    <a:gd name="T13" fmla="*/ 50 h 75"/>
                    <a:gd name="T14" fmla="*/ 43 w 50"/>
                    <a:gd name="T15" fmla="*/ 74 h 75"/>
                    <a:gd name="T16" fmla="*/ 49 w 50"/>
                    <a:gd name="T17" fmla="*/ 74 h 75"/>
                    <a:gd name="T18" fmla="*/ 43 w 50"/>
                    <a:gd name="T19" fmla="*/ 50 h 75"/>
                    <a:gd name="T20" fmla="*/ 43 w 50"/>
                    <a:gd name="T21" fmla="*/ 25 h 75"/>
                    <a:gd name="T22" fmla="*/ 24 w 50"/>
                    <a:gd name="T23"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5" name="Freeform 160">
                  <a:extLst>
                    <a:ext uri="{FF2B5EF4-FFF2-40B4-BE49-F238E27FC236}">
                      <a16:creationId xmlns:a16="http://schemas.microsoft.com/office/drawing/2014/main" id="{E2520B21-71ED-7B8F-5048-4765F789D783}"/>
                    </a:ext>
                  </a:extLst>
                </p:cNvPr>
                <p:cNvSpPr>
                  <a:spLocks/>
                </p:cNvSpPr>
                <p:nvPr/>
              </p:nvSpPr>
              <p:spPr bwMode="gray">
                <a:xfrm>
                  <a:off x="6969784" y="4910272"/>
                  <a:ext cx="202086" cy="112741"/>
                </a:xfrm>
                <a:custGeom>
                  <a:avLst/>
                  <a:gdLst>
                    <a:gd name="T0" fmla="*/ 71 w 131"/>
                    <a:gd name="T1" fmla="*/ 25 h 75"/>
                    <a:gd name="T2" fmla="*/ 80 w 131"/>
                    <a:gd name="T3" fmla="*/ 25 h 75"/>
                    <a:gd name="T4" fmla="*/ 71 w 131"/>
                    <a:gd name="T5" fmla="*/ 34 h 75"/>
                    <a:gd name="T6" fmla="*/ 65 w 131"/>
                    <a:gd name="T7" fmla="*/ 34 h 75"/>
                    <a:gd name="T8" fmla="*/ 56 w 131"/>
                    <a:gd name="T9" fmla="*/ 34 h 75"/>
                    <a:gd name="T10" fmla="*/ 40 w 131"/>
                    <a:gd name="T11" fmla="*/ 50 h 75"/>
                    <a:gd name="T12" fmla="*/ 25 w 131"/>
                    <a:gd name="T13" fmla="*/ 50 h 75"/>
                    <a:gd name="T14" fmla="*/ 25 w 131"/>
                    <a:gd name="T15" fmla="*/ 65 h 75"/>
                    <a:gd name="T16" fmla="*/ 0 w 131"/>
                    <a:gd name="T17" fmla="*/ 65 h 75"/>
                    <a:gd name="T18" fmla="*/ 15 w 131"/>
                    <a:gd name="T19" fmla="*/ 74 h 75"/>
                    <a:gd name="T20" fmla="*/ 31 w 131"/>
                    <a:gd name="T21" fmla="*/ 74 h 75"/>
                    <a:gd name="T22" fmla="*/ 40 w 131"/>
                    <a:gd name="T23" fmla="*/ 65 h 75"/>
                    <a:gd name="T24" fmla="*/ 56 w 131"/>
                    <a:gd name="T25" fmla="*/ 74 h 75"/>
                    <a:gd name="T26" fmla="*/ 65 w 131"/>
                    <a:gd name="T27" fmla="*/ 65 h 75"/>
                    <a:gd name="T28" fmla="*/ 89 w 131"/>
                    <a:gd name="T29" fmla="*/ 34 h 75"/>
                    <a:gd name="T30" fmla="*/ 112 w 131"/>
                    <a:gd name="T31" fmla="*/ 34 h 75"/>
                    <a:gd name="T32" fmla="*/ 120 w 131"/>
                    <a:gd name="T33" fmla="*/ 34 h 75"/>
                    <a:gd name="T34" fmla="*/ 112 w 131"/>
                    <a:gd name="T35" fmla="*/ 25 h 75"/>
                    <a:gd name="T36" fmla="*/ 130 w 131"/>
                    <a:gd name="T37" fmla="*/ 25 h 75"/>
                    <a:gd name="T38" fmla="*/ 105 w 131"/>
                    <a:gd name="T39" fmla="*/ 18 h 75"/>
                    <a:gd name="T40" fmla="*/ 105 w 131"/>
                    <a:gd name="T41" fmla="*/ 9 h 75"/>
                    <a:gd name="T42" fmla="*/ 96 w 131"/>
                    <a:gd name="T43" fmla="*/ 0 h 75"/>
                    <a:gd name="T44" fmla="*/ 80 w 131"/>
                    <a:gd name="T45" fmla="*/ 18 h 75"/>
                    <a:gd name="T46" fmla="*/ 71 w 131"/>
                    <a:gd name="T4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6" name="Freeform 161">
                  <a:extLst>
                    <a:ext uri="{FF2B5EF4-FFF2-40B4-BE49-F238E27FC236}">
                      <a16:creationId xmlns:a16="http://schemas.microsoft.com/office/drawing/2014/main" id="{96062C68-E066-B5F0-DED1-A241C98EE267}"/>
                    </a:ext>
                  </a:extLst>
                </p:cNvPr>
                <p:cNvSpPr>
                  <a:spLocks/>
                </p:cNvSpPr>
                <p:nvPr/>
              </p:nvSpPr>
              <p:spPr bwMode="gray">
                <a:xfrm>
                  <a:off x="7056025" y="4947008"/>
                  <a:ext cx="38615" cy="26602"/>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Lst>
                  <a:ahLst/>
                  <a:cxnLst>
                    <a:cxn ang="0">
                      <a:pos x="T0" y="T1"/>
                    </a:cxn>
                    <a:cxn ang="0">
                      <a:pos x="T2" y="T3"/>
                    </a:cxn>
                    <a:cxn ang="0">
                      <a:pos x="T4" y="T5"/>
                    </a:cxn>
                    <a:cxn ang="0">
                      <a:pos x="T6" y="T7"/>
                    </a:cxn>
                    <a:cxn ang="0">
                      <a:pos x="T8" y="T9"/>
                    </a:cxn>
                    <a:cxn ang="0">
                      <a:pos x="T10" y="T11"/>
                    </a:cxn>
                  </a:cxnLst>
                  <a:rect l="0" t="0" r="r" b="b"/>
                  <a:pathLst>
                    <a:path w="25" h="17">
                      <a:moveTo>
                        <a:pt x="0" y="16"/>
                      </a:moveTo>
                      <a:lnTo>
                        <a:pt x="9" y="16"/>
                      </a:lnTo>
                      <a:lnTo>
                        <a:pt x="15" y="16"/>
                      </a:lnTo>
                      <a:lnTo>
                        <a:pt x="24" y="0"/>
                      </a:lnTo>
                      <a:lnTo>
                        <a:pt x="15"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7" name="Freeform 162">
                  <a:extLst>
                    <a:ext uri="{FF2B5EF4-FFF2-40B4-BE49-F238E27FC236}">
                      <a16:creationId xmlns:a16="http://schemas.microsoft.com/office/drawing/2014/main" id="{91044796-78E7-B607-5EEF-F7B15A04456A}"/>
                    </a:ext>
                  </a:extLst>
                </p:cNvPr>
                <p:cNvSpPr>
                  <a:spLocks/>
                </p:cNvSpPr>
                <p:nvPr/>
              </p:nvSpPr>
              <p:spPr bwMode="gray">
                <a:xfrm>
                  <a:off x="6955625" y="4960943"/>
                  <a:ext cx="200799" cy="160879"/>
                </a:xfrm>
                <a:custGeom>
                  <a:avLst/>
                  <a:gdLst>
                    <a:gd name="T0" fmla="*/ 9 w 130"/>
                    <a:gd name="T1" fmla="*/ 31 h 106"/>
                    <a:gd name="T2" fmla="*/ 24 w 130"/>
                    <a:gd name="T3" fmla="*/ 40 h 106"/>
                    <a:gd name="T4" fmla="*/ 40 w 130"/>
                    <a:gd name="T5" fmla="*/ 40 h 106"/>
                    <a:gd name="T6" fmla="*/ 49 w 130"/>
                    <a:gd name="T7" fmla="*/ 31 h 106"/>
                    <a:gd name="T8" fmla="*/ 65 w 130"/>
                    <a:gd name="T9" fmla="*/ 40 h 106"/>
                    <a:gd name="T10" fmla="*/ 74 w 130"/>
                    <a:gd name="T11" fmla="*/ 31 h 106"/>
                    <a:gd name="T12" fmla="*/ 98 w 130"/>
                    <a:gd name="T13" fmla="*/ 0 h 106"/>
                    <a:gd name="T14" fmla="*/ 121 w 130"/>
                    <a:gd name="T15" fmla="*/ 0 h 106"/>
                    <a:gd name="T16" fmla="*/ 114 w 130"/>
                    <a:gd name="T17" fmla="*/ 16 h 106"/>
                    <a:gd name="T18" fmla="*/ 121 w 130"/>
                    <a:gd name="T19" fmla="*/ 25 h 106"/>
                    <a:gd name="T20" fmla="*/ 114 w 130"/>
                    <a:gd name="T21" fmla="*/ 31 h 106"/>
                    <a:gd name="T22" fmla="*/ 129 w 130"/>
                    <a:gd name="T23" fmla="*/ 40 h 106"/>
                    <a:gd name="T24" fmla="*/ 121 w 130"/>
                    <a:gd name="T25" fmla="*/ 48 h 106"/>
                    <a:gd name="T26" fmla="*/ 105 w 130"/>
                    <a:gd name="T27" fmla="*/ 65 h 106"/>
                    <a:gd name="T28" fmla="*/ 98 w 130"/>
                    <a:gd name="T29" fmla="*/ 81 h 106"/>
                    <a:gd name="T30" fmla="*/ 105 w 130"/>
                    <a:gd name="T31" fmla="*/ 81 h 106"/>
                    <a:gd name="T32" fmla="*/ 98 w 130"/>
                    <a:gd name="T33" fmla="*/ 97 h 106"/>
                    <a:gd name="T34" fmla="*/ 80 w 130"/>
                    <a:gd name="T35" fmla="*/ 105 h 106"/>
                    <a:gd name="T36" fmla="*/ 74 w 130"/>
                    <a:gd name="T37" fmla="*/ 97 h 106"/>
                    <a:gd name="T38" fmla="*/ 57 w 130"/>
                    <a:gd name="T39" fmla="*/ 97 h 106"/>
                    <a:gd name="T40" fmla="*/ 40 w 130"/>
                    <a:gd name="T41" fmla="*/ 97 h 106"/>
                    <a:gd name="T42" fmla="*/ 40 w 130"/>
                    <a:gd name="T43" fmla="*/ 88 h 106"/>
                    <a:gd name="T44" fmla="*/ 24 w 130"/>
                    <a:gd name="T45" fmla="*/ 88 h 106"/>
                    <a:gd name="T46" fmla="*/ 17 w 130"/>
                    <a:gd name="T47" fmla="*/ 72 h 106"/>
                    <a:gd name="T48" fmla="*/ 9 w 130"/>
                    <a:gd name="T49" fmla="*/ 56 h 106"/>
                    <a:gd name="T50" fmla="*/ 0 w 130"/>
                    <a:gd name="T51" fmla="*/ 40 h 106"/>
                    <a:gd name="T52" fmla="*/ 9 w 130"/>
                    <a:gd name="T53" fmla="*/ 3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8" name="Freeform 163">
                  <a:extLst>
                    <a:ext uri="{FF2B5EF4-FFF2-40B4-BE49-F238E27FC236}">
                      <a16:creationId xmlns:a16="http://schemas.microsoft.com/office/drawing/2014/main" id="{A8D57EB7-1775-49FF-F488-721D6E0F95E3}"/>
                    </a:ext>
                  </a:extLst>
                </p:cNvPr>
                <p:cNvSpPr>
                  <a:spLocks/>
                </p:cNvSpPr>
                <p:nvPr/>
              </p:nvSpPr>
              <p:spPr bwMode="gray">
                <a:xfrm>
                  <a:off x="7394552" y="5045816"/>
                  <a:ext cx="202086" cy="171013"/>
                </a:xfrm>
                <a:custGeom>
                  <a:avLst/>
                  <a:gdLst>
                    <a:gd name="T0" fmla="*/ 130 w 131"/>
                    <a:gd name="T1" fmla="*/ 32 h 113"/>
                    <a:gd name="T2" fmla="*/ 130 w 131"/>
                    <a:gd name="T3" fmla="*/ 65 h 113"/>
                    <a:gd name="T4" fmla="*/ 130 w 131"/>
                    <a:gd name="T5" fmla="*/ 112 h 113"/>
                    <a:gd name="T6" fmla="*/ 112 w 131"/>
                    <a:gd name="T7" fmla="*/ 97 h 113"/>
                    <a:gd name="T8" fmla="*/ 88 w 131"/>
                    <a:gd name="T9" fmla="*/ 106 h 113"/>
                    <a:gd name="T10" fmla="*/ 97 w 131"/>
                    <a:gd name="T11" fmla="*/ 89 h 113"/>
                    <a:gd name="T12" fmla="*/ 88 w 131"/>
                    <a:gd name="T13" fmla="*/ 72 h 113"/>
                    <a:gd name="T14" fmla="*/ 31 w 131"/>
                    <a:gd name="T15" fmla="*/ 41 h 113"/>
                    <a:gd name="T16" fmla="*/ 25 w 131"/>
                    <a:gd name="T17" fmla="*/ 49 h 113"/>
                    <a:gd name="T18" fmla="*/ 25 w 131"/>
                    <a:gd name="T19" fmla="*/ 41 h 113"/>
                    <a:gd name="T20" fmla="*/ 16 w 131"/>
                    <a:gd name="T21" fmla="*/ 32 h 113"/>
                    <a:gd name="T22" fmla="*/ 31 w 131"/>
                    <a:gd name="T23" fmla="*/ 32 h 113"/>
                    <a:gd name="T24" fmla="*/ 40 w 131"/>
                    <a:gd name="T25" fmla="*/ 25 h 113"/>
                    <a:gd name="T26" fmla="*/ 16 w 131"/>
                    <a:gd name="T27" fmla="*/ 25 h 113"/>
                    <a:gd name="T28" fmla="*/ 6 w 131"/>
                    <a:gd name="T29" fmla="*/ 16 h 113"/>
                    <a:gd name="T30" fmla="*/ 0 w 131"/>
                    <a:gd name="T31" fmla="*/ 16 h 113"/>
                    <a:gd name="T32" fmla="*/ 16 w 131"/>
                    <a:gd name="T33" fmla="*/ 0 h 113"/>
                    <a:gd name="T34" fmla="*/ 25 w 131"/>
                    <a:gd name="T35" fmla="*/ 0 h 113"/>
                    <a:gd name="T36" fmla="*/ 40 w 131"/>
                    <a:gd name="T37" fmla="*/ 9 h 113"/>
                    <a:gd name="T38" fmla="*/ 40 w 131"/>
                    <a:gd name="T39" fmla="*/ 25 h 113"/>
                    <a:gd name="T40" fmla="*/ 56 w 131"/>
                    <a:gd name="T41" fmla="*/ 41 h 113"/>
                    <a:gd name="T42" fmla="*/ 72 w 131"/>
                    <a:gd name="T43" fmla="*/ 25 h 113"/>
                    <a:gd name="T44" fmla="*/ 88 w 131"/>
                    <a:gd name="T45" fmla="*/ 16 h 113"/>
                    <a:gd name="T46" fmla="*/ 130 w 131"/>
                    <a:gd name="T47" fmla="*/ 3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29" name="Freeform 164">
                  <a:extLst>
                    <a:ext uri="{FF2B5EF4-FFF2-40B4-BE49-F238E27FC236}">
                      <a16:creationId xmlns:a16="http://schemas.microsoft.com/office/drawing/2014/main" id="{49B1AD05-77FD-F925-7967-8BD706AAD751}"/>
                    </a:ext>
                  </a:extLst>
                </p:cNvPr>
                <p:cNvSpPr>
                  <a:spLocks/>
                </p:cNvSpPr>
                <p:nvPr/>
              </p:nvSpPr>
              <p:spPr bwMode="gray">
                <a:xfrm>
                  <a:off x="7594063" y="5093952"/>
                  <a:ext cx="189215" cy="160879"/>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0" name="Freeform 165">
                  <a:extLst>
                    <a:ext uri="{FF2B5EF4-FFF2-40B4-BE49-F238E27FC236}">
                      <a16:creationId xmlns:a16="http://schemas.microsoft.com/office/drawing/2014/main" id="{C550FD56-D9E7-7D11-B3A1-FA4735CFE264}"/>
                    </a:ext>
                  </a:extLst>
                </p:cNvPr>
                <p:cNvSpPr>
                  <a:spLocks/>
                </p:cNvSpPr>
                <p:nvPr/>
              </p:nvSpPr>
              <p:spPr bwMode="gray">
                <a:xfrm>
                  <a:off x="7303162" y="4237623"/>
                  <a:ext cx="68220" cy="100074"/>
                </a:xfrm>
                <a:custGeom>
                  <a:avLst/>
                  <a:gdLst>
                    <a:gd name="T0" fmla="*/ 0 w 44"/>
                    <a:gd name="T1" fmla="*/ 16 h 66"/>
                    <a:gd name="T2" fmla="*/ 25 w 44"/>
                    <a:gd name="T3" fmla="*/ 0 h 66"/>
                    <a:gd name="T4" fmla="*/ 34 w 44"/>
                    <a:gd name="T5" fmla="*/ 16 h 66"/>
                    <a:gd name="T6" fmla="*/ 43 w 44"/>
                    <a:gd name="T7" fmla="*/ 40 h 66"/>
                    <a:gd name="T8" fmla="*/ 34 w 44"/>
                    <a:gd name="T9" fmla="*/ 56 h 66"/>
                    <a:gd name="T10" fmla="*/ 0 w 44"/>
                    <a:gd name="T11" fmla="*/ 65 h 66"/>
                    <a:gd name="T12" fmla="*/ 0 w 44"/>
                    <a:gd name="T13" fmla="*/ 56 h 66"/>
                    <a:gd name="T14" fmla="*/ 0 w 44"/>
                    <a:gd name="T15" fmla="*/ 48 h 66"/>
                    <a:gd name="T16" fmla="*/ 0 w 44"/>
                    <a:gd name="T17" fmla="*/ 24 h 66"/>
                    <a:gd name="T18" fmla="*/ 0 w 44"/>
                    <a:gd name="T1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1" name="Freeform 166">
                  <a:extLst>
                    <a:ext uri="{FF2B5EF4-FFF2-40B4-BE49-F238E27FC236}">
                      <a16:creationId xmlns:a16="http://schemas.microsoft.com/office/drawing/2014/main" id="{613DB854-BC21-0E8A-3880-86FE3D00752E}"/>
                    </a:ext>
                  </a:extLst>
                </p:cNvPr>
                <p:cNvSpPr>
                  <a:spLocks/>
                </p:cNvSpPr>
                <p:nvPr/>
              </p:nvSpPr>
              <p:spPr bwMode="gray">
                <a:xfrm>
                  <a:off x="7269696" y="4137550"/>
                  <a:ext cx="126143" cy="125410"/>
                </a:xfrm>
                <a:custGeom>
                  <a:avLst/>
                  <a:gdLst>
                    <a:gd name="T0" fmla="*/ 81 w 82"/>
                    <a:gd name="T1" fmla="*/ 0 h 83"/>
                    <a:gd name="T2" fmla="*/ 72 w 82"/>
                    <a:gd name="T3" fmla="*/ 0 h 83"/>
                    <a:gd name="T4" fmla="*/ 56 w 82"/>
                    <a:gd name="T5" fmla="*/ 9 h 83"/>
                    <a:gd name="T6" fmla="*/ 47 w 82"/>
                    <a:gd name="T7" fmla="*/ 9 h 83"/>
                    <a:gd name="T8" fmla="*/ 40 w 82"/>
                    <a:gd name="T9" fmla="*/ 17 h 83"/>
                    <a:gd name="T10" fmla="*/ 32 w 82"/>
                    <a:gd name="T11" fmla="*/ 17 h 83"/>
                    <a:gd name="T12" fmla="*/ 0 w 82"/>
                    <a:gd name="T13" fmla="*/ 41 h 83"/>
                    <a:gd name="T14" fmla="*/ 0 w 82"/>
                    <a:gd name="T15" fmla="*/ 50 h 83"/>
                    <a:gd name="T16" fmla="*/ 7 w 82"/>
                    <a:gd name="T17" fmla="*/ 50 h 83"/>
                    <a:gd name="T18" fmla="*/ 0 w 82"/>
                    <a:gd name="T19" fmla="*/ 74 h 83"/>
                    <a:gd name="T20" fmla="*/ 7 w 82"/>
                    <a:gd name="T21" fmla="*/ 82 h 83"/>
                    <a:gd name="T22" fmla="*/ 16 w 82"/>
                    <a:gd name="T23" fmla="*/ 82 h 83"/>
                    <a:gd name="T24" fmla="*/ 22 w 82"/>
                    <a:gd name="T25" fmla="*/ 82 h 83"/>
                    <a:gd name="T26" fmla="*/ 47 w 82"/>
                    <a:gd name="T27" fmla="*/ 66 h 83"/>
                    <a:gd name="T28" fmla="*/ 32 w 82"/>
                    <a:gd name="T29" fmla="*/ 57 h 83"/>
                    <a:gd name="T30" fmla="*/ 32 w 82"/>
                    <a:gd name="T31" fmla="*/ 50 h 83"/>
                    <a:gd name="T32" fmla="*/ 65 w 82"/>
                    <a:gd name="T33" fmla="*/ 34 h 83"/>
                    <a:gd name="T34" fmla="*/ 65 w 82"/>
                    <a:gd name="T35" fmla="*/ 17 h 83"/>
                    <a:gd name="T36" fmla="*/ 81 w 82"/>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6350" cap="rnd" cmpd="sng">
                  <a:solidFill>
                    <a:srgbClr val="D0D0D0"/>
                  </a:solidFill>
                  <a:prstDash val="solid"/>
                  <a:round/>
                  <a:headEnd/>
                  <a:tailEnd/>
                </a:ln>
                <a:effectLst/>
              </p:spPr>
              <p:txBody>
                <a:bodyPr/>
                <a:lstStyle/>
                <a:p>
                  <a:endParaRPr lang="de-DE" dirty="0"/>
                </a:p>
              </p:txBody>
            </p:sp>
            <p:sp>
              <p:nvSpPr>
                <p:cNvPr id="532" name="Freeform 240">
                  <a:extLst>
                    <a:ext uri="{FF2B5EF4-FFF2-40B4-BE49-F238E27FC236}">
                      <a16:creationId xmlns:a16="http://schemas.microsoft.com/office/drawing/2014/main" id="{54857C8B-1988-E24B-773C-2C82CC7AE4B2}"/>
                    </a:ext>
                  </a:extLst>
                </p:cNvPr>
                <p:cNvSpPr>
                  <a:spLocks/>
                </p:cNvSpPr>
                <p:nvPr/>
              </p:nvSpPr>
              <p:spPr bwMode="gray">
                <a:xfrm>
                  <a:off x="6730370" y="5007813"/>
                  <a:ext cx="25743" cy="27868"/>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3" name="Freeform 241">
                  <a:extLst>
                    <a:ext uri="{FF2B5EF4-FFF2-40B4-BE49-F238E27FC236}">
                      <a16:creationId xmlns:a16="http://schemas.microsoft.com/office/drawing/2014/main" id="{ACB14F9A-374B-B6E9-51DB-59E51DB94968}"/>
                    </a:ext>
                  </a:extLst>
                </p:cNvPr>
                <p:cNvSpPr>
                  <a:spLocks/>
                </p:cNvSpPr>
                <p:nvPr/>
              </p:nvSpPr>
              <p:spPr bwMode="gray">
                <a:xfrm>
                  <a:off x="6730370" y="5007813"/>
                  <a:ext cx="25743" cy="27868"/>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4" name="Freeform 242">
                  <a:extLst>
                    <a:ext uri="{FF2B5EF4-FFF2-40B4-BE49-F238E27FC236}">
                      <a16:creationId xmlns:a16="http://schemas.microsoft.com/office/drawing/2014/main" id="{FF1F4DB5-B8C1-CFA1-BC9D-6F1FDC5B90D6}"/>
                    </a:ext>
                  </a:extLst>
                </p:cNvPr>
                <p:cNvSpPr>
                  <a:spLocks/>
                </p:cNvSpPr>
                <p:nvPr/>
              </p:nvSpPr>
              <p:spPr bwMode="gray">
                <a:xfrm>
                  <a:off x="6757401" y="5059751"/>
                  <a:ext cx="25743" cy="25335"/>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5" name="Freeform 243">
                  <a:extLst>
                    <a:ext uri="{FF2B5EF4-FFF2-40B4-BE49-F238E27FC236}">
                      <a16:creationId xmlns:a16="http://schemas.microsoft.com/office/drawing/2014/main" id="{3AF3E735-85DA-00B1-3193-D746A29E8437}"/>
                    </a:ext>
                  </a:extLst>
                </p:cNvPr>
                <p:cNvSpPr>
                  <a:spLocks/>
                </p:cNvSpPr>
                <p:nvPr/>
              </p:nvSpPr>
              <p:spPr bwMode="gray">
                <a:xfrm>
                  <a:off x="6757401" y="5059751"/>
                  <a:ext cx="25743" cy="25335"/>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6" name="Freeform 244">
                  <a:extLst>
                    <a:ext uri="{FF2B5EF4-FFF2-40B4-BE49-F238E27FC236}">
                      <a16:creationId xmlns:a16="http://schemas.microsoft.com/office/drawing/2014/main" id="{85E7014A-DD70-B1F7-1601-9CF29ED20737}"/>
                    </a:ext>
                  </a:extLst>
                </p:cNvPr>
                <p:cNvSpPr>
                  <a:spLocks/>
                </p:cNvSpPr>
                <p:nvPr/>
              </p:nvSpPr>
              <p:spPr bwMode="gray">
                <a:xfrm>
                  <a:off x="6381546" y="4849468"/>
                  <a:ext cx="52774" cy="74739"/>
                </a:xfrm>
                <a:custGeom>
                  <a:avLst/>
                  <a:gdLst>
                    <a:gd name="T0" fmla="*/ 0 w 34"/>
                    <a:gd name="T1" fmla="*/ 25 h 50"/>
                    <a:gd name="T2" fmla="*/ 9 w 34"/>
                    <a:gd name="T3" fmla="*/ 49 h 50"/>
                    <a:gd name="T4" fmla="*/ 24 w 34"/>
                    <a:gd name="T5" fmla="*/ 49 h 50"/>
                    <a:gd name="T6" fmla="*/ 33 w 34"/>
                    <a:gd name="T7" fmla="*/ 34 h 50"/>
                    <a:gd name="T8" fmla="*/ 15 w 34"/>
                    <a:gd name="T9" fmla="*/ 9 h 50"/>
                    <a:gd name="T10" fmla="*/ 9 w 34"/>
                    <a:gd name="T11" fmla="*/ 0 h 50"/>
                    <a:gd name="T12" fmla="*/ 0 w 34"/>
                    <a:gd name="T13" fmla="*/ 25 h 50"/>
                  </a:gdLst>
                  <a:ahLst/>
                  <a:cxnLst>
                    <a:cxn ang="0">
                      <a:pos x="T0" y="T1"/>
                    </a:cxn>
                    <a:cxn ang="0">
                      <a:pos x="T2" y="T3"/>
                    </a:cxn>
                    <a:cxn ang="0">
                      <a:pos x="T4" y="T5"/>
                    </a:cxn>
                    <a:cxn ang="0">
                      <a:pos x="T6" y="T7"/>
                    </a:cxn>
                    <a:cxn ang="0">
                      <a:pos x="T8" y="T9"/>
                    </a:cxn>
                    <a:cxn ang="0">
                      <a:pos x="T10" y="T11"/>
                    </a:cxn>
                    <a:cxn ang="0">
                      <a:pos x="T12" y="T13"/>
                    </a:cxn>
                  </a:cxnLst>
                  <a:rect l="0" t="0" r="r" b="b"/>
                  <a:pathLst>
                    <a:path w="34" h="50">
                      <a:moveTo>
                        <a:pt x="0" y="25"/>
                      </a:moveTo>
                      <a:lnTo>
                        <a:pt x="9" y="49"/>
                      </a:lnTo>
                      <a:lnTo>
                        <a:pt x="24" y="49"/>
                      </a:lnTo>
                      <a:lnTo>
                        <a:pt x="33" y="34"/>
                      </a:lnTo>
                      <a:lnTo>
                        <a:pt x="15" y="9"/>
                      </a:lnTo>
                      <a:lnTo>
                        <a:pt x="9" y="0"/>
                      </a:lnTo>
                      <a:lnTo>
                        <a:pt x="0"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7" name="Freeform 245">
                  <a:extLst>
                    <a:ext uri="{FF2B5EF4-FFF2-40B4-BE49-F238E27FC236}">
                      <a16:creationId xmlns:a16="http://schemas.microsoft.com/office/drawing/2014/main" id="{F7A4B5CB-8AF1-CA7E-F8CF-FFE32AC6EE56}"/>
                    </a:ext>
                  </a:extLst>
                </p:cNvPr>
                <p:cNvSpPr>
                  <a:spLocks/>
                </p:cNvSpPr>
                <p:nvPr/>
              </p:nvSpPr>
              <p:spPr bwMode="gray">
                <a:xfrm>
                  <a:off x="6955625" y="4655654"/>
                  <a:ext cx="54061" cy="35469"/>
                </a:xfrm>
                <a:custGeom>
                  <a:avLst/>
                  <a:gdLst>
                    <a:gd name="T0" fmla="*/ 0 w 35"/>
                    <a:gd name="T1" fmla="*/ 6 h 24"/>
                    <a:gd name="T2" fmla="*/ 0 w 35"/>
                    <a:gd name="T3" fmla="*/ 16 h 24"/>
                    <a:gd name="T4" fmla="*/ 17 w 35"/>
                    <a:gd name="T5" fmla="*/ 23 h 24"/>
                    <a:gd name="T6" fmla="*/ 24 w 35"/>
                    <a:gd name="T7" fmla="*/ 16 h 24"/>
                    <a:gd name="T8" fmla="*/ 34 w 35"/>
                    <a:gd name="T9" fmla="*/ 0 h 24"/>
                    <a:gd name="T10" fmla="*/ 9 w 35"/>
                    <a:gd name="T11" fmla="*/ 0 h 24"/>
                    <a:gd name="T12" fmla="*/ 0 w 35"/>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35" h="24">
                      <a:moveTo>
                        <a:pt x="0" y="6"/>
                      </a:moveTo>
                      <a:lnTo>
                        <a:pt x="0" y="16"/>
                      </a:lnTo>
                      <a:lnTo>
                        <a:pt x="17" y="23"/>
                      </a:lnTo>
                      <a:lnTo>
                        <a:pt x="24" y="16"/>
                      </a:lnTo>
                      <a:lnTo>
                        <a:pt x="34" y="0"/>
                      </a:lnTo>
                      <a:lnTo>
                        <a:pt x="9" y="0"/>
                      </a:lnTo>
                      <a:lnTo>
                        <a:pt x="0" y="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8" name="Freeform 246">
                  <a:extLst>
                    <a:ext uri="{FF2B5EF4-FFF2-40B4-BE49-F238E27FC236}">
                      <a16:creationId xmlns:a16="http://schemas.microsoft.com/office/drawing/2014/main" id="{FBA37BED-AC31-7512-6AD1-D6DAAE260E18}"/>
                    </a:ext>
                  </a:extLst>
                </p:cNvPr>
                <p:cNvSpPr>
                  <a:spLocks/>
                </p:cNvSpPr>
                <p:nvPr/>
              </p:nvSpPr>
              <p:spPr bwMode="gray">
                <a:xfrm>
                  <a:off x="7180881" y="4542912"/>
                  <a:ext cx="39902" cy="62071"/>
                </a:xfrm>
                <a:custGeom>
                  <a:avLst/>
                  <a:gdLst>
                    <a:gd name="T0" fmla="*/ 0 w 26"/>
                    <a:gd name="T1" fmla="*/ 25 h 41"/>
                    <a:gd name="T2" fmla="*/ 0 w 26"/>
                    <a:gd name="T3" fmla="*/ 33 h 41"/>
                    <a:gd name="T4" fmla="*/ 8 w 26"/>
                    <a:gd name="T5" fmla="*/ 40 h 41"/>
                    <a:gd name="T6" fmla="*/ 25 w 26"/>
                    <a:gd name="T7" fmla="*/ 0 h 41"/>
                    <a:gd name="T8" fmla="*/ 17 w 26"/>
                    <a:gd name="T9" fmla="*/ 0 h 41"/>
                    <a:gd name="T10" fmla="*/ 0 w 26"/>
                    <a:gd name="T11" fmla="*/ 25 h 41"/>
                  </a:gdLst>
                  <a:ahLst/>
                  <a:cxnLst>
                    <a:cxn ang="0">
                      <a:pos x="T0" y="T1"/>
                    </a:cxn>
                    <a:cxn ang="0">
                      <a:pos x="T2" y="T3"/>
                    </a:cxn>
                    <a:cxn ang="0">
                      <a:pos x="T4" y="T5"/>
                    </a:cxn>
                    <a:cxn ang="0">
                      <a:pos x="T6" y="T7"/>
                    </a:cxn>
                    <a:cxn ang="0">
                      <a:pos x="T8" y="T9"/>
                    </a:cxn>
                    <a:cxn ang="0">
                      <a:pos x="T10" y="T11"/>
                    </a:cxn>
                  </a:cxnLst>
                  <a:rect l="0" t="0" r="r" b="b"/>
                  <a:pathLst>
                    <a:path w="26" h="41">
                      <a:moveTo>
                        <a:pt x="0" y="25"/>
                      </a:moveTo>
                      <a:lnTo>
                        <a:pt x="0" y="33"/>
                      </a:lnTo>
                      <a:lnTo>
                        <a:pt x="8" y="40"/>
                      </a:lnTo>
                      <a:lnTo>
                        <a:pt x="25" y="0"/>
                      </a:lnTo>
                      <a:lnTo>
                        <a:pt x="17" y="0"/>
                      </a:lnTo>
                      <a:lnTo>
                        <a:pt x="0"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39" name="Freeform 247">
                  <a:extLst>
                    <a:ext uri="{FF2B5EF4-FFF2-40B4-BE49-F238E27FC236}">
                      <a16:creationId xmlns:a16="http://schemas.microsoft.com/office/drawing/2014/main" id="{D748987A-CE2B-189A-642E-4F69DF5438BD}"/>
                    </a:ext>
                  </a:extLst>
                </p:cNvPr>
                <p:cNvSpPr>
                  <a:spLocks/>
                </p:cNvSpPr>
                <p:nvPr/>
              </p:nvSpPr>
              <p:spPr bwMode="gray">
                <a:xfrm>
                  <a:off x="7370095" y="4347832"/>
                  <a:ext cx="50200" cy="74739"/>
                </a:xfrm>
                <a:custGeom>
                  <a:avLst/>
                  <a:gdLst>
                    <a:gd name="T0" fmla="*/ 0 w 33"/>
                    <a:gd name="T1" fmla="*/ 7 h 49"/>
                    <a:gd name="T2" fmla="*/ 0 w 33"/>
                    <a:gd name="T3" fmla="*/ 17 h 49"/>
                    <a:gd name="T4" fmla="*/ 7 w 33"/>
                    <a:gd name="T5" fmla="*/ 17 h 49"/>
                    <a:gd name="T6" fmla="*/ 7 w 33"/>
                    <a:gd name="T7" fmla="*/ 41 h 49"/>
                    <a:gd name="T8" fmla="*/ 16 w 33"/>
                    <a:gd name="T9" fmla="*/ 48 h 49"/>
                    <a:gd name="T10" fmla="*/ 22 w 33"/>
                    <a:gd name="T11" fmla="*/ 41 h 49"/>
                    <a:gd name="T12" fmla="*/ 32 w 33"/>
                    <a:gd name="T13" fmla="*/ 17 h 49"/>
                    <a:gd name="T14" fmla="*/ 22 w 33"/>
                    <a:gd name="T15" fmla="*/ 7 h 49"/>
                    <a:gd name="T16" fmla="*/ 7 w 33"/>
                    <a:gd name="T17" fmla="*/ 0 h 49"/>
                    <a:gd name="T18" fmla="*/ 0 w 33"/>
                    <a:gd name="T1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40" name="Freeform 248">
                  <a:extLst>
                    <a:ext uri="{FF2B5EF4-FFF2-40B4-BE49-F238E27FC236}">
                      <a16:creationId xmlns:a16="http://schemas.microsoft.com/office/drawing/2014/main" id="{504DEE05-5DA5-CFF1-12AF-08026327DFA4}"/>
                    </a:ext>
                  </a:extLst>
                </p:cNvPr>
                <p:cNvSpPr>
                  <a:spLocks/>
                </p:cNvSpPr>
                <p:nvPr/>
              </p:nvSpPr>
              <p:spPr bwMode="gray">
                <a:xfrm>
                  <a:off x="7419008" y="4347832"/>
                  <a:ext cx="51487" cy="27868"/>
                </a:xfrm>
                <a:custGeom>
                  <a:avLst/>
                  <a:gdLst>
                    <a:gd name="T0" fmla="*/ 0 w 33"/>
                    <a:gd name="T1" fmla="*/ 7 h 18"/>
                    <a:gd name="T2" fmla="*/ 0 w 33"/>
                    <a:gd name="T3" fmla="*/ 17 h 18"/>
                    <a:gd name="T4" fmla="*/ 9 w 33"/>
                    <a:gd name="T5" fmla="*/ 17 h 18"/>
                    <a:gd name="T6" fmla="*/ 15 w 33"/>
                    <a:gd name="T7" fmla="*/ 7 h 18"/>
                    <a:gd name="T8" fmla="*/ 24 w 33"/>
                    <a:gd name="T9" fmla="*/ 7 h 18"/>
                    <a:gd name="T10" fmla="*/ 32 w 33"/>
                    <a:gd name="T11" fmla="*/ 0 h 18"/>
                    <a:gd name="T12" fmla="*/ 15 w 33"/>
                    <a:gd name="T13" fmla="*/ 0 h 18"/>
                    <a:gd name="T14" fmla="*/ 0 w 33"/>
                    <a:gd name="T15" fmla="*/ 7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41" name="Freeform 249">
                  <a:extLst>
                    <a:ext uri="{FF2B5EF4-FFF2-40B4-BE49-F238E27FC236}">
                      <a16:creationId xmlns:a16="http://schemas.microsoft.com/office/drawing/2014/main" id="{D58C4DC9-CEEB-398D-7023-2D6AC8E6C4D9}"/>
                    </a:ext>
                  </a:extLst>
                </p:cNvPr>
                <p:cNvSpPr>
                  <a:spLocks/>
                </p:cNvSpPr>
                <p:nvPr/>
              </p:nvSpPr>
              <p:spPr bwMode="gray">
                <a:xfrm>
                  <a:off x="7394552" y="4162885"/>
                  <a:ext cx="212384" cy="197615"/>
                </a:xfrm>
                <a:custGeom>
                  <a:avLst/>
                  <a:gdLst>
                    <a:gd name="T0" fmla="*/ 0 w 138"/>
                    <a:gd name="T1" fmla="*/ 114 h 130"/>
                    <a:gd name="T2" fmla="*/ 0 w 138"/>
                    <a:gd name="T3" fmla="*/ 122 h 130"/>
                    <a:gd name="T4" fmla="*/ 16 w 138"/>
                    <a:gd name="T5" fmla="*/ 122 h 130"/>
                    <a:gd name="T6" fmla="*/ 48 w 138"/>
                    <a:gd name="T7" fmla="*/ 105 h 130"/>
                    <a:gd name="T8" fmla="*/ 56 w 138"/>
                    <a:gd name="T9" fmla="*/ 114 h 130"/>
                    <a:gd name="T10" fmla="*/ 56 w 138"/>
                    <a:gd name="T11" fmla="*/ 122 h 130"/>
                    <a:gd name="T12" fmla="*/ 65 w 138"/>
                    <a:gd name="T13" fmla="*/ 129 h 130"/>
                    <a:gd name="T14" fmla="*/ 72 w 138"/>
                    <a:gd name="T15" fmla="*/ 114 h 130"/>
                    <a:gd name="T16" fmla="*/ 72 w 138"/>
                    <a:gd name="T17" fmla="*/ 105 h 130"/>
                    <a:gd name="T18" fmla="*/ 80 w 138"/>
                    <a:gd name="T19" fmla="*/ 114 h 130"/>
                    <a:gd name="T20" fmla="*/ 88 w 138"/>
                    <a:gd name="T21" fmla="*/ 114 h 130"/>
                    <a:gd name="T22" fmla="*/ 97 w 138"/>
                    <a:gd name="T23" fmla="*/ 105 h 130"/>
                    <a:gd name="T24" fmla="*/ 105 w 138"/>
                    <a:gd name="T25" fmla="*/ 114 h 130"/>
                    <a:gd name="T26" fmla="*/ 105 w 138"/>
                    <a:gd name="T27" fmla="*/ 105 h 130"/>
                    <a:gd name="T28" fmla="*/ 112 w 138"/>
                    <a:gd name="T29" fmla="*/ 97 h 130"/>
                    <a:gd name="T30" fmla="*/ 112 w 138"/>
                    <a:gd name="T31" fmla="*/ 105 h 130"/>
                    <a:gd name="T32" fmla="*/ 121 w 138"/>
                    <a:gd name="T33" fmla="*/ 105 h 130"/>
                    <a:gd name="T34" fmla="*/ 130 w 138"/>
                    <a:gd name="T35" fmla="*/ 97 h 130"/>
                    <a:gd name="T36" fmla="*/ 130 w 138"/>
                    <a:gd name="T37" fmla="*/ 57 h 130"/>
                    <a:gd name="T38" fmla="*/ 137 w 138"/>
                    <a:gd name="T39" fmla="*/ 57 h 130"/>
                    <a:gd name="T40" fmla="*/ 137 w 138"/>
                    <a:gd name="T41" fmla="*/ 8 h 130"/>
                    <a:gd name="T42" fmla="*/ 130 w 138"/>
                    <a:gd name="T43" fmla="*/ 0 h 130"/>
                    <a:gd name="T44" fmla="*/ 130 w 138"/>
                    <a:gd name="T45" fmla="*/ 8 h 130"/>
                    <a:gd name="T46" fmla="*/ 121 w 138"/>
                    <a:gd name="T47" fmla="*/ 8 h 130"/>
                    <a:gd name="T48" fmla="*/ 112 w 138"/>
                    <a:gd name="T49" fmla="*/ 40 h 130"/>
                    <a:gd name="T50" fmla="*/ 97 w 138"/>
                    <a:gd name="T51" fmla="*/ 65 h 130"/>
                    <a:gd name="T52" fmla="*/ 80 w 138"/>
                    <a:gd name="T53" fmla="*/ 82 h 130"/>
                    <a:gd name="T54" fmla="*/ 80 w 138"/>
                    <a:gd name="T55" fmla="*/ 65 h 130"/>
                    <a:gd name="T56" fmla="*/ 72 w 138"/>
                    <a:gd name="T57" fmla="*/ 73 h 130"/>
                    <a:gd name="T58" fmla="*/ 65 w 138"/>
                    <a:gd name="T59" fmla="*/ 97 h 130"/>
                    <a:gd name="T60" fmla="*/ 56 w 138"/>
                    <a:gd name="T61" fmla="*/ 97 h 130"/>
                    <a:gd name="T62" fmla="*/ 25 w 138"/>
                    <a:gd name="T63" fmla="*/ 97 h 130"/>
                    <a:gd name="T64" fmla="*/ 0 w 138"/>
                    <a:gd name="T65" fmla="*/ 11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42" name="Freeform 250">
                  <a:extLst>
                    <a:ext uri="{FF2B5EF4-FFF2-40B4-BE49-F238E27FC236}">
                      <a16:creationId xmlns:a16="http://schemas.microsoft.com/office/drawing/2014/main" id="{03CABDAB-CD5E-5ABC-2F7C-B155D9B3F200}"/>
                    </a:ext>
                  </a:extLst>
                </p:cNvPr>
                <p:cNvSpPr>
                  <a:spLocks/>
                </p:cNvSpPr>
                <p:nvPr/>
              </p:nvSpPr>
              <p:spPr bwMode="gray">
                <a:xfrm>
                  <a:off x="7567032" y="4052677"/>
                  <a:ext cx="126143" cy="111475"/>
                </a:xfrm>
                <a:custGeom>
                  <a:avLst/>
                  <a:gdLst>
                    <a:gd name="T0" fmla="*/ 0 w 82"/>
                    <a:gd name="T1" fmla="*/ 56 h 74"/>
                    <a:gd name="T2" fmla="*/ 0 w 82"/>
                    <a:gd name="T3" fmla="*/ 73 h 74"/>
                    <a:gd name="T4" fmla="*/ 18 w 82"/>
                    <a:gd name="T5" fmla="*/ 65 h 74"/>
                    <a:gd name="T6" fmla="*/ 9 w 82"/>
                    <a:gd name="T7" fmla="*/ 65 h 74"/>
                    <a:gd name="T8" fmla="*/ 9 w 82"/>
                    <a:gd name="T9" fmla="*/ 56 h 74"/>
                    <a:gd name="T10" fmla="*/ 25 w 82"/>
                    <a:gd name="T11" fmla="*/ 56 h 74"/>
                    <a:gd name="T12" fmla="*/ 50 w 82"/>
                    <a:gd name="T13" fmla="*/ 65 h 74"/>
                    <a:gd name="T14" fmla="*/ 58 w 82"/>
                    <a:gd name="T15" fmla="*/ 50 h 74"/>
                    <a:gd name="T16" fmla="*/ 65 w 82"/>
                    <a:gd name="T17" fmla="*/ 50 h 74"/>
                    <a:gd name="T18" fmla="*/ 81 w 82"/>
                    <a:gd name="T19" fmla="*/ 41 h 74"/>
                    <a:gd name="T20" fmla="*/ 75 w 82"/>
                    <a:gd name="T21" fmla="*/ 41 h 74"/>
                    <a:gd name="T22" fmla="*/ 65 w 82"/>
                    <a:gd name="T23" fmla="*/ 31 h 74"/>
                    <a:gd name="T24" fmla="*/ 75 w 82"/>
                    <a:gd name="T25" fmla="*/ 25 h 74"/>
                    <a:gd name="T26" fmla="*/ 65 w 82"/>
                    <a:gd name="T27" fmla="*/ 31 h 74"/>
                    <a:gd name="T28" fmla="*/ 50 w 82"/>
                    <a:gd name="T29" fmla="*/ 25 h 74"/>
                    <a:gd name="T30" fmla="*/ 25 w 82"/>
                    <a:gd name="T31" fmla="*/ 0 h 74"/>
                    <a:gd name="T32" fmla="*/ 25 w 82"/>
                    <a:gd name="T33" fmla="*/ 9 h 74"/>
                    <a:gd name="T34" fmla="*/ 25 w 82"/>
                    <a:gd name="T35" fmla="*/ 16 h 74"/>
                    <a:gd name="T36" fmla="*/ 18 w 82"/>
                    <a:gd name="T37" fmla="*/ 50 h 74"/>
                    <a:gd name="T38" fmla="*/ 9 w 82"/>
                    <a:gd name="T39" fmla="*/ 41 h 74"/>
                    <a:gd name="T40" fmla="*/ 9 w 82"/>
                    <a:gd name="T41" fmla="*/ 50 h 74"/>
                    <a:gd name="T42" fmla="*/ 0 w 82"/>
                    <a:gd name="T43"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6350" cap="rnd" cmpd="sng">
                  <a:solidFill>
                    <a:srgbClr val="D0D0D0"/>
                  </a:solidFill>
                  <a:prstDash val="solid"/>
                  <a:round/>
                  <a:headEnd/>
                  <a:tailEnd/>
                </a:ln>
                <a:effectLst/>
              </p:spPr>
              <p:txBody>
                <a:bodyPr/>
                <a:lstStyle/>
                <a:p>
                  <a:endParaRPr lang="de-DE" dirty="0"/>
                </a:p>
              </p:txBody>
            </p:sp>
            <p:sp>
              <p:nvSpPr>
                <p:cNvPr id="543" name="Freeform 251">
                  <a:extLst>
                    <a:ext uri="{FF2B5EF4-FFF2-40B4-BE49-F238E27FC236}">
                      <a16:creationId xmlns:a16="http://schemas.microsoft.com/office/drawing/2014/main" id="{79DB0833-E3B4-4A4D-DD33-281CBF7A35ED}"/>
                    </a:ext>
                  </a:extLst>
                </p:cNvPr>
                <p:cNvSpPr>
                  <a:spLocks/>
                </p:cNvSpPr>
                <p:nvPr/>
              </p:nvSpPr>
              <p:spPr bwMode="gray">
                <a:xfrm>
                  <a:off x="7866944" y="3905732"/>
                  <a:ext cx="27031" cy="25335"/>
                </a:xfrm>
                <a:custGeom>
                  <a:avLst/>
                  <a:gdLst>
                    <a:gd name="T0" fmla="*/ 0 w 18"/>
                    <a:gd name="T1" fmla="*/ 8 h 17"/>
                    <a:gd name="T2" fmla="*/ 0 w 18"/>
                    <a:gd name="T3" fmla="*/ 16 h 17"/>
                    <a:gd name="T4" fmla="*/ 8 w 18"/>
                    <a:gd name="T5" fmla="*/ 8 h 17"/>
                    <a:gd name="T6" fmla="*/ 17 w 18"/>
                    <a:gd name="T7" fmla="*/ 0 h 17"/>
                    <a:gd name="T8" fmla="*/ 0 w 18"/>
                    <a:gd name="T9" fmla="*/ 8 h 17"/>
                  </a:gdLst>
                  <a:ahLst/>
                  <a:cxnLst>
                    <a:cxn ang="0">
                      <a:pos x="T0" y="T1"/>
                    </a:cxn>
                    <a:cxn ang="0">
                      <a:pos x="T2" y="T3"/>
                    </a:cxn>
                    <a:cxn ang="0">
                      <a:pos x="T4" y="T5"/>
                    </a:cxn>
                    <a:cxn ang="0">
                      <a:pos x="T6" y="T7"/>
                    </a:cxn>
                    <a:cxn ang="0">
                      <a:pos x="T8" y="T9"/>
                    </a:cxn>
                  </a:cxnLst>
                  <a:rect l="0" t="0" r="r" b="b"/>
                  <a:pathLst>
                    <a:path w="18" h="17">
                      <a:moveTo>
                        <a:pt x="0" y="8"/>
                      </a:moveTo>
                      <a:lnTo>
                        <a:pt x="0" y="16"/>
                      </a:lnTo>
                      <a:lnTo>
                        <a:pt x="8" y="8"/>
                      </a:lnTo>
                      <a:lnTo>
                        <a:pt x="17"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544" name="Freeform 252">
                  <a:extLst>
                    <a:ext uri="{FF2B5EF4-FFF2-40B4-BE49-F238E27FC236}">
                      <a16:creationId xmlns:a16="http://schemas.microsoft.com/office/drawing/2014/main" id="{8B41D466-B858-530B-109D-600367089F12}"/>
                    </a:ext>
                  </a:extLst>
                </p:cNvPr>
                <p:cNvSpPr>
                  <a:spLocks/>
                </p:cNvSpPr>
                <p:nvPr/>
              </p:nvSpPr>
              <p:spPr bwMode="gray">
                <a:xfrm>
                  <a:off x="7866944" y="3905732"/>
                  <a:ext cx="27031" cy="25335"/>
                </a:xfrm>
                <a:custGeom>
                  <a:avLst/>
                  <a:gdLst>
                    <a:gd name="T0" fmla="*/ 0 w 18"/>
                    <a:gd name="T1" fmla="*/ 8 h 17"/>
                    <a:gd name="T2" fmla="*/ 0 w 18"/>
                    <a:gd name="T3" fmla="*/ 16 h 17"/>
                    <a:gd name="T4" fmla="*/ 8 w 18"/>
                    <a:gd name="T5" fmla="*/ 8 h 17"/>
                    <a:gd name="T6" fmla="*/ 17 w 18"/>
                    <a:gd name="T7" fmla="*/ 0 h 17"/>
                    <a:gd name="T8" fmla="*/ 0 w 18"/>
                    <a:gd name="T9" fmla="*/ 8 h 17"/>
                  </a:gdLst>
                  <a:ahLst/>
                  <a:cxnLst>
                    <a:cxn ang="0">
                      <a:pos x="T0" y="T1"/>
                    </a:cxn>
                    <a:cxn ang="0">
                      <a:pos x="T2" y="T3"/>
                    </a:cxn>
                    <a:cxn ang="0">
                      <a:pos x="T4" y="T5"/>
                    </a:cxn>
                    <a:cxn ang="0">
                      <a:pos x="T6" y="T7"/>
                    </a:cxn>
                    <a:cxn ang="0">
                      <a:pos x="T8" y="T9"/>
                    </a:cxn>
                  </a:cxnLst>
                  <a:rect l="0" t="0" r="r" b="b"/>
                  <a:pathLst>
                    <a:path w="18" h="17">
                      <a:moveTo>
                        <a:pt x="0" y="8"/>
                      </a:moveTo>
                      <a:lnTo>
                        <a:pt x="0" y="16"/>
                      </a:lnTo>
                      <a:lnTo>
                        <a:pt x="8" y="8"/>
                      </a:lnTo>
                      <a:lnTo>
                        <a:pt x="17" y="0"/>
                      </a:lnTo>
                      <a:lnTo>
                        <a:pt x="0"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45" name="Freeform 253">
                  <a:extLst>
                    <a:ext uri="{FF2B5EF4-FFF2-40B4-BE49-F238E27FC236}">
                      <a16:creationId xmlns:a16="http://schemas.microsoft.com/office/drawing/2014/main" id="{323154B3-6EF3-59B2-6945-C213D7A5566D}"/>
                    </a:ext>
                  </a:extLst>
                </p:cNvPr>
                <p:cNvSpPr>
                  <a:spLocks/>
                </p:cNvSpPr>
                <p:nvPr/>
              </p:nvSpPr>
              <p:spPr bwMode="gray">
                <a:xfrm>
                  <a:off x="8030415" y="3624512"/>
                  <a:ext cx="25743" cy="25335"/>
                </a:xfrm>
                <a:custGeom>
                  <a:avLst/>
                  <a:gdLst>
                    <a:gd name="T0" fmla="*/ 0 w 17"/>
                    <a:gd name="T1" fmla="*/ 16 h 17"/>
                    <a:gd name="T2" fmla="*/ 16 w 17"/>
                    <a:gd name="T3" fmla="*/ 7 h 17"/>
                    <a:gd name="T4" fmla="*/ 16 w 17"/>
                    <a:gd name="T5" fmla="*/ 0 h 17"/>
                    <a:gd name="T6" fmla="*/ 1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7"/>
                      </a:lnTo>
                      <a:lnTo>
                        <a:pt x="16" y="0"/>
                      </a:lnTo>
                      <a:lnTo>
                        <a:pt x="10"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546" name="Freeform 254">
                  <a:extLst>
                    <a:ext uri="{FF2B5EF4-FFF2-40B4-BE49-F238E27FC236}">
                      <a16:creationId xmlns:a16="http://schemas.microsoft.com/office/drawing/2014/main" id="{0B2D5A14-D81B-51D4-4DC7-90E42EB2B8E6}"/>
                    </a:ext>
                  </a:extLst>
                </p:cNvPr>
                <p:cNvSpPr>
                  <a:spLocks/>
                </p:cNvSpPr>
                <p:nvPr/>
              </p:nvSpPr>
              <p:spPr bwMode="gray">
                <a:xfrm>
                  <a:off x="8030415" y="3624512"/>
                  <a:ext cx="25743" cy="25335"/>
                </a:xfrm>
                <a:custGeom>
                  <a:avLst/>
                  <a:gdLst>
                    <a:gd name="T0" fmla="*/ 0 w 17"/>
                    <a:gd name="T1" fmla="*/ 16 h 17"/>
                    <a:gd name="T2" fmla="*/ 16 w 17"/>
                    <a:gd name="T3" fmla="*/ 7 h 17"/>
                    <a:gd name="T4" fmla="*/ 16 w 17"/>
                    <a:gd name="T5" fmla="*/ 0 h 17"/>
                    <a:gd name="T6" fmla="*/ 1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7"/>
                      </a:lnTo>
                      <a:lnTo>
                        <a:pt x="16" y="0"/>
                      </a:lnTo>
                      <a:lnTo>
                        <a:pt x="10" y="0"/>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547" name="Freeform 255">
                  <a:extLst>
                    <a:ext uri="{FF2B5EF4-FFF2-40B4-BE49-F238E27FC236}">
                      <a16:creationId xmlns:a16="http://schemas.microsoft.com/office/drawing/2014/main" id="{102CB909-8EC7-9689-F733-F0CED0B86264}"/>
                    </a:ext>
                  </a:extLst>
                </p:cNvPr>
                <p:cNvSpPr>
                  <a:spLocks/>
                </p:cNvSpPr>
                <p:nvPr/>
              </p:nvSpPr>
              <p:spPr bwMode="gray">
                <a:xfrm>
                  <a:off x="7605647" y="3794257"/>
                  <a:ext cx="51487" cy="259686"/>
                </a:xfrm>
                <a:custGeom>
                  <a:avLst/>
                  <a:gdLst>
                    <a:gd name="T0" fmla="*/ 0 w 34"/>
                    <a:gd name="T1" fmla="*/ 18 h 172"/>
                    <a:gd name="T2" fmla="*/ 0 w 34"/>
                    <a:gd name="T3" fmla="*/ 59 h 172"/>
                    <a:gd name="T4" fmla="*/ 8 w 34"/>
                    <a:gd name="T5" fmla="*/ 65 h 172"/>
                    <a:gd name="T6" fmla="*/ 0 w 34"/>
                    <a:gd name="T7" fmla="*/ 115 h 172"/>
                    <a:gd name="T8" fmla="*/ 8 w 34"/>
                    <a:gd name="T9" fmla="*/ 131 h 172"/>
                    <a:gd name="T10" fmla="*/ 0 w 34"/>
                    <a:gd name="T11" fmla="*/ 155 h 172"/>
                    <a:gd name="T12" fmla="*/ 8 w 34"/>
                    <a:gd name="T13" fmla="*/ 171 h 172"/>
                    <a:gd name="T14" fmla="*/ 8 w 34"/>
                    <a:gd name="T15" fmla="*/ 155 h 172"/>
                    <a:gd name="T16" fmla="*/ 25 w 34"/>
                    <a:gd name="T17" fmla="*/ 162 h 172"/>
                    <a:gd name="T18" fmla="*/ 25 w 34"/>
                    <a:gd name="T19" fmla="*/ 155 h 172"/>
                    <a:gd name="T20" fmla="*/ 8 w 34"/>
                    <a:gd name="T21" fmla="*/ 131 h 172"/>
                    <a:gd name="T22" fmla="*/ 16 w 34"/>
                    <a:gd name="T23" fmla="*/ 107 h 172"/>
                    <a:gd name="T24" fmla="*/ 25 w 34"/>
                    <a:gd name="T25" fmla="*/ 107 h 172"/>
                    <a:gd name="T26" fmla="*/ 33 w 34"/>
                    <a:gd name="T27" fmla="*/ 107 h 172"/>
                    <a:gd name="T28" fmla="*/ 16 w 34"/>
                    <a:gd name="T29" fmla="*/ 50 h 172"/>
                    <a:gd name="T30" fmla="*/ 16 w 34"/>
                    <a:gd name="T31" fmla="*/ 10 h 172"/>
                    <a:gd name="T32" fmla="*/ 16 w 34"/>
                    <a:gd name="T33" fmla="*/ 0 h 172"/>
                    <a:gd name="T34" fmla="*/ 8 w 34"/>
                    <a:gd name="T35" fmla="*/ 0 h 172"/>
                    <a:gd name="T36" fmla="*/ 8 w 34"/>
                    <a:gd name="T37" fmla="*/ 10 h 172"/>
                    <a:gd name="T38" fmla="*/ 0 w 34"/>
                    <a:gd name="T39" fmla="*/ 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6350" cap="rnd" cmpd="sng">
                  <a:solidFill>
                    <a:srgbClr val="D0D0D0"/>
                  </a:solidFill>
                  <a:prstDash val="solid"/>
                  <a:round/>
                  <a:headEnd/>
                  <a:tailEnd/>
                </a:ln>
                <a:effectLst/>
              </p:spPr>
              <p:txBody>
                <a:bodyPr/>
                <a:lstStyle/>
                <a:p>
                  <a:endParaRPr lang="de-DE" dirty="0"/>
                </a:p>
              </p:txBody>
            </p:sp>
            <p:sp>
              <p:nvSpPr>
                <p:cNvPr id="548" name="Freeform 275">
                  <a:extLst>
                    <a:ext uri="{FF2B5EF4-FFF2-40B4-BE49-F238E27FC236}">
                      <a16:creationId xmlns:a16="http://schemas.microsoft.com/office/drawing/2014/main" id="{A6FC9486-C794-2E7D-BD55-0868A9E9AE56}"/>
                    </a:ext>
                  </a:extLst>
                </p:cNvPr>
                <p:cNvSpPr>
                  <a:spLocks/>
                </p:cNvSpPr>
                <p:nvPr/>
              </p:nvSpPr>
              <p:spPr bwMode="gray">
                <a:xfrm>
                  <a:off x="7043153" y="5253565"/>
                  <a:ext cx="801909" cy="614378"/>
                </a:xfrm>
                <a:custGeom>
                  <a:avLst/>
                  <a:gdLst>
                    <a:gd name="T0" fmla="*/ 48 w 521"/>
                    <a:gd name="T1" fmla="*/ 342 h 406"/>
                    <a:gd name="T2" fmla="*/ 89 w 521"/>
                    <a:gd name="T3" fmla="*/ 317 h 406"/>
                    <a:gd name="T4" fmla="*/ 138 w 521"/>
                    <a:gd name="T5" fmla="*/ 308 h 406"/>
                    <a:gd name="T6" fmla="*/ 234 w 521"/>
                    <a:gd name="T7" fmla="*/ 283 h 406"/>
                    <a:gd name="T8" fmla="*/ 268 w 521"/>
                    <a:gd name="T9" fmla="*/ 308 h 406"/>
                    <a:gd name="T10" fmla="*/ 293 w 521"/>
                    <a:gd name="T11" fmla="*/ 342 h 406"/>
                    <a:gd name="T12" fmla="*/ 316 w 521"/>
                    <a:gd name="T13" fmla="*/ 317 h 406"/>
                    <a:gd name="T14" fmla="*/ 316 w 521"/>
                    <a:gd name="T15" fmla="*/ 342 h 406"/>
                    <a:gd name="T16" fmla="*/ 325 w 521"/>
                    <a:gd name="T17" fmla="*/ 342 h 406"/>
                    <a:gd name="T18" fmla="*/ 333 w 521"/>
                    <a:gd name="T19" fmla="*/ 348 h 406"/>
                    <a:gd name="T20" fmla="*/ 340 w 521"/>
                    <a:gd name="T21" fmla="*/ 373 h 406"/>
                    <a:gd name="T22" fmla="*/ 365 w 521"/>
                    <a:gd name="T23" fmla="*/ 389 h 406"/>
                    <a:gd name="T24" fmla="*/ 390 w 521"/>
                    <a:gd name="T25" fmla="*/ 398 h 406"/>
                    <a:gd name="T26" fmla="*/ 405 w 521"/>
                    <a:gd name="T27" fmla="*/ 389 h 406"/>
                    <a:gd name="T28" fmla="*/ 415 w 521"/>
                    <a:gd name="T29" fmla="*/ 398 h 406"/>
                    <a:gd name="T30" fmla="*/ 446 w 521"/>
                    <a:gd name="T31" fmla="*/ 382 h 406"/>
                    <a:gd name="T32" fmla="*/ 480 w 521"/>
                    <a:gd name="T33" fmla="*/ 348 h 406"/>
                    <a:gd name="T34" fmla="*/ 520 w 521"/>
                    <a:gd name="T35" fmla="*/ 243 h 406"/>
                    <a:gd name="T36" fmla="*/ 495 w 521"/>
                    <a:gd name="T37" fmla="*/ 180 h 406"/>
                    <a:gd name="T38" fmla="*/ 480 w 521"/>
                    <a:gd name="T39" fmla="*/ 156 h 406"/>
                    <a:gd name="T40" fmla="*/ 470 w 521"/>
                    <a:gd name="T41" fmla="*/ 156 h 406"/>
                    <a:gd name="T42" fmla="*/ 430 w 521"/>
                    <a:gd name="T43" fmla="*/ 106 h 406"/>
                    <a:gd name="T44" fmla="*/ 415 w 521"/>
                    <a:gd name="T45" fmla="*/ 74 h 406"/>
                    <a:gd name="T46" fmla="*/ 405 w 521"/>
                    <a:gd name="T47" fmla="*/ 49 h 406"/>
                    <a:gd name="T48" fmla="*/ 381 w 521"/>
                    <a:gd name="T49" fmla="*/ 0 h 406"/>
                    <a:gd name="T50" fmla="*/ 365 w 521"/>
                    <a:gd name="T51" fmla="*/ 17 h 406"/>
                    <a:gd name="T52" fmla="*/ 358 w 521"/>
                    <a:gd name="T53" fmla="*/ 90 h 406"/>
                    <a:gd name="T54" fmla="*/ 308 w 521"/>
                    <a:gd name="T55" fmla="*/ 66 h 406"/>
                    <a:gd name="T56" fmla="*/ 300 w 521"/>
                    <a:gd name="T57" fmla="*/ 57 h 406"/>
                    <a:gd name="T58" fmla="*/ 293 w 521"/>
                    <a:gd name="T59" fmla="*/ 34 h 406"/>
                    <a:gd name="T60" fmla="*/ 308 w 521"/>
                    <a:gd name="T61" fmla="*/ 17 h 406"/>
                    <a:gd name="T62" fmla="*/ 293 w 521"/>
                    <a:gd name="T63" fmla="*/ 25 h 406"/>
                    <a:gd name="T64" fmla="*/ 284 w 521"/>
                    <a:gd name="T65" fmla="*/ 17 h 406"/>
                    <a:gd name="T66" fmla="*/ 253 w 521"/>
                    <a:gd name="T67" fmla="*/ 17 h 406"/>
                    <a:gd name="T68" fmla="*/ 228 w 521"/>
                    <a:gd name="T69" fmla="*/ 17 h 406"/>
                    <a:gd name="T70" fmla="*/ 219 w 521"/>
                    <a:gd name="T71" fmla="*/ 34 h 406"/>
                    <a:gd name="T72" fmla="*/ 212 w 521"/>
                    <a:gd name="T73" fmla="*/ 49 h 406"/>
                    <a:gd name="T74" fmla="*/ 194 w 521"/>
                    <a:gd name="T75" fmla="*/ 49 h 406"/>
                    <a:gd name="T76" fmla="*/ 194 w 521"/>
                    <a:gd name="T77" fmla="*/ 49 h 406"/>
                    <a:gd name="T78" fmla="*/ 179 w 521"/>
                    <a:gd name="T79" fmla="*/ 41 h 406"/>
                    <a:gd name="T80" fmla="*/ 154 w 521"/>
                    <a:gd name="T81" fmla="*/ 49 h 406"/>
                    <a:gd name="T82" fmla="*/ 138 w 521"/>
                    <a:gd name="T83" fmla="*/ 74 h 406"/>
                    <a:gd name="T84" fmla="*/ 138 w 521"/>
                    <a:gd name="T85" fmla="*/ 81 h 406"/>
                    <a:gd name="T86" fmla="*/ 129 w 521"/>
                    <a:gd name="T87" fmla="*/ 74 h 406"/>
                    <a:gd name="T88" fmla="*/ 122 w 521"/>
                    <a:gd name="T89" fmla="*/ 97 h 406"/>
                    <a:gd name="T90" fmla="*/ 41 w 521"/>
                    <a:gd name="T91" fmla="*/ 131 h 406"/>
                    <a:gd name="T92" fmla="*/ 8 w 521"/>
                    <a:gd name="T93" fmla="*/ 146 h 406"/>
                    <a:gd name="T94" fmla="*/ 8 w 521"/>
                    <a:gd name="T95" fmla="*/ 171 h 406"/>
                    <a:gd name="T96" fmla="*/ 17 w 521"/>
                    <a:gd name="T97" fmla="*/ 211 h 406"/>
                    <a:gd name="T98" fmla="*/ 8 w 521"/>
                    <a:gd name="T99" fmla="*/ 211 h 406"/>
                    <a:gd name="T100" fmla="*/ 23 w 521"/>
                    <a:gd name="T101" fmla="*/ 251 h 406"/>
                    <a:gd name="T102" fmla="*/ 32 w 521"/>
                    <a:gd name="T103" fmla="*/ 308 h 406"/>
                    <a:gd name="T104" fmla="*/ 23 w 521"/>
                    <a:gd name="T105" fmla="*/ 324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49" name="Freeform 276">
                  <a:extLst>
                    <a:ext uri="{FF2B5EF4-FFF2-40B4-BE49-F238E27FC236}">
                      <a16:creationId xmlns:a16="http://schemas.microsoft.com/office/drawing/2014/main" id="{2CCB7BB5-7A29-C971-D2A4-F29EA12200BD}"/>
                    </a:ext>
                  </a:extLst>
                </p:cNvPr>
                <p:cNvSpPr>
                  <a:spLocks/>
                </p:cNvSpPr>
                <p:nvPr/>
              </p:nvSpPr>
              <p:spPr bwMode="gray">
                <a:xfrm>
                  <a:off x="7380393" y="5267498"/>
                  <a:ext cx="25743" cy="25335"/>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0" name="Freeform 277">
                  <a:extLst>
                    <a:ext uri="{FF2B5EF4-FFF2-40B4-BE49-F238E27FC236}">
                      <a16:creationId xmlns:a16="http://schemas.microsoft.com/office/drawing/2014/main" id="{8EC3B9F0-F8AB-08B8-6E41-4657249B3608}"/>
                    </a:ext>
                  </a:extLst>
                </p:cNvPr>
                <p:cNvSpPr>
                  <a:spLocks/>
                </p:cNvSpPr>
                <p:nvPr/>
              </p:nvSpPr>
              <p:spPr bwMode="gray">
                <a:xfrm>
                  <a:off x="7380393" y="5267498"/>
                  <a:ext cx="25743" cy="25335"/>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1" name="Freeform 278">
                  <a:extLst>
                    <a:ext uri="{FF2B5EF4-FFF2-40B4-BE49-F238E27FC236}">
                      <a16:creationId xmlns:a16="http://schemas.microsoft.com/office/drawing/2014/main" id="{83DF329E-E7C6-EBAE-7006-6B010FC4591E}"/>
                    </a:ext>
                  </a:extLst>
                </p:cNvPr>
                <p:cNvSpPr>
                  <a:spLocks/>
                </p:cNvSpPr>
                <p:nvPr/>
              </p:nvSpPr>
              <p:spPr bwMode="gray">
                <a:xfrm>
                  <a:off x="7505248" y="5780536"/>
                  <a:ext cx="25743" cy="25335"/>
                </a:xfrm>
                <a:custGeom>
                  <a:avLst/>
                  <a:gdLst>
                    <a:gd name="T0" fmla="*/ 0 w 17"/>
                    <a:gd name="T1" fmla="*/ 0 h 17"/>
                    <a:gd name="T2" fmla="*/ 16 w 17"/>
                    <a:gd name="T3" fmla="*/ 16 h 17"/>
                    <a:gd name="T4" fmla="*/ 16 w 17"/>
                    <a:gd name="T5" fmla="*/ 0 h 17"/>
                    <a:gd name="T6" fmla="*/ 8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0"/>
                      </a:lnTo>
                      <a:lnTo>
                        <a:pt x="8"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2" name="Freeform 279">
                  <a:extLst>
                    <a:ext uri="{FF2B5EF4-FFF2-40B4-BE49-F238E27FC236}">
                      <a16:creationId xmlns:a16="http://schemas.microsoft.com/office/drawing/2014/main" id="{52B60FC7-85F1-0F39-59FF-3158BB9F815D}"/>
                    </a:ext>
                  </a:extLst>
                </p:cNvPr>
                <p:cNvSpPr>
                  <a:spLocks/>
                </p:cNvSpPr>
                <p:nvPr/>
              </p:nvSpPr>
              <p:spPr bwMode="gray">
                <a:xfrm>
                  <a:off x="7505248" y="5780536"/>
                  <a:ext cx="25743" cy="25335"/>
                </a:xfrm>
                <a:custGeom>
                  <a:avLst/>
                  <a:gdLst>
                    <a:gd name="T0" fmla="*/ 0 w 17"/>
                    <a:gd name="T1" fmla="*/ 0 h 17"/>
                    <a:gd name="T2" fmla="*/ 16 w 17"/>
                    <a:gd name="T3" fmla="*/ 16 h 17"/>
                    <a:gd name="T4" fmla="*/ 16 w 17"/>
                    <a:gd name="T5" fmla="*/ 0 h 17"/>
                    <a:gd name="T6" fmla="*/ 8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0"/>
                      </a:lnTo>
                      <a:lnTo>
                        <a:pt x="8" y="0"/>
                      </a:lnTo>
                      <a:lnTo>
                        <a:pt x="0"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3" name="Freeform 280">
                  <a:extLst>
                    <a:ext uri="{FF2B5EF4-FFF2-40B4-BE49-F238E27FC236}">
                      <a16:creationId xmlns:a16="http://schemas.microsoft.com/office/drawing/2014/main" id="{6913631F-E6F8-FD18-6F89-94830EC3AE67}"/>
                    </a:ext>
                  </a:extLst>
                </p:cNvPr>
                <p:cNvSpPr>
                  <a:spLocks/>
                </p:cNvSpPr>
                <p:nvPr/>
              </p:nvSpPr>
              <p:spPr bwMode="gray">
                <a:xfrm>
                  <a:off x="7667432" y="5904678"/>
                  <a:ext cx="77230" cy="76006"/>
                </a:xfrm>
                <a:custGeom>
                  <a:avLst/>
                  <a:gdLst>
                    <a:gd name="T0" fmla="*/ 0 w 51"/>
                    <a:gd name="T1" fmla="*/ 0 h 50"/>
                    <a:gd name="T2" fmla="*/ 10 w 51"/>
                    <a:gd name="T3" fmla="*/ 40 h 50"/>
                    <a:gd name="T4" fmla="*/ 25 w 51"/>
                    <a:gd name="T5" fmla="*/ 49 h 50"/>
                    <a:gd name="T6" fmla="*/ 34 w 51"/>
                    <a:gd name="T7" fmla="*/ 33 h 50"/>
                    <a:gd name="T8" fmla="*/ 41 w 51"/>
                    <a:gd name="T9" fmla="*/ 40 h 50"/>
                    <a:gd name="T10" fmla="*/ 50 w 51"/>
                    <a:gd name="T11" fmla="*/ 0 h 50"/>
                    <a:gd name="T12" fmla="*/ 41 w 51"/>
                    <a:gd name="T13" fmla="*/ 0 h 50"/>
                    <a:gd name="T14" fmla="*/ 16 w 51"/>
                    <a:gd name="T15" fmla="*/ 8 h 50"/>
                    <a:gd name="T16" fmla="*/ 0 w 51"/>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4" name="Freeform 281">
                  <a:extLst>
                    <a:ext uri="{FF2B5EF4-FFF2-40B4-BE49-F238E27FC236}">
                      <a16:creationId xmlns:a16="http://schemas.microsoft.com/office/drawing/2014/main" id="{714A0EB4-8DB8-FABD-4DA4-EB1A5697AF67}"/>
                    </a:ext>
                  </a:extLst>
                </p:cNvPr>
                <p:cNvSpPr>
                  <a:spLocks/>
                </p:cNvSpPr>
                <p:nvPr/>
              </p:nvSpPr>
              <p:spPr bwMode="gray">
                <a:xfrm>
                  <a:off x="8217055" y="5757734"/>
                  <a:ext cx="113271" cy="173546"/>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5" name="Freeform 282">
                  <a:extLst>
                    <a:ext uri="{FF2B5EF4-FFF2-40B4-BE49-F238E27FC236}">
                      <a16:creationId xmlns:a16="http://schemas.microsoft.com/office/drawing/2014/main" id="{89B7DCB8-2505-75D4-BC7D-77BFD37CD638}"/>
                    </a:ext>
                  </a:extLst>
                </p:cNvPr>
                <p:cNvSpPr>
                  <a:spLocks/>
                </p:cNvSpPr>
                <p:nvPr/>
              </p:nvSpPr>
              <p:spPr bwMode="gray">
                <a:xfrm>
                  <a:off x="8217055" y="5757734"/>
                  <a:ext cx="113271" cy="173546"/>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6" name="Freeform 283">
                  <a:extLst>
                    <a:ext uri="{FF2B5EF4-FFF2-40B4-BE49-F238E27FC236}">
                      <a16:creationId xmlns:a16="http://schemas.microsoft.com/office/drawing/2014/main" id="{8FDDF78B-D0A2-9694-F5CE-175C503D5710}"/>
                    </a:ext>
                  </a:extLst>
                </p:cNvPr>
                <p:cNvSpPr>
                  <a:spLocks/>
                </p:cNvSpPr>
                <p:nvPr/>
              </p:nvSpPr>
              <p:spPr bwMode="gray">
                <a:xfrm>
                  <a:off x="8093487" y="5904678"/>
                  <a:ext cx="164758" cy="160879"/>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7" name="Freeform 284">
                  <a:extLst>
                    <a:ext uri="{FF2B5EF4-FFF2-40B4-BE49-F238E27FC236}">
                      <a16:creationId xmlns:a16="http://schemas.microsoft.com/office/drawing/2014/main" id="{87CF74C5-3CAF-BDDF-8D15-92B8D72B7837}"/>
                    </a:ext>
                  </a:extLst>
                </p:cNvPr>
                <p:cNvSpPr>
                  <a:spLocks/>
                </p:cNvSpPr>
                <p:nvPr/>
              </p:nvSpPr>
              <p:spPr bwMode="gray">
                <a:xfrm>
                  <a:off x="8093487" y="5904678"/>
                  <a:ext cx="164758" cy="160879"/>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8" name="Freeform 285">
                  <a:extLst>
                    <a:ext uri="{FF2B5EF4-FFF2-40B4-BE49-F238E27FC236}">
                      <a16:creationId xmlns:a16="http://schemas.microsoft.com/office/drawing/2014/main" id="{E612262A-9568-A8CE-ED1F-E82100C7A4C6}"/>
                    </a:ext>
                  </a:extLst>
                </p:cNvPr>
                <p:cNvSpPr>
                  <a:spLocks/>
                </p:cNvSpPr>
                <p:nvPr/>
              </p:nvSpPr>
              <p:spPr bwMode="gray">
                <a:xfrm>
                  <a:off x="6693041" y="4936874"/>
                  <a:ext cx="214958" cy="219149"/>
                </a:xfrm>
                <a:custGeom>
                  <a:avLst/>
                  <a:gdLst>
                    <a:gd name="T0" fmla="*/ 0 w 140"/>
                    <a:gd name="T1" fmla="*/ 0 h 145"/>
                    <a:gd name="T2" fmla="*/ 0 w 140"/>
                    <a:gd name="T3" fmla="*/ 7 h 145"/>
                    <a:gd name="T4" fmla="*/ 18 w 140"/>
                    <a:gd name="T5" fmla="*/ 23 h 145"/>
                    <a:gd name="T6" fmla="*/ 33 w 140"/>
                    <a:gd name="T7" fmla="*/ 41 h 145"/>
                    <a:gd name="T8" fmla="*/ 42 w 140"/>
                    <a:gd name="T9" fmla="*/ 47 h 145"/>
                    <a:gd name="T10" fmla="*/ 49 w 140"/>
                    <a:gd name="T11" fmla="*/ 64 h 145"/>
                    <a:gd name="T12" fmla="*/ 65 w 140"/>
                    <a:gd name="T13" fmla="*/ 81 h 145"/>
                    <a:gd name="T14" fmla="*/ 83 w 140"/>
                    <a:gd name="T15" fmla="*/ 113 h 145"/>
                    <a:gd name="T16" fmla="*/ 114 w 140"/>
                    <a:gd name="T17" fmla="*/ 144 h 145"/>
                    <a:gd name="T18" fmla="*/ 130 w 140"/>
                    <a:gd name="T19" fmla="*/ 144 h 145"/>
                    <a:gd name="T20" fmla="*/ 139 w 140"/>
                    <a:gd name="T21" fmla="*/ 113 h 145"/>
                    <a:gd name="T22" fmla="*/ 130 w 140"/>
                    <a:gd name="T23" fmla="*/ 97 h 145"/>
                    <a:gd name="T24" fmla="*/ 123 w 140"/>
                    <a:gd name="T25" fmla="*/ 97 h 145"/>
                    <a:gd name="T26" fmla="*/ 114 w 140"/>
                    <a:gd name="T27" fmla="*/ 81 h 145"/>
                    <a:gd name="T28" fmla="*/ 108 w 140"/>
                    <a:gd name="T29" fmla="*/ 81 h 145"/>
                    <a:gd name="T30" fmla="*/ 108 w 140"/>
                    <a:gd name="T31" fmla="*/ 72 h 145"/>
                    <a:gd name="T32" fmla="*/ 98 w 140"/>
                    <a:gd name="T33" fmla="*/ 64 h 145"/>
                    <a:gd name="T34" fmla="*/ 98 w 140"/>
                    <a:gd name="T35" fmla="*/ 56 h 145"/>
                    <a:gd name="T36" fmla="*/ 74 w 140"/>
                    <a:gd name="T37" fmla="*/ 41 h 145"/>
                    <a:gd name="T38" fmla="*/ 65 w 140"/>
                    <a:gd name="T39" fmla="*/ 41 h 145"/>
                    <a:gd name="T40" fmla="*/ 24 w 140"/>
                    <a:gd name="T41" fmla="*/ 7 h 145"/>
                    <a:gd name="T42" fmla="*/ 0 w 140"/>
                    <a:gd name="T4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59" name="Freeform 286">
                  <a:extLst>
                    <a:ext uri="{FF2B5EF4-FFF2-40B4-BE49-F238E27FC236}">
                      <a16:creationId xmlns:a16="http://schemas.microsoft.com/office/drawing/2014/main" id="{B7525030-9C83-B081-804F-2D57C8080E9F}"/>
                    </a:ext>
                  </a:extLst>
                </p:cNvPr>
                <p:cNvSpPr>
                  <a:spLocks/>
                </p:cNvSpPr>
                <p:nvPr/>
              </p:nvSpPr>
              <p:spPr bwMode="gray">
                <a:xfrm>
                  <a:off x="6892554" y="5154757"/>
                  <a:ext cx="178917" cy="53203"/>
                </a:xfrm>
                <a:custGeom>
                  <a:avLst/>
                  <a:gdLst>
                    <a:gd name="T0" fmla="*/ 0 w 116"/>
                    <a:gd name="T1" fmla="*/ 9 h 35"/>
                    <a:gd name="T2" fmla="*/ 33 w 116"/>
                    <a:gd name="T3" fmla="*/ 25 h 35"/>
                    <a:gd name="T4" fmla="*/ 115 w 116"/>
                    <a:gd name="T5" fmla="*/ 34 h 35"/>
                    <a:gd name="T6" fmla="*/ 115 w 116"/>
                    <a:gd name="T7" fmla="*/ 25 h 35"/>
                    <a:gd name="T8" fmla="*/ 98 w 116"/>
                    <a:gd name="T9" fmla="*/ 25 h 35"/>
                    <a:gd name="T10" fmla="*/ 90 w 116"/>
                    <a:gd name="T11" fmla="*/ 17 h 35"/>
                    <a:gd name="T12" fmla="*/ 65 w 116"/>
                    <a:gd name="T13" fmla="*/ 9 h 35"/>
                    <a:gd name="T14" fmla="*/ 65 w 116"/>
                    <a:gd name="T15" fmla="*/ 17 h 35"/>
                    <a:gd name="T16" fmla="*/ 50 w 116"/>
                    <a:gd name="T17" fmla="*/ 9 h 35"/>
                    <a:gd name="T18" fmla="*/ 25 w 116"/>
                    <a:gd name="T19" fmla="*/ 0 h 35"/>
                    <a:gd name="T20" fmla="*/ 9 w 116"/>
                    <a:gd name="T21" fmla="*/ 0 h 35"/>
                    <a:gd name="T22" fmla="*/ 0 w 116"/>
                    <a:gd name="T23"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0" name="Freeform 287">
                  <a:extLst>
                    <a:ext uri="{FF2B5EF4-FFF2-40B4-BE49-F238E27FC236}">
                      <a16:creationId xmlns:a16="http://schemas.microsoft.com/office/drawing/2014/main" id="{83D762BC-A36F-3C7C-25B3-DA6A03FC471F}"/>
                    </a:ext>
                  </a:extLst>
                </p:cNvPr>
                <p:cNvSpPr>
                  <a:spLocks/>
                </p:cNvSpPr>
                <p:nvPr/>
              </p:nvSpPr>
              <p:spPr bwMode="gray">
                <a:xfrm>
                  <a:off x="7070184" y="5206694"/>
                  <a:ext cx="25743" cy="1267"/>
                </a:xfrm>
                <a:custGeom>
                  <a:avLst/>
                  <a:gdLst>
                    <a:gd name="T0" fmla="*/ 0 w 17"/>
                    <a:gd name="T1" fmla="*/ 0 h 1"/>
                    <a:gd name="T2" fmla="*/ 6 w 17"/>
                    <a:gd name="T3" fmla="*/ 0 h 1"/>
                    <a:gd name="T4" fmla="*/ 16 w 17"/>
                    <a:gd name="T5" fmla="*/ 0 h 1"/>
                    <a:gd name="T6" fmla="*/ 0 w 17"/>
                    <a:gd name="T7" fmla="*/ 0 h 1"/>
                  </a:gdLst>
                  <a:ahLst/>
                  <a:cxnLst>
                    <a:cxn ang="0">
                      <a:pos x="T0" y="T1"/>
                    </a:cxn>
                    <a:cxn ang="0">
                      <a:pos x="T2" y="T3"/>
                    </a:cxn>
                    <a:cxn ang="0">
                      <a:pos x="T4" y="T5"/>
                    </a:cxn>
                    <a:cxn ang="0">
                      <a:pos x="T6" y="T7"/>
                    </a:cxn>
                  </a:cxnLst>
                  <a:rect l="0" t="0" r="r" b="b"/>
                  <a:pathLst>
                    <a:path w="17" h="1">
                      <a:moveTo>
                        <a:pt x="0" y="0"/>
                      </a:moveTo>
                      <a:lnTo>
                        <a:pt x="6" y="0"/>
                      </a:lnTo>
                      <a:lnTo>
                        <a:pt x="16"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1" name="Freeform 288">
                  <a:extLst>
                    <a:ext uri="{FF2B5EF4-FFF2-40B4-BE49-F238E27FC236}">
                      <a16:creationId xmlns:a16="http://schemas.microsoft.com/office/drawing/2014/main" id="{2D50987A-AC2F-8B52-5C32-D15DDC55CC45}"/>
                    </a:ext>
                  </a:extLst>
                </p:cNvPr>
                <p:cNvSpPr>
                  <a:spLocks/>
                </p:cNvSpPr>
                <p:nvPr/>
              </p:nvSpPr>
              <p:spPr bwMode="gray">
                <a:xfrm>
                  <a:off x="7106225" y="5206694"/>
                  <a:ext cx="151886" cy="25335"/>
                </a:xfrm>
                <a:custGeom>
                  <a:avLst/>
                  <a:gdLst>
                    <a:gd name="T0" fmla="*/ 0 w 98"/>
                    <a:gd name="T1" fmla="*/ 16 h 17"/>
                    <a:gd name="T2" fmla="*/ 7 w 98"/>
                    <a:gd name="T3" fmla="*/ 16 h 17"/>
                    <a:gd name="T4" fmla="*/ 41 w 98"/>
                    <a:gd name="T5" fmla="*/ 0 h 17"/>
                    <a:gd name="T6" fmla="*/ 73 w 98"/>
                    <a:gd name="T7" fmla="*/ 16 h 17"/>
                    <a:gd name="T8" fmla="*/ 97 w 98"/>
                    <a:gd name="T9" fmla="*/ 0 h 17"/>
                    <a:gd name="T10" fmla="*/ 81 w 98"/>
                    <a:gd name="T11" fmla="*/ 0 h 17"/>
                    <a:gd name="T12" fmla="*/ 56 w 98"/>
                    <a:gd name="T13" fmla="*/ 0 h 17"/>
                    <a:gd name="T14" fmla="*/ 41 w 98"/>
                    <a:gd name="T15" fmla="*/ 0 h 17"/>
                    <a:gd name="T16" fmla="*/ 16 w 98"/>
                    <a:gd name="T17" fmla="*/ 0 h 17"/>
                    <a:gd name="T18" fmla="*/ 23 w 98"/>
                    <a:gd name="T19" fmla="*/ 0 h 17"/>
                    <a:gd name="T20" fmla="*/ 0 w 98"/>
                    <a:gd name="T21" fmla="*/ 0 h 17"/>
                    <a:gd name="T22" fmla="*/ 0 w 98"/>
                    <a:gd name="T2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2" name="Freeform 289">
                  <a:extLst>
                    <a:ext uri="{FF2B5EF4-FFF2-40B4-BE49-F238E27FC236}">
                      <a16:creationId xmlns:a16="http://schemas.microsoft.com/office/drawing/2014/main" id="{A276CEEB-047A-F178-64E2-F0C6BB6DBE67}"/>
                    </a:ext>
                  </a:extLst>
                </p:cNvPr>
                <p:cNvSpPr>
                  <a:spLocks/>
                </p:cNvSpPr>
                <p:nvPr/>
              </p:nvSpPr>
              <p:spPr bwMode="gray">
                <a:xfrm>
                  <a:off x="7153850" y="5230763"/>
                  <a:ext cx="41189" cy="25335"/>
                </a:xfrm>
                <a:custGeom>
                  <a:avLst/>
                  <a:gdLst>
                    <a:gd name="T0" fmla="*/ 0 w 26"/>
                    <a:gd name="T1" fmla="*/ 0 h 17"/>
                    <a:gd name="T2" fmla="*/ 17 w 26"/>
                    <a:gd name="T3" fmla="*/ 16 h 17"/>
                    <a:gd name="T4" fmla="*/ 25 w 26"/>
                    <a:gd name="T5" fmla="*/ 16 h 17"/>
                    <a:gd name="T6" fmla="*/ 17 w 26"/>
                    <a:gd name="T7" fmla="*/ 0 h 17"/>
                    <a:gd name="T8" fmla="*/ 0 w 26"/>
                    <a:gd name="T9" fmla="*/ 0 h 17"/>
                  </a:gdLst>
                  <a:ahLst/>
                  <a:cxnLst>
                    <a:cxn ang="0">
                      <a:pos x="T0" y="T1"/>
                    </a:cxn>
                    <a:cxn ang="0">
                      <a:pos x="T2" y="T3"/>
                    </a:cxn>
                    <a:cxn ang="0">
                      <a:pos x="T4" y="T5"/>
                    </a:cxn>
                    <a:cxn ang="0">
                      <a:pos x="T6" y="T7"/>
                    </a:cxn>
                    <a:cxn ang="0">
                      <a:pos x="T8" y="T9"/>
                    </a:cxn>
                  </a:cxnLst>
                  <a:rect l="0" t="0" r="r" b="b"/>
                  <a:pathLst>
                    <a:path w="26" h="17">
                      <a:moveTo>
                        <a:pt x="0" y="0"/>
                      </a:moveTo>
                      <a:lnTo>
                        <a:pt x="17" y="16"/>
                      </a:lnTo>
                      <a:lnTo>
                        <a:pt x="25" y="16"/>
                      </a:lnTo>
                      <a:lnTo>
                        <a:pt x="17"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3" name="Freeform 290">
                  <a:extLst>
                    <a:ext uri="{FF2B5EF4-FFF2-40B4-BE49-F238E27FC236}">
                      <a16:creationId xmlns:a16="http://schemas.microsoft.com/office/drawing/2014/main" id="{087EF479-18AD-C8C0-1136-E988A26B696D}"/>
                    </a:ext>
                  </a:extLst>
                </p:cNvPr>
                <p:cNvSpPr>
                  <a:spLocks/>
                </p:cNvSpPr>
                <p:nvPr/>
              </p:nvSpPr>
              <p:spPr bwMode="gray">
                <a:xfrm>
                  <a:off x="7242665" y="5206694"/>
                  <a:ext cx="78517" cy="39270"/>
                </a:xfrm>
                <a:custGeom>
                  <a:avLst/>
                  <a:gdLst>
                    <a:gd name="T0" fmla="*/ 0 w 51"/>
                    <a:gd name="T1" fmla="*/ 25 h 26"/>
                    <a:gd name="T2" fmla="*/ 18 w 51"/>
                    <a:gd name="T3" fmla="*/ 25 h 26"/>
                    <a:gd name="T4" fmla="*/ 50 w 51"/>
                    <a:gd name="T5" fmla="*/ 0 h 26"/>
                    <a:gd name="T6" fmla="*/ 25 w 51"/>
                    <a:gd name="T7" fmla="*/ 0 h 26"/>
                    <a:gd name="T8" fmla="*/ 9 w 51"/>
                    <a:gd name="T9" fmla="*/ 16 h 26"/>
                    <a:gd name="T10" fmla="*/ 0 w 51"/>
                    <a:gd name="T11" fmla="*/ 25 h 26"/>
                  </a:gdLst>
                  <a:ahLst/>
                  <a:cxnLst>
                    <a:cxn ang="0">
                      <a:pos x="T0" y="T1"/>
                    </a:cxn>
                    <a:cxn ang="0">
                      <a:pos x="T2" y="T3"/>
                    </a:cxn>
                    <a:cxn ang="0">
                      <a:pos x="T4" y="T5"/>
                    </a:cxn>
                    <a:cxn ang="0">
                      <a:pos x="T6" y="T7"/>
                    </a:cxn>
                    <a:cxn ang="0">
                      <a:pos x="T8" y="T9"/>
                    </a:cxn>
                    <a:cxn ang="0">
                      <a:pos x="T10" y="T11"/>
                    </a:cxn>
                  </a:cxnLst>
                  <a:rect l="0" t="0" r="r" b="b"/>
                  <a:pathLst>
                    <a:path w="51" h="26">
                      <a:moveTo>
                        <a:pt x="0" y="25"/>
                      </a:moveTo>
                      <a:lnTo>
                        <a:pt x="18" y="25"/>
                      </a:lnTo>
                      <a:lnTo>
                        <a:pt x="50" y="0"/>
                      </a:lnTo>
                      <a:lnTo>
                        <a:pt x="25" y="0"/>
                      </a:lnTo>
                      <a:lnTo>
                        <a:pt x="9" y="16"/>
                      </a:lnTo>
                      <a:lnTo>
                        <a:pt x="0"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4" name="Freeform 291">
                  <a:extLst>
                    <a:ext uri="{FF2B5EF4-FFF2-40B4-BE49-F238E27FC236}">
                      <a16:creationId xmlns:a16="http://schemas.microsoft.com/office/drawing/2014/main" id="{CE99468C-E692-4E39-22CF-2932395E1AFF}"/>
                    </a:ext>
                  </a:extLst>
                </p:cNvPr>
                <p:cNvSpPr>
                  <a:spLocks/>
                </p:cNvSpPr>
                <p:nvPr/>
              </p:nvSpPr>
              <p:spPr bwMode="gray">
                <a:xfrm>
                  <a:off x="7456336" y="5144623"/>
                  <a:ext cx="25743" cy="38002"/>
                </a:xfrm>
                <a:custGeom>
                  <a:avLst/>
                  <a:gdLst>
                    <a:gd name="T0" fmla="*/ 0 w 17"/>
                    <a:gd name="T1" fmla="*/ 24 h 25"/>
                    <a:gd name="T2" fmla="*/ 16 w 17"/>
                    <a:gd name="T3" fmla="*/ 7 h 25"/>
                    <a:gd name="T4" fmla="*/ 16 w 17"/>
                    <a:gd name="T5" fmla="*/ 0 h 25"/>
                    <a:gd name="T6" fmla="*/ 0 w 17"/>
                    <a:gd name="T7" fmla="*/ 24 h 25"/>
                  </a:gdLst>
                  <a:ahLst/>
                  <a:cxnLst>
                    <a:cxn ang="0">
                      <a:pos x="T0" y="T1"/>
                    </a:cxn>
                    <a:cxn ang="0">
                      <a:pos x="T2" y="T3"/>
                    </a:cxn>
                    <a:cxn ang="0">
                      <a:pos x="T4" y="T5"/>
                    </a:cxn>
                    <a:cxn ang="0">
                      <a:pos x="T6" y="T7"/>
                    </a:cxn>
                  </a:cxnLst>
                  <a:rect l="0" t="0" r="r" b="b"/>
                  <a:pathLst>
                    <a:path w="17" h="25">
                      <a:moveTo>
                        <a:pt x="0" y="24"/>
                      </a:moveTo>
                      <a:lnTo>
                        <a:pt x="16" y="7"/>
                      </a:lnTo>
                      <a:lnTo>
                        <a:pt x="16" y="0"/>
                      </a:lnTo>
                      <a:lnTo>
                        <a:pt x="0" y="24"/>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5" name="Freeform 292">
                  <a:extLst>
                    <a:ext uri="{FF2B5EF4-FFF2-40B4-BE49-F238E27FC236}">
                      <a16:creationId xmlns:a16="http://schemas.microsoft.com/office/drawing/2014/main" id="{9607D276-27B2-3C4A-5927-220600DAD88E}"/>
                    </a:ext>
                  </a:extLst>
                </p:cNvPr>
                <p:cNvSpPr>
                  <a:spLocks/>
                </p:cNvSpPr>
                <p:nvPr/>
              </p:nvSpPr>
              <p:spPr bwMode="gray">
                <a:xfrm>
                  <a:off x="6892554" y="5069885"/>
                  <a:ext cx="29605" cy="39270"/>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6" name="Freeform 293">
                  <a:extLst>
                    <a:ext uri="{FF2B5EF4-FFF2-40B4-BE49-F238E27FC236}">
                      <a16:creationId xmlns:a16="http://schemas.microsoft.com/office/drawing/2014/main" id="{633C7551-3493-B809-F387-D933F777B65B}"/>
                    </a:ext>
                  </a:extLst>
                </p:cNvPr>
                <p:cNvSpPr>
                  <a:spLocks/>
                </p:cNvSpPr>
                <p:nvPr/>
              </p:nvSpPr>
              <p:spPr bwMode="gray">
                <a:xfrm>
                  <a:off x="6892554" y="5069885"/>
                  <a:ext cx="29605" cy="39270"/>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7" name="Freeform 294">
                  <a:extLst>
                    <a:ext uri="{FF2B5EF4-FFF2-40B4-BE49-F238E27FC236}">
                      <a16:creationId xmlns:a16="http://schemas.microsoft.com/office/drawing/2014/main" id="{454446EB-169A-5C19-0014-4BAB3315EAF4}"/>
                    </a:ext>
                  </a:extLst>
                </p:cNvPr>
                <p:cNvSpPr>
                  <a:spLocks/>
                </p:cNvSpPr>
                <p:nvPr/>
              </p:nvSpPr>
              <p:spPr bwMode="gray">
                <a:xfrm>
                  <a:off x="6931169" y="5093952"/>
                  <a:ext cx="25743" cy="26602"/>
                </a:xfrm>
                <a:custGeom>
                  <a:avLst/>
                  <a:gdLst>
                    <a:gd name="T0" fmla="*/ 0 w 17"/>
                    <a:gd name="T1" fmla="*/ 16 h 17"/>
                    <a:gd name="T2" fmla="*/ 16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16"/>
                      </a:lnTo>
                      <a:lnTo>
                        <a:pt x="16" y="0"/>
                      </a:lnTo>
                      <a:lnTo>
                        <a:pt x="0"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8" name="Freeform 295">
                  <a:extLst>
                    <a:ext uri="{FF2B5EF4-FFF2-40B4-BE49-F238E27FC236}">
                      <a16:creationId xmlns:a16="http://schemas.microsoft.com/office/drawing/2014/main" id="{8EFEA91B-8AA0-8D39-6B42-E403592CECD9}"/>
                    </a:ext>
                  </a:extLst>
                </p:cNvPr>
                <p:cNvSpPr>
                  <a:spLocks/>
                </p:cNvSpPr>
                <p:nvPr/>
              </p:nvSpPr>
              <p:spPr bwMode="gray">
                <a:xfrm>
                  <a:off x="7153850" y="5007813"/>
                  <a:ext cx="128717" cy="148211"/>
                </a:xfrm>
                <a:custGeom>
                  <a:avLst/>
                  <a:gdLst>
                    <a:gd name="T0" fmla="*/ 0 w 83"/>
                    <a:gd name="T1" fmla="*/ 57 h 98"/>
                    <a:gd name="T2" fmla="*/ 0 w 83"/>
                    <a:gd name="T3" fmla="*/ 66 h 98"/>
                    <a:gd name="T4" fmla="*/ 10 w 83"/>
                    <a:gd name="T5" fmla="*/ 66 h 98"/>
                    <a:gd name="T6" fmla="*/ 10 w 83"/>
                    <a:gd name="T7" fmla="*/ 74 h 98"/>
                    <a:gd name="T8" fmla="*/ 10 w 83"/>
                    <a:gd name="T9" fmla="*/ 97 h 98"/>
                    <a:gd name="T10" fmla="*/ 17 w 83"/>
                    <a:gd name="T11" fmla="*/ 90 h 98"/>
                    <a:gd name="T12" fmla="*/ 17 w 83"/>
                    <a:gd name="T13" fmla="*/ 66 h 98"/>
                    <a:gd name="T14" fmla="*/ 25 w 83"/>
                    <a:gd name="T15" fmla="*/ 57 h 98"/>
                    <a:gd name="T16" fmla="*/ 34 w 83"/>
                    <a:gd name="T17" fmla="*/ 57 h 98"/>
                    <a:gd name="T18" fmla="*/ 25 w 83"/>
                    <a:gd name="T19" fmla="*/ 66 h 98"/>
                    <a:gd name="T20" fmla="*/ 34 w 83"/>
                    <a:gd name="T21" fmla="*/ 74 h 98"/>
                    <a:gd name="T22" fmla="*/ 34 w 83"/>
                    <a:gd name="T23" fmla="*/ 82 h 98"/>
                    <a:gd name="T24" fmla="*/ 50 w 83"/>
                    <a:gd name="T25" fmla="*/ 82 h 98"/>
                    <a:gd name="T26" fmla="*/ 50 w 83"/>
                    <a:gd name="T27" fmla="*/ 97 h 98"/>
                    <a:gd name="T28" fmla="*/ 57 w 83"/>
                    <a:gd name="T29" fmla="*/ 90 h 98"/>
                    <a:gd name="T30" fmla="*/ 57 w 83"/>
                    <a:gd name="T31" fmla="*/ 82 h 98"/>
                    <a:gd name="T32" fmla="*/ 42 w 83"/>
                    <a:gd name="T33" fmla="*/ 66 h 98"/>
                    <a:gd name="T34" fmla="*/ 50 w 83"/>
                    <a:gd name="T35" fmla="*/ 66 h 98"/>
                    <a:gd name="T36" fmla="*/ 34 w 83"/>
                    <a:gd name="T37" fmla="*/ 50 h 98"/>
                    <a:gd name="T38" fmla="*/ 50 w 83"/>
                    <a:gd name="T39" fmla="*/ 34 h 98"/>
                    <a:gd name="T40" fmla="*/ 57 w 83"/>
                    <a:gd name="T41" fmla="*/ 34 h 98"/>
                    <a:gd name="T42" fmla="*/ 25 w 83"/>
                    <a:gd name="T43" fmla="*/ 41 h 98"/>
                    <a:gd name="T44" fmla="*/ 17 w 83"/>
                    <a:gd name="T45" fmla="*/ 34 h 98"/>
                    <a:gd name="T46" fmla="*/ 17 w 83"/>
                    <a:gd name="T47" fmla="*/ 25 h 98"/>
                    <a:gd name="T48" fmla="*/ 25 w 83"/>
                    <a:gd name="T49" fmla="*/ 17 h 98"/>
                    <a:gd name="T50" fmla="*/ 75 w 83"/>
                    <a:gd name="T51" fmla="*/ 17 h 98"/>
                    <a:gd name="T52" fmla="*/ 82 w 83"/>
                    <a:gd name="T53" fmla="*/ 0 h 98"/>
                    <a:gd name="T54" fmla="*/ 66 w 83"/>
                    <a:gd name="T55" fmla="*/ 9 h 98"/>
                    <a:gd name="T56" fmla="*/ 50 w 83"/>
                    <a:gd name="T57" fmla="*/ 17 h 98"/>
                    <a:gd name="T58" fmla="*/ 25 w 83"/>
                    <a:gd name="T59" fmla="*/ 9 h 98"/>
                    <a:gd name="T60" fmla="*/ 25 w 83"/>
                    <a:gd name="T61" fmla="*/ 17 h 98"/>
                    <a:gd name="T62" fmla="*/ 17 w 83"/>
                    <a:gd name="T63" fmla="*/ 17 h 98"/>
                    <a:gd name="T64" fmla="*/ 17 w 83"/>
                    <a:gd name="T65" fmla="*/ 34 h 98"/>
                    <a:gd name="T66" fmla="*/ 0 w 83"/>
                    <a:gd name="T67" fmla="*/ 5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69" name="Freeform 296">
                  <a:extLst>
                    <a:ext uri="{FF2B5EF4-FFF2-40B4-BE49-F238E27FC236}">
                      <a16:creationId xmlns:a16="http://schemas.microsoft.com/office/drawing/2014/main" id="{9846F125-DFEC-CA9C-AD5D-D2720745EEBD}"/>
                    </a:ext>
                  </a:extLst>
                </p:cNvPr>
                <p:cNvSpPr>
                  <a:spLocks/>
                </p:cNvSpPr>
                <p:nvPr/>
              </p:nvSpPr>
              <p:spPr bwMode="gray">
                <a:xfrm>
                  <a:off x="7318608" y="4998946"/>
                  <a:ext cx="27031" cy="62071"/>
                </a:xfrm>
                <a:custGeom>
                  <a:avLst/>
                  <a:gdLst>
                    <a:gd name="T0" fmla="*/ 0 w 17"/>
                    <a:gd name="T1" fmla="*/ 15 h 41"/>
                    <a:gd name="T2" fmla="*/ 8 w 17"/>
                    <a:gd name="T3" fmla="*/ 31 h 41"/>
                    <a:gd name="T4" fmla="*/ 16 w 17"/>
                    <a:gd name="T5" fmla="*/ 40 h 41"/>
                    <a:gd name="T6" fmla="*/ 8 w 17"/>
                    <a:gd name="T7" fmla="*/ 31 h 41"/>
                    <a:gd name="T8" fmla="*/ 8 w 17"/>
                    <a:gd name="T9" fmla="*/ 23 h 41"/>
                    <a:gd name="T10" fmla="*/ 16 w 17"/>
                    <a:gd name="T11" fmla="*/ 23 h 41"/>
                    <a:gd name="T12" fmla="*/ 16 w 17"/>
                    <a:gd name="T13" fmla="*/ 15 h 41"/>
                    <a:gd name="T14" fmla="*/ 16 w 17"/>
                    <a:gd name="T15" fmla="*/ 6 h 41"/>
                    <a:gd name="T16" fmla="*/ 16 w 17"/>
                    <a:gd name="T17" fmla="*/ 15 h 41"/>
                    <a:gd name="T18" fmla="*/ 8 w 17"/>
                    <a:gd name="T19" fmla="*/ 0 h 41"/>
                    <a:gd name="T20" fmla="*/ 0 w 17"/>
                    <a:gd name="T21"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0" name="Freeform 297">
                  <a:extLst>
                    <a:ext uri="{FF2B5EF4-FFF2-40B4-BE49-F238E27FC236}">
                      <a16:creationId xmlns:a16="http://schemas.microsoft.com/office/drawing/2014/main" id="{12BFDD1D-5C41-3C92-113A-3B996CD63D1E}"/>
                    </a:ext>
                  </a:extLst>
                </p:cNvPr>
                <p:cNvSpPr>
                  <a:spLocks/>
                </p:cNvSpPr>
                <p:nvPr/>
              </p:nvSpPr>
              <p:spPr bwMode="gray">
                <a:xfrm>
                  <a:off x="7294152" y="5107887"/>
                  <a:ext cx="27031" cy="25335"/>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1" name="Freeform 298">
                  <a:extLst>
                    <a:ext uri="{FF2B5EF4-FFF2-40B4-BE49-F238E27FC236}">
                      <a16:creationId xmlns:a16="http://schemas.microsoft.com/office/drawing/2014/main" id="{56DB0AF4-A0E2-EA51-9288-9B7C255CB563}"/>
                    </a:ext>
                  </a:extLst>
                </p:cNvPr>
                <p:cNvSpPr>
                  <a:spLocks/>
                </p:cNvSpPr>
                <p:nvPr/>
              </p:nvSpPr>
              <p:spPr bwMode="gray">
                <a:xfrm>
                  <a:off x="7331480" y="5093952"/>
                  <a:ext cx="64359" cy="27868"/>
                </a:xfrm>
                <a:custGeom>
                  <a:avLst/>
                  <a:gdLst>
                    <a:gd name="T0" fmla="*/ 0 w 42"/>
                    <a:gd name="T1" fmla="*/ 9 h 18"/>
                    <a:gd name="T2" fmla="*/ 41 w 42"/>
                    <a:gd name="T3" fmla="*/ 17 h 18"/>
                    <a:gd name="T4" fmla="*/ 32 w 42"/>
                    <a:gd name="T5" fmla="*/ 9 h 18"/>
                    <a:gd name="T6" fmla="*/ 25 w 42"/>
                    <a:gd name="T7" fmla="*/ 0 h 18"/>
                    <a:gd name="T8" fmla="*/ 7 w 42"/>
                    <a:gd name="T9" fmla="*/ 0 h 18"/>
                    <a:gd name="T10" fmla="*/ 0 w 42"/>
                    <a:gd name="T11" fmla="*/ 9 h 18"/>
                  </a:gdLst>
                  <a:ahLst/>
                  <a:cxnLst>
                    <a:cxn ang="0">
                      <a:pos x="T0" y="T1"/>
                    </a:cxn>
                    <a:cxn ang="0">
                      <a:pos x="T2" y="T3"/>
                    </a:cxn>
                    <a:cxn ang="0">
                      <a:pos x="T4" y="T5"/>
                    </a:cxn>
                    <a:cxn ang="0">
                      <a:pos x="T6" y="T7"/>
                    </a:cxn>
                    <a:cxn ang="0">
                      <a:pos x="T8" y="T9"/>
                    </a:cxn>
                    <a:cxn ang="0">
                      <a:pos x="T10" y="T11"/>
                    </a:cxn>
                  </a:cxnLst>
                  <a:rect l="0" t="0" r="r" b="b"/>
                  <a:pathLst>
                    <a:path w="42" h="18">
                      <a:moveTo>
                        <a:pt x="0" y="9"/>
                      </a:moveTo>
                      <a:lnTo>
                        <a:pt x="41" y="17"/>
                      </a:lnTo>
                      <a:lnTo>
                        <a:pt x="32" y="9"/>
                      </a:lnTo>
                      <a:lnTo>
                        <a:pt x="25" y="0"/>
                      </a:lnTo>
                      <a:lnTo>
                        <a:pt x="7" y="0"/>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2" name="Freeform 299">
                  <a:extLst>
                    <a:ext uri="{FF2B5EF4-FFF2-40B4-BE49-F238E27FC236}">
                      <a16:creationId xmlns:a16="http://schemas.microsoft.com/office/drawing/2014/main" id="{0A8B9C8D-6B86-CD5C-344D-17A880ABF47E}"/>
                    </a:ext>
                  </a:extLst>
                </p:cNvPr>
                <p:cNvSpPr>
                  <a:spLocks/>
                </p:cNvSpPr>
                <p:nvPr/>
              </p:nvSpPr>
              <p:spPr bwMode="gray">
                <a:xfrm>
                  <a:off x="7180881" y="4679722"/>
                  <a:ext cx="77230" cy="110208"/>
                </a:xfrm>
                <a:custGeom>
                  <a:avLst/>
                  <a:gdLst>
                    <a:gd name="T0" fmla="*/ 0 w 50"/>
                    <a:gd name="T1" fmla="*/ 31 h 73"/>
                    <a:gd name="T2" fmla="*/ 0 w 50"/>
                    <a:gd name="T3" fmla="*/ 47 h 73"/>
                    <a:gd name="T4" fmla="*/ 8 w 50"/>
                    <a:gd name="T5" fmla="*/ 55 h 73"/>
                    <a:gd name="T6" fmla="*/ 8 w 50"/>
                    <a:gd name="T7" fmla="*/ 65 h 73"/>
                    <a:gd name="T8" fmla="*/ 17 w 50"/>
                    <a:gd name="T9" fmla="*/ 65 h 73"/>
                    <a:gd name="T10" fmla="*/ 25 w 50"/>
                    <a:gd name="T11" fmla="*/ 65 h 73"/>
                    <a:gd name="T12" fmla="*/ 33 w 50"/>
                    <a:gd name="T13" fmla="*/ 72 h 73"/>
                    <a:gd name="T14" fmla="*/ 33 w 50"/>
                    <a:gd name="T15" fmla="*/ 65 h 73"/>
                    <a:gd name="T16" fmla="*/ 40 w 50"/>
                    <a:gd name="T17" fmla="*/ 72 h 73"/>
                    <a:gd name="T18" fmla="*/ 49 w 50"/>
                    <a:gd name="T19" fmla="*/ 72 h 73"/>
                    <a:gd name="T20" fmla="*/ 40 w 50"/>
                    <a:gd name="T21" fmla="*/ 65 h 73"/>
                    <a:gd name="T22" fmla="*/ 49 w 50"/>
                    <a:gd name="T23" fmla="*/ 65 h 73"/>
                    <a:gd name="T24" fmla="*/ 33 w 50"/>
                    <a:gd name="T25" fmla="*/ 55 h 73"/>
                    <a:gd name="T26" fmla="*/ 25 w 50"/>
                    <a:gd name="T27" fmla="*/ 65 h 73"/>
                    <a:gd name="T28" fmla="*/ 17 w 50"/>
                    <a:gd name="T29" fmla="*/ 47 h 73"/>
                    <a:gd name="T30" fmla="*/ 33 w 50"/>
                    <a:gd name="T31" fmla="*/ 24 h 73"/>
                    <a:gd name="T32" fmla="*/ 25 w 50"/>
                    <a:gd name="T33" fmla="*/ 15 h 73"/>
                    <a:gd name="T34" fmla="*/ 33 w 50"/>
                    <a:gd name="T35" fmla="*/ 0 h 73"/>
                    <a:gd name="T36" fmla="*/ 25 w 50"/>
                    <a:gd name="T37" fmla="*/ 7 h 73"/>
                    <a:gd name="T38" fmla="*/ 8 w 50"/>
                    <a:gd name="T39" fmla="*/ 0 h 73"/>
                    <a:gd name="T40" fmla="*/ 0 w 50"/>
                    <a:gd name="T41"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3" name="Freeform 300">
                  <a:extLst>
                    <a:ext uri="{FF2B5EF4-FFF2-40B4-BE49-F238E27FC236}">
                      <a16:creationId xmlns:a16="http://schemas.microsoft.com/office/drawing/2014/main" id="{26C71B77-FB99-42F1-6F80-3A3C22628E8D}"/>
                    </a:ext>
                  </a:extLst>
                </p:cNvPr>
                <p:cNvSpPr>
                  <a:spLocks/>
                </p:cNvSpPr>
                <p:nvPr/>
              </p:nvSpPr>
              <p:spPr bwMode="gray">
                <a:xfrm>
                  <a:off x="7117809" y="4826667"/>
                  <a:ext cx="54061" cy="62071"/>
                </a:xfrm>
                <a:custGeom>
                  <a:avLst/>
                  <a:gdLst>
                    <a:gd name="T0" fmla="*/ 0 w 35"/>
                    <a:gd name="T1" fmla="*/ 40 h 41"/>
                    <a:gd name="T2" fmla="*/ 34 w 35"/>
                    <a:gd name="T3" fmla="*/ 8 h 41"/>
                    <a:gd name="T4" fmla="*/ 34 w 35"/>
                    <a:gd name="T5" fmla="*/ 0 h 41"/>
                    <a:gd name="T6" fmla="*/ 0 w 35"/>
                    <a:gd name="T7" fmla="*/ 40 h 41"/>
                  </a:gdLst>
                  <a:ahLst/>
                  <a:cxnLst>
                    <a:cxn ang="0">
                      <a:pos x="T0" y="T1"/>
                    </a:cxn>
                    <a:cxn ang="0">
                      <a:pos x="T2" y="T3"/>
                    </a:cxn>
                    <a:cxn ang="0">
                      <a:pos x="T4" y="T5"/>
                    </a:cxn>
                    <a:cxn ang="0">
                      <a:pos x="T6" y="T7"/>
                    </a:cxn>
                  </a:cxnLst>
                  <a:rect l="0" t="0" r="r" b="b"/>
                  <a:pathLst>
                    <a:path w="35" h="41">
                      <a:moveTo>
                        <a:pt x="0" y="40"/>
                      </a:moveTo>
                      <a:lnTo>
                        <a:pt x="34" y="8"/>
                      </a:lnTo>
                      <a:lnTo>
                        <a:pt x="34" y="0"/>
                      </a:lnTo>
                      <a:lnTo>
                        <a:pt x="0" y="4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4" name="Freeform 301">
                  <a:extLst>
                    <a:ext uri="{FF2B5EF4-FFF2-40B4-BE49-F238E27FC236}">
                      <a16:creationId xmlns:a16="http://schemas.microsoft.com/office/drawing/2014/main" id="{56A0DE7C-D51E-1A0C-FB75-167B63CF9DAA}"/>
                    </a:ext>
                  </a:extLst>
                </p:cNvPr>
                <p:cNvSpPr>
                  <a:spLocks/>
                </p:cNvSpPr>
                <p:nvPr/>
              </p:nvSpPr>
              <p:spPr bwMode="gray">
                <a:xfrm>
                  <a:off x="7180881" y="4788663"/>
                  <a:ext cx="27031" cy="25335"/>
                </a:xfrm>
                <a:custGeom>
                  <a:avLst/>
                  <a:gdLst>
                    <a:gd name="T0" fmla="*/ 0 w 18"/>
                    <a:gd name="T1" fmla="*/ 0 h 17"/>
                    <a:gd name="T2" fmla="*/ 17 w 18"/>
                    <a:gd name="T3" fmla="*/ 16 h 17"/>
                    <a:gd name="T4" fmla="*/ 17 w 18"/>
                    <a:gd name="T5" fmla="*/ 8 h 17"/>
                    <a:gd name="T6" fmla="*/ 17 w 18"/>
                    <a:gd name="T7" fmla="*/ 0 h 17"/>
                    <a:gd name="T8" fmla="*/ 0 w 18"/>
                    <a:gd name="T9" fmla="*/ 0 h 17"/>
                  </a:gdLst>
                  <a:ahLst/>
                  <a:cxnLst>
                    <a:cxn ang="0">
                      <a:pos x="T0" y="T1"/>
                    </a:cxn>
                    <a:cxn ang="0">
                      <a:pos x="T2" y="T3"/>
                    </a:cxn>
                    <a:cxn ang="0">
                      <a:pos x="T4" y="T5"/>
                    </a:cxn>
                    <a:cxn ang="0">
                      <a:pos x="T6" y="T7"/>
                    </a:cxn>
                    <a:cxn ang="0">
                      <a:pos x="T8" y="T9"/>
                    </a:cxn>
                  </a:cxnLst>
                  <a:rect l="0" t="0" r="r" b="b"/>
                  <a:pathLst>
                    <a:path w="18" h="17">
                      <a:moveTo>
                        <a:pt x="0" y="0"/>
                      </a:moveTo>
                      <a:lnTo>
                        <a:pt x="17" y="16"/>
                      </a:lnTo>
                      <a:lnTo>
                        <a:pt x="17" y="8"/>
                      </a:lnTo>
                      <a:lnTo>
                        <a:pt x="17"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5" name="Freeform 302">
                  <a:extLst>
                    <a:ext uri="{FF2B5EF4-FFF2-40B4-BE49-F238E27FC236}">
                      <a16:creationId xmlns:a16="http://schemas.microsoft.com/office/drawing/2014/main" id="{A1BF2BDE-FA18-B90A-8531-992A606A8954}"/>
                    </a:ext>
                  </a:extLst>
                </p:cNvPr>
                <p:cNvSpPr>
                  <a:spLocks/>
                </p:cNvSpPr>
                <p:nvPr/>
              </p:nvSpPr>
              <p:spPr bwMode="gray">
                <a:xfrm>
                  <a:off x="7269696" y="4800065"/>
                  <a:ext cx="25743" cy="50670"/>
                </a:xfrm>
                <a:custGeom>
                  <a:avLst/>
                  <a:gdLst>
                    <a:gd name="T0" fmla="*/ 0 w 17"/>
                    <a:gd name="T1" fmla="*/ 0 h 33"/>
                    <a:gd name="T2" fmla="*/ 7 w 17"/>
                    <a:gd name="T3" fmla="*/ 7 h 33"/>
                    <a:gd name="T4" fmla="*/ 0 w 17"/>
                    <a:gd name="T5" fmla="*/ 17 h 33"/>
                    <a:gd name="T6" fmla="*/ 0 w 17"/>
                    <a:gd name="T7" fmla="*/ 25 h 33"/>
                    <a:gd name="T8" fmla="*/ 0 w 17"/>
                    <a:gd name="T9" fmla="*/ 32 h 33"/>
                    <a:gd name="T10" fmla="*/ 7 w 17"/>
                    <a:gd name="T11" fmla="*/ 32 h 33"/>
                    <a:gd name="T12" fmla="*/ 7 w 17"/>
                    <a:gd name="T13" fmla="*/ 17 h 33"/>
                    <a:gd name="T14" fmla="*/ 16 w 17"/>
                    <a:gd name="T15" fmla="*/ 17 h 33"/>
                    <a:gd name="T16" fmla="*/ 7 w 17"/>
                    <a:gd name="T17" fmla="*/ 7 h 33"/>
                    <a:gd name="T18" fmla="*/ 7 w 17"/>
                    <a:gd name="T19" fmla="*/ 0 h 33"/>
                    <a:gd name="T20" fmla="*/ 0 w 17"/>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6" name="Freeform 303">
                  <a:extLst>
                    <a:ext uri="{FF2B5EF4-FFF2-40B4-BE49-F238E27FC236}">
                      <a16:creationId xmlns:a16="http://schemas.microsoft.com/office/drawing/2014/main" id="{3FF9041B-9A75-0573-390C-45D175FE2434}"/>
                    </a:ext>
                  </a:extLst>
                </p:cNvPr>
                <p:cNvSpPr>
                  <a:spLocks/>
                </p:cNvSpPr>
                <p:nvPr/>
              </p:nvSpPr>
              <p:spPr bwMode="gray">
                <a:xfrm>
                  <a:off x="7219496" y="4811465"/>
                  <a:ext cx="51487" cy="63338"/>
                </a:xfrm>
                <a:custGeom>
                  <a:avLst/>
                  <a:gdLst>
                    <a:gd name="T0" fmla="*/ 0 w 34"/>
                    <a:gd name="T1" fmla="*/ 18 h 42"/>
                    <a:gd name="T2" fmla="*/ 8 w 34"/>
                    <a:gd name="T3" fmla="*/ 18 h 42"/>
                    <a:gd name="T4" fmla="*/ 8 w 34"/>
                    <a:gd name="T5" fmla="*/ 25 h 42"/>
                    <a:gd name="T6" fmla="*/ 15 w 34"/>
                    <a:gd name="T7" fmla="*/ 41 h 42"/>
                    <a:gd name="T8" fmla="*/ 15 w 34"/>
                    <a:gd name="T9" fmla="*/ 34 h 42"/>
                    <a:gd name="T10" fmla="*/ 15 w 34"/>
                    <a:gd name="T11" fmla="*/ 25 h 42"/>
                    <a:gd name="T12" fmla="*/ 33 w 34"/>
                    <a:gd name="T13" fmla="*/ 34 h 42"/>
                    <a:gd name="T14" fmla="*/ 33 w 34"/>
                    <a:gd name="T15" fmla="*/ 25 h 42"/>
                    <a:gd name="T16" fmla="*/ 24 w 34"/>
                    <a:gd name="T17" fmla="*/ 25 h 42"/>
                    <a:gd name="T18" fmla="*/ 24 w 34"/>
                    <a:gd name="T19" fmla="*/ 10 h 42"/>
                    <a:gd name="T20" fmla="*/ 15 w 34"/>
                    <a:gd name="T21" fmla="*/ 18 h 42"/>
                    <a:gd name="T22" fmla="*/ 15 w 34"/>
                    <a:gd name="T23" fmla="*/ 10 h 42"/>
                    <a:gd name="T24" fmla="*/ 8 w 34"/>
                    <a:gd name="T25" fmla="*/ 0 h 42"/>
                    <a:gd name="T26" fmla="*/ 0 w 34"/>
                    <a:gd name="T27" fmla="*/ 0 h 42"/>
                    <a:gd name="T28" fmla="*/ 0 w 34"/>
                    <a:gd name="T29"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7" name="Freeform 304">
                  <a:extLst>
                    <a:ext uri="{FF2B5EF4-FFF2-40B4-BE49-F238E27FC236}">
                      <a16:creationId xmlns:a16="http://schemas.microsoft.com/office/drawing/2014/main" id="{D1A5D91E-28F9-0CE6-8378-E36623FB89AB}"/>
                    </a:ext>
                  </a:extLst>
                </p:cNvPr>
                <p:cNvSpPr>
                  <a:spLocks/>
                </p:cNvSpPr>
                <p:nvPr/>
              </p:nvSpPr>
              <p:spPr bwMode="gray">
                <a:xfrm>
                  <a:off x="7219496" y="4849468"/>
                  <a:ext cx="86241" cy="88673"/>
                </a:xfrm>
                <a:custGeom>
                  <a:avLst/>
                  <a:gdLst>
                    <a:gd name="T0" fmla="*/ 0 w 56"/>
                    <a:gd name="T1" fmla="*/ 40 h 59"/>
                    <a:gd name="T2" fmla="*/ 8 w 56"/>
                    <a:gd name="T3" fmla="*/ 34 h 59"/>
                    <a:gd name="T4" fmla="*/ 15 w 56"/>
                    <a:gd name="T5" fmla="*/ 34 h 59"/>
                    <a:gd name="T6" fmla="*/ 24 w 56"/>
                    <a:gd name="T7" fmla="*/ 34 h 59"/>
                    <a:gd name="T8" fmla="*/ 33 w 56"/>
                    <a:gd name="T9" fmla="*/ 34 h 59"/>
                    <a:gd name="T10" fmla="*/ 24 w 56"/>
                    <a:gd name="T11" fmla="*/ 49 h 59"/>
                    <a:gd name="T12" fmla="*/ 40 w 56"/>
                    <a:gd name="T13" fmla="*/ 58 h 59"/>
                    <a:gd name="T14" fmla="*/ 49 w 56"/>
                    <a:gd name="T15" fmla="*/ 49 h 59"/>
                    <a:gd name="T16" fmla="*/ 40 w 56"/>
                    <a:gd name="T17" fmla="*/ 40 h 59"/>
                    <a:gd name="T18" fmla="*/ 49 w 56"/>
                    <a:gd name="T19" fmla="*/ 34 h 59"/>
                    <a:gd name="T20" fmla="*/ 55 w 56"/>
                    <a:gd name="T21" fmla="*/ 49 h 59"/>
                    <a:gd name="T22" fmla="*/ 55 w 56"/>
                    <a:gd name="T23" fmla="*/ 34 h 59"/>
                    <a:gd name="T24" fmla="*/ 55 w 56"/>
                    <a:gd name="T25" fmla="*/ 16 h 59"/>
                    <a:gd name="T26" fmla="*/ 40 w 56"/>
                    <a:gd name="T27" fmla="*/ 0 h 59"/>
                    <a:gd name="T28" fmla="*/ 40 w 56"/>
                    <a:gd name="T29" fmla="*/ 16 h 59"/>
                    <a:gd name="T30" fmla="*/ 33 w 56"/>
                    <a:gd name="T31" fmla="*/ 16 h 59"/>
                    <a:gd name="T32" fmla="*/ 24 w 56"/>
                    <a:gd name="T33" fmla="*/ 25 h 59"/>
                    <a:gd name="T34" fmla="*/ 15 w 56"/>
                    <a:gd name="T35" fmla="*/ 16 h 59"/>
                    <a:gd name="T36" fmla="*/ 0 w 56"/>
                    <a:gd name="T37" fmla="*/ 34 h 59"/>
                    <a:gd name="T38" fmla="*/ 0 w 56"/>
                    <a:gd name="T39"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8" name="Freeform 305">
                  <a:extLst>
                    <a:ext uri="{FF2B5EF4-FFF2-40B4-BE49-F238E27FC236}">
                      <a16:creationId xmlns:a16="http://schemas.microsoft.com/office/drawing/2014/main" id="{C4259DA1-5469-B6FC-A188-B0FACE183E8D}"/>
                    </a:ext>
                  </a:extLst>
                </p:cNvPr>
                <p:cNvSpPr>
                  <a:spLocks/>
                </p:cNvSpPr>
                <p:nvPr/>
              </p:nvSpPr>
              <p:spPr bwMode="gray">
                <a:xfrm>
                  <a:off x="7730503" y="5120554"/>
                  <a:ext cx="87528" cy="49404"/>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79" name="Freeform 306">
                  <a:extLst>
                    <a:ext uri="{FF2B5EF4-FFF2-40B4-BE49-F238E27FC236}">
                      <a16:creationId xmlns:a16="http://schemas.microsoft.com/office/drawing/2014/main" id="{30F71DB2-116E-6BDD-386E-2B2E48771F44}"/>
                    </a:ext>
                  </a:extLst>
                </p:cNvPr>
                <p:cNvSpPr>
                  <a:spLocks/>
                </p:cNvSpPr>
                <p:nvPr/>
              </p:nvSpPr>
              <p:spPr bwMode="gray">
                <a:xfrm>
                  <a:off x="7793575" y="5107887"/>
                  <a:ext cx="37328" cy="25335"/>
                </a:xfrm>
                <a:custGeom>
                  <a:avLst/>
                  <a:gdLst>
                    <a:gd name="T0" fmla="*/ 0 w 25"/>
                    <a:gd name="T1" fmla="*/ 0 h 17"/>
                    <a:gd name="T2" fmla="*/ 15 w 25"/>
                    <a:gd name="T3" fmla="*/ 8 h 17"/>
                    <a:gd name="T4" fmla="*/ 24 w 25"/>
                    <a:gd name="T5" fmla="*/ 16 h 17"/>
                    <a:gd name="T6" fmla="*/ 24 w 25"/>
                    <a:gd name="T7" fmla="*/ 8 h 17"/>
                    <a:gd name="T8" fmla="*/ 0 w 25"/>
                    <a:gd name="T9" fmla="*/ 0 h 17"/>
                  </a:gdLst>
                  <a:ahLst/>
                  <a:cxnLst>
                    <a:cxn ang="0">
                      <a:pos x="T0" y="T1"/>
                    </a:cxn>
                    <a:cxn ang="0">
                      <a:pos x="T2" y="T3"/>
                    </a:cxn>
                    <a:cxn ang="0">
                      <a:pos x="T4" y="T5"/>
                    </a:cxn>
                    <a:cxn ang="0">
                      <a:pos x="T6" y="T7"/>
                    </a:cxn>
                    <a:cxn ang="0">
                      <a:pos x="T8" y="T9"/>
                    </a:cxn>
                  </a:cxnLst>
                  <a:rect l="0" t="0" r="r" b="b"/>
                  <a:pathLst>
                    <a:path w="25" h="17">
                      <a:moveTo>
                        <a:pt x="0" y="0"/>
                      </a:moveTo>
                      <a:lnTo>
                        <a:pt x="15" y="8"/>
                      </a:lnTo>
                      <a:lnTo>
                        <a:pt x="24" y="16"/>
                      </a:lnTo>
                      <a:lnTo>
                        <a:pt x="24" y="8"/>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0" name="Freeform 307">
                  <a:extLst>
                    <a:ext uri="{FF2B5EF4-FFF2-40B4-BE49-F238E27FC236}">
                      <a16:creationId xmlns:a16="http://schemas.microsoft.com/office/drawing/2014/main" id="{67F7BA3C-3665-D0A2-7F75-B7F725592018}"/>
                    </a:ext>
                  </a:extLst>
                </p:cNvPr>
                <p:cNvSpPr>
                  <a:spLocks/>
                </p:cNvSpPr>
                <p:nvPr/>
              </p:nvSpPr>
              <p:spPr bwMode="gray">
                <a:xfrm>
                  <a:off x="7866944" y="5144623"/>
                  <a:ext cx="27031" cy="38002"/>
                </a:xfrm>
                <a:custGeom>
                  <a:avLst/>
                  <a:gdLst>
                    <a:gd name="T0" fmla="*/ 0 w 18"/>
                    <a:gd name="T1" fmla="*/ 0 h 25"/>
                    <a:gd name="T2" fmla="*/ 8 w 18"/>
                    <a:gd name="T3" fmla="*/ 24 h 25"/>
                    <a:gd name="T4" fmla="*/ 17 w 18"/>
                    <a:gd name="T5" fmla="*/ 16 h 25"/>
                    <a:gd name="T6" fmla="*/ 0 w 18"/>
                    <a:gd name="T7" fmla="*/ 0 h 25"/>
                  </a:gdLst>
                  <a:ahLst/>
                  <a:cxnLst>
                    <a:cxn ang="0">
                      <a:pos x="T0" y="T1"/>
                    </a:cxn>
                    <a:cxn ang="0">
                      <a:pos x="T2" y="T3"/>
                    </a:cxn>
                    <a:cxn ang="0">
                      <a:pos x="T4" y="T5"/>
                    </a:cxn>
                    <a:cxn ang="0">
                      <a:pos x="T6" y="T7"/>
                    </a:cxn>
                  </a:cxnLst>
                  <a:rect l="0" t="0" r="r" b="b"/>
                  <a:pathLst>
                    <a:path w="18" h="25">
                      <a:moveTo>
                        <a:pt x="0" y="0"/>
                      </a:moveTo>
                      <a:lnTo>
                        <a:pt x="8" y="24"/>
                      </a:lnTo>
                      <a:lnTo>
                        <a:pt x="17" y="16"/>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1" name="Freeform 308">
                  <a:extLst>
                    <a:ext uri="{FF2B5EF4-FFF2-40B4-BE49-F238E27FC236}">
                      <a16:creationId xmlns:a16="http://schemas.microsoft.com/office/drawing/2014/main" id="{10BA3C5A-4C0F-55FB-9775-02A47BB258F6}"/>
                    </a:ext>
                  </a:extLst>
                </p:cNvPr>
                <p:cNvSpPr>
                  <a:spLocks/>
                </p:cNvSpPr>
                <p:nvPr/>
              </p:nvSpPr>
              <p:spPr bwMode="gray">
                <a:xfrm>
                  <a:off x="7954472" y="5215561"/>
                  <a:ext cx="25743" cy="25335"/>
                </a:xfrm>
                <a:custGeom>
                  <a:avLst/>
                  <a:gdLst>
                    <a:gd name="T0" fmla="*/ 0 w 17"/>
                    <a:gd name="T1" fmla="*/ 0 h 17"/>
                    <a:gd name="T2" fmla="*/ 0 w 17"/>
                    <a:gd name="T3" fmla="*/ 16 h 17"/>
                    <a:gd name="T4" fmla="*/ 16 w 17"/>
                    <a:gd name="T5" fmla="*/ 16 h 17"/>
                    <a:gd name="T6" fmla="*/ 0 w 17"/>
                    <a:gd name="T7" fmla="*/ 0 h 17"/>
                  </a:gdLst>
                  <a:ahLst/>
                  <a:cxnLst>
                    <a:cxn ang="0">
                      <a:pos x="T0" y="T1"/>
                    </a:cxn>
                    <a:cxn ang="0">
                      <a:pos x="T2" y="T3"/>
                    </a:cxn>
                    <a:cxn ang="0">
                      <a:pos x="T4" y="T5"/>
                    </a:cxn>
                    <a:cxn ang="0">
                      <a:pos x="T6" y="T7"/>
                    </a:cxn>
                  </a:cxnLst>
                  <a:rect l="0" t="0" r="r" b="b"/>
                  <a:pathLst>
                    <a:path w="17" h="17">
                      <a:moveTo>
                        <a:pt x="0" y="0"/>
                      </a:moveTo>
                      <a:lnTo>
                        <a:pt x="0" y="16"/>
                      </a:lnTo>
                      <a:lnTo>
                        <a:pt x="16" y="16"/>
                      </a:lnTo>
                      <a:lnTo>
                        <a:pt x="0"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2" name="Line 314">
                  <a:extLst>
                    <a:ext uri="{FF2B5EF4-FFF2-40B4-BE49-F238E27FC236}">
                      <a16:creationId xmlns:a16="http://schemas.microsoft.com/office/drawing/2014/main" id="{3F6410A3-D204-BEF1-CBC2-E3D51A595D37}"/>
                    </a:ext>
                  </a:extLst>
                </p:cNvPr>
                <p:cNvSpPr>
                  <a:spLocks noChangeShapeType="1"/>
                </p:cNvSpPr>
                <p:nvPr/>
              </p:nvSpPr>
              <p:spPr bwMode="gray">
                <a:xfrm>
                  <a:off x="7056025" y="4603717"/>
                  <a:ext cx="14159" cy="0"/>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583" name="Freeform 16">
                  <a:extLst>
                    <a:ext uri="{FF2B5EF4-FFF2-40B4-BE49-F238E27FC236}">
                      <a16:creationId xmlns:a16="http://schemas.microsoft.com/office/drawing/2014/main" id="{5DF27112-C958-8EEF-2B70-5234C04740E4}"/>
                    </a:ext>
                  </a:extLst>
                </p:cNvPr>
                <p:cNvSpPr>
                  <a:spLocks/>
                </p:cNvSpPr>
                <p:nvPr/>
              </p:nvSpPr>
              <p:spPr bwMode="gray">
                <a:xfrm>
                  <a:off x="5293884" y="4395968"/>
                  <a:ext cx="227830" cy="222950"/>
                </a:xfrm>
                <a:custGeom>
                  <a:avLst/>
                  <a:gdLst>
                    <a:gd name="T0" fmla="*/ 147 w 148"/>
                    <a:gd name="T1" fmla="*/ 130 h 147"/>
                    <a:gd name="T2" fmla="*/ 122 w 148"/>
                    <a:gd name="T3" fmla="*/ 146 h 147"/>
                    <a:gd name="T4" fmla="*/ 115 w 148"/>
                    <a:gd name="T5" fmla="*/ 137 h 147"/>
                    <a:gd name="T6" fmla="*/ 10 w 148"/>
                    <a:gd name="T7" fmla="*/ 137 h 147"/>
                    <a:gd name="T8" fmla="*/ 10 w 148"/>
                    <a:gd name="T9" fmla="*/ 48 h 147"/>
                    <a:gd name="T10" fmla="*/ 0 w 148"/>
                    <a:gd name="T11" fmla="*/ 32 h 147"/>
                    <a:gd name="T12" fmla="*/ 10 w 148"/>
                    <a:gd name="T13" fmla="*/ 0 h 147"/>
                    <a:gd name="T14" fmla="*/ 10 w 148"/>
                    <a:gd name="T15" fmla="*/ 9 h 147"/>
                    <a:gd name="T16" fmla="*/ 34 w 148"/>
                    <a:gd name="T17" fmla="*/ 9 h 147"/>
                    <a:gd name="T18" fmla="*/ 57 w 148"/>
                    <a:gd name="T19" fmla="*/ 16 h 147"/>
                    <a:gd name="T20" fmla="*/ 91 w 148"/>
                    <a:gd name="T21" fmla="*/ 9 h 147"/>
                    <a:gd name="T22" fmla="*/ 97 w 148"/>
                    <a:gd name="T23" fmla="*/ 9 h 147"/>
                    <a:gd name="T24" fmla="*/ 97 w 148"/>
                    <a:gd name="T25" fmla="*/ 16 h 147"/>
                    <a:gd name="T26" fmla="*/ 107 w 148"/>
                    <a:gd name="T27" fmla="*/ 9 h 147"/>
                    <a:gd name="T28" fmla="*/ 107 w 148"/>
                    <a:gd name="T29" fmla="*/ 16 h 147"/>
                    <a:gd name="T30" fmla="*/ 122 w 148"/>
                    <a:gd name="T31" fmla="*/ 9 h 147"/>
                    <a:gd name="T32" fmla="*/ 131 w 148"/>
                    <a:gd name="T33" fmla="*/ 40 h 147"/>
                    <a:gd name="T34" fmla="*/ 122 w 148"/>
                    <a:gd name="T35" fmla="*/ 65 h 147"/>
                    <a:gd name="T36" fmla="*/ 115 w 148"/>
                    <a:gd name="T37" fmla="*/ 48 h 147"/>
                    <a:gd name="T38" fmla="*/ 107 w 148"/>
                    <a:gd name="T39" fmla="*/ 25 h 147"/>
                    <a:gd name="T40" fmla="*/ 107 w 148"/>
                    <a:gd name="T41" fmla="*/ 32 h 147"/>
                    <a:gd name="T42" fmla="*/ 107 w 148"/>
                    <a:gd name="T43" fmla="*/ 40 h 147"/>
                    <a:gd name="T44" fmla="*/ 147 w 148"/>
                    <a:gd name="T45" fmla="*/ 13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4" name="Freeform 17">
                  <a:extLst>
                    <a:ext uri="{FF2B5EF4-FFF2-40B4-BE49-F238E27FC236}">
                      <a16:creationId xmlns:a16="http://schemas.microsoft.com/office/drawing/2014/main" id="{49CFF40C-B522-AF1E-FDD8-A5A1763D5B24}"/>
                    </a:ext>
                  </a:extLst>
                </p:cNvPr>
                <p:cNvSpPr>
                  <a:spLocks/>
                </p:cNvSpPr>
                <p:nvPr/>
              </p:nvSpPr>
              <p:spPr bwMode="gray">
                <a:xfrm>
                  <a:off x="4999122" y="4373166"/>
                  <a:ext cx="311497" cy="292621"/>
                </a:xfrm>
                <a:custGeom>
                  <a:avLst/>
                  <a:gdLst>
                    <a:gd name="T0" fmla="*/ 31 w 203"/>
                    <a:gd name="T1" fmla="*/ 137 h 193"/>
                    <a:gd name="T2" fmla="*/ 22 w 203"/>
                    <a:gd name="T3" fmla="*/ 120 h 193"/>
                    <a:gd name="T4" fmla="*/ 15 w 203"/>
                    <a:gd name="T5" fmla="*/ 120 h 193"/>
                    <a:gd name="T6" fmla="*/ 0 w 203"/>
                    <a:gd name="T7" fmla="*/ 96 h 193"/>
                    <a:gd name="T8" fmla="*/ 6 w 203"/>
                    <a:gd name="T9" fmla="*/ 87 h 193"/>
                    <a:gd name="T10" fmla="*/ 6 w 203"/>
                    <a:gd name="T11" fmla="*/ 71 h 193"/>
                    <a:gd name="T12" fmla="*/ 6 w 203"/>
                    <a:gd name="T13" fmla="*/ 55 h 193"/>
                    <a:gd name="T14" fmla="*/ 0 w 203"/>
                    <a:gd name="T15" fmla="*/ 47 h 193"/>
                    <a:gd name="T16" fmla="*/ 0 w 203"/>
                    <a:gd name="T17" fmla="*/ 40 h 193"/>
                    <a:gd name="T18" fmla="*/ 6 w 203"/>
                    <a:gd name="T19" fmla="*/ 31 h 193"/>
                    <a:gd name="T20" fmla="*/ 6 w 203"/>
                    <a:gd name="T21" fmla="*/ 24 h 193"/>
                    <a:gd name="T22" fmla="*/ 22 w 203"/>
                    <a:gd name="T23" fmla="*/ 6 h 193"/>
                    <a:gd name="T24" fmla="*/ 22 w 203"/>
                    <a:gd name="T25" fmla="*/ 0 h 193"/>
                    <a:gd name="T26" fmla="*/ 40 w 203"/>
                    <a:gd name="T27" fmla="*/ 0 h 193"/>
                    <a:gd name="T28" fmla="*/ 63 w 203"/>
                    <a:gd name="T29" fmla="*/ 6 h 193"/>
                    <a:gd name="T30" fmla="*/ 80 w 203"/>
                    <a:gd name="T31" fmla="*/ 6 h 193"/>
                    <a:gd name="T32" fmla="*/ 80 w 203"/>
                    <a:gd name="T33" fmla="*/ 24 h 193"/>
                    <a:gd name="T34" fmla="*/ 128 w 203"/>
                    <a:gd name="T35" fmla="*/ 40 h 193"/>
                    <a:gd name="T36" fmla="*/ 137 w 203"/>
                    <a:gd name="T37" fmla="*/ 31 h 193"/>
                    <a:gd name="T38" fmla="*/ 137 w 203"/>
                    <a:gd name="T39" fmla="*/ 15 h 193"/>
                    <a:gd name="T40" fmla="*/ 161 w 203"/>
                    <a:gd name="T41" fmla="*/ 0 h 193"/>
                    <a:gd name="T42" fmla="*/ 177 w 203"/>
                    <a:gd name="T43" fmla="*/ 6 h 193"/>
                    <a:gd name="T44" fmla="*/ 177 w 203"/>
                    <a:gd name="T45" fmla="*/ 15 h 193"/>
                    <a:gd name="T46" fmla="*/ 202 w 203"/>
                    <a:gd name="T47" fmla="*/ 15 h 193"/>
                    <a:gd name="T48" fmla="*/ 192 w 203"/>
                    <a:gd name="T49" fmla="*/ 47 h 193"/>
                    <a:gd name="T50" fmla="*/ 202 w 203"/>
                    <a:gd name="T51" fmla="*/ 63 h 193"/>
                    <a:gd name="T52" fmla="*/ 202 w 203"/>
                    <a:gd name="T53" fmla="*/ 152 h 193"/>
                    <a:gd name="T54" fmla="*/ 202 w 203"/>
                    <a:gd name="T55" fmla="*/ 177 h 193"/>
                    <a:gd name="T56" fmla="*/ 192 w 203"/>
                    <a:gd name="T57" fmla="*/ 186 h 193"/>
                    <a:gd name="T58" fmla="*/ 184 w 203"/>
                    <a:gd name="T59" fmla="*/ 192 h 193"/>
                    <a:gd name="T60" fmla="*/ 87 w 203"/>
                    <a:gd name="T61" fmla="*/ 137 h 193"/>
                    <a:gd name="T62" fmla="*/ 72 w 203"/>
                    <a:gd name="T63" fmla="*/ 145 h 193"/>
                    <a:gd name="T64" fmla="*/ 63 w 203"/>
                    <a:gd name="T65" fmla="*/ 137 h 193"/>
                    <a:gd name="T66" fmla="*/ 31 w 203"/>
                    <a:gd name="T67" fmla="*/ 13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5" name="Freeform 19">
                  <a:extLst>
                    <a:ext uri="{FF2B5EF4-FFF2-40B4-BE49-F238E27FC236}">
                      <a16:creationId xmlns:a16="http://schemas.microsoft.com/office/drawing/2014/main" id="{350C4FD1-F4C3-269C-DB33-E9108E5EB0B8}"/>
                    </a:ext>
                  </a:extLst>
                </p:cNvPr>
                <p:cNvSpPr>
                  <a:spLocks/>
                </p:cNvSpPr>
                <p:nvPr/>
              </p:nvSpPr>
              <p:spPr bwMode="gray">
                <a:xfrm>
                  <a:off x="4573068" y="4542912"/>
                  <a:ext cx="325655" cy="307822"/>
                </a:xfrm>
                <a:custGeom>
                  <a:avLst/>
                  <a:gdLst>
                    <a:gd name="T0" fmla="*/ 96 w 212"/>
                    <a:gd name="T1" fmla="*/ 0 h 203"/>
                    <a:gd name="T2" fmla="*/ 170 w 212"/>
                    <a:gd name="T3" fmla="*/ 56 h 203"/>
                    <a:gd name="T4" fmla="*/ 178 w 212"/>
                    <a:gd name="T5" fmla="*/ 65 h 203"/>
                    <a:gd name="T6" fmla="*/ 193 w 212"/>
                    <a:gd name="T7" fmla="*/ 74 h 203"/>
                    <a:gd name="T8" fmla="*/ 202 w 212"/>
                    <a:gd name="T9" fmla="*/ 80 h 203"/>
                    <a:gd name="T10" fmla="*/ 211 w 212"/>
                    <a:gd name="T11" fmla="*/ 80 h 203"/>
                    <a:gd name="T12" fmla="*/ 211 w 212"/>
                    <a:gd name="T13" fmla="*/ 121 h 203"/>
                    <a:gd name="T14" fmla="*/ 202 w 212"/>
                    <a:gd name="T15" fmla="*/ 130 h 203"/>
                    <a:gd name="T16" fmla="*/ 162 w 212"/>
                    <a:gd name="T17" fmla="*/ 137 h 203"/>
                    <a:gd name="T18" fmla="*/ 146 w 212"/>
                    <a:gd name="T19" fmla="*/ 137 h 203"/>
                    <a:gd name="T20" fmla="*/ 130 w 212"/>
                    <a:gd name="T21" fmla="*/ 155 h 203"/>
                    <a:gd name="T22" fmla="*/ 113 w 212"/>
                    <a:gd name="T23" fmla="*/ 162 h 203"/>
                    <a:gd name="T24" fmla="*/ 96 w 212"/>
                    <a:gd name="T25" fmla="*/ 187 h 203"/>
                    <a:gd name="T26" fmla="*/ 90 w 212"/>
                    <a:gd name="T27" fmla="*/ 195 h 203"/>
                    <a:gd name="T28" fmla="*/ 81 w 212"/>
                    <a:gd name="T29" fmla="*/ 202 h 203"/>
                    <a:gd name="T30" fmla="*/ 72 w 212"/>
                    <a:gd name="T31" fmla="*/ 195 h 203"/>
                    <a:gd name="T32" fmla="*/ 65 w 212"/>
                    <a:gd name="T33" fmla="*/ 202 h 203"/>
                    <a:gd name="T34" fmla="*/ 56 w 212"/>
                    <a:gd name="T35" fmla="*/ 202 h 203"/>
                    <a:gd name="T36" fmla="*/ 41 w 212"/>
                    <a:gd name="T37" fmla="*/ 170 h 203"/>
                    <a:gd name="T38" fmla="*/ 23 w 212"/>
                    <a:gd name="T39" fmla="*/ 177 h 203"/>
                    <a:gd name="T40" fmla="*/ 7 w 212"/>
                    <a:gd name="T41" fmla="*/ 177 h 203"/>
                    <a:gd name="T42" fmla="*/ 16 w 212"/>
                    <a:gd name="T43" fmla="*/ 170 h 203"/>
                    <a:gd name="T44" fmla="*/ 0 w 212"/>
                    <a:gd name="T45" fmla="*/ 137 h 203"/>
                    <a:gd name="T46" fmla="*/ 16 w 212"/>
                    <a:gd name="T47" fmla="*/ 130 h 203"/>
                    <a:gd name="T48" fmla="*/ 23 w 212"/>
                    <a:gd name="T49" fmla="*/ 137 h 203"/>
                    <a:gd name="T50" fmla="*/ 31 w 212"/>
                    <a:gd name="T51" fmla="*/ 130 h 203"/>
                    <a:gd name="T52" fmla="*/ 90 w 212"/>
                    <a:gd name="T53" fmla="*/ 130 h 203"/>
                    <a:gd name="T54" fmla="*/ 72 w 212"/>
                    <a:gd name="T55" fmla="*/ 0 h 203"/>
                    <a:gd name="T56" fmla="*/ 96 w 212"/>
                    <a:gd name="T5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6" name="Freeform 20">
                  <a:extLst>
                    <a:ext uri="{FF2B5EF4-FFF2-40B4-BE49-F238E27FC236}">
                      <a16:creationId xmlns:a16="http://schemas.microsoft.com/office/drawing/2014/main" id="{557C2B54-4E8F-21D4-1A87-C33CE4A6BA23}"/>
                    </a:ext>
                  </a:extLst>
                </p:cNvPr>
                <p:cNvSpPr>
                  <a:spLocks/>
                </p:cNvSpPr>
                <p:nvPr/>
              </p:nvSpPr>
              <p:spPr bwMode="gray">
                <a:xfrm>
                  <a:off x="4646437" y="4838067"/>
                  <a:ext cx="127430" cy="124142"/>
                </a:xfrm>
                <a:custGeom>
                  <a:avLst/>
                  <a:gdLst>
                    <a:gd name="T0" fmla="*/ 73 w 83"/>
                    <a:gd name="T1" fmla="*/ 72 h 82"/>
                    <a:gd name="T2" fmla="*/ 73 w 83"/>
                    <a:gd name="T3" fmla="*/ 47 h 82"/>
                    <a:gd name="T4" fmla="*/ 82 w 83"/>
                    <a:gd name="T5" fmla="*/ 32 h 82"/>
                    <a:gd name="T6" fmla="*/ 73 w 83"/>
                    <a:gd name="T7" fmla="*/ 16 h 82"/>
                    <a:gd name="T8" fmla="*/ 65 w 83"/>
                    <a:gd name="T9" fmla="*/ 7 h 82"/>
                    <a:gd name="T10" fmla="*/ 48 w 83"/>
                    <a:gd name="T11" fmla="*/ 7 h 82"/>
                    <a:gd name="T12" fmla="*/ 42 w 83"/>
                    <a:gd name="T13" fmla="*/ 0 h 82"/>
                    <a:gd name="T14" fmla="*/ 33 w 83"/>
                    <a:gd name="T15" fmla="*/ 7 h 82"/>
                    <a:gd name="T16" fmla="*/ 24 w 83"/>
                    <a:gd name="T17" fmla="*/ 0 h 82"/>
                    <a:gd name="T18" fmla="*/ 17 w 83"/>
                    <a:gd name="T19" fmla="*/ 7 h 82"/>
                    <a:gd name="T20" fmla="*/ 8 w 83"/>
                    <a:gd name="T21" fmla="*/ 7 h 82"/>
                    <a:gd name="T22" fmla="*/ 8 w 83"/>
                    <a:gd name="T23" fmla="*/ 16 h 82"/>
                    <a:gd name="T24" fmla="*/ 8 w 83"/>
                    <a:gd name="T25" fmla="*/ 23 h 82"/>
                    <a:gd name="T26" fmla="*/ 8 w 83"/>
                    <a:gd name="T27" fmla="*/ 32 h 82"/>
                    <a:gd name="T28" fmla="*/ 8 w 83"/>
                    <a:gd name="T29" fmla="*/ 41 h 82"/>
                    <a:gd name="T30" fmla="*/ 0 w 83"/>
                    <a:gd name="T31" fmla="*/ 41 h 82"/>
                    <a:gd name="T32" fmla="*/ 0 w 83"/>
                    <a:gd name="T33" fmla="*/ 56 h 82"/>
                    <a:gd name="T34" fmla="*/ 17 w 83"/>
                    <a:gd name="T35" fmla="*/ 65 h 82"/>
                    <a:gd name="T36" fmla="*/ 17 w 83"/>
                    <a:gd name="T37" fmla="*/ 81 h 82"/>
                    <a:gd name="T38" fmla="*/ 33 w 83"/>
                    <a:gd name="T39" fmla="*/ 72 h 82"/>
                    <a:gd name="T40" fmla="*/ 57 w 83"/>
                    <a:gd name="T41" fmla="*/ 72 h 82"/>
                    <a:gd name="T42" fmla="*/ 73 w 83"/>
                    <a:gd name="T43"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7" name="Freeform 21">
                  <a:extLst>
                    <a:ext uri="{FF2B5EF4-FFF2-40B4-BE49-F238E27FC236}">
                      <a16:creationId xmlns:a16="http://schemas.microsoft.com/office/drawing/2014/main" id="{F421BEA7-CE5E-F026-366B-0A5E40E195AB}"/>
                    </a:ext>
                  </a:extLst>
                </p:cNvPr>
                <p:cNvSpPr>
                  <a:spLocks/>
                </p:cNvSpPr>
                <p:nvPr/>
              </p:nvSpPr>
              <p:spPr bwMode="gray">
                <a:xfrm>
                  <a:off x="4758420" y="4826666"/>
                  <a:ext cx="77230" cy="122876"/>
                </a:xfrm>
                <a:custGeom>
                  <a:avLst/>
                  <a:gdLst>
                    <a:gd name="T0" fmla="*/ 0 w 50"/>
                    <a:gd name="T1" fmla="*/ 24 h 81"/>
                    <a:gd name="T2" fmla="*/ 0 w 50"/>
                    <a:gd name="T3" fmla="*/ 8 h 81"/>
                    <a:gd name="T4" fmla="*/ 0 w 50"/>
                    <a:gd name="T5" fmla="*/ 0 h 81"/>
                    <a:gd name="T6" fmla="*/ 32 w 50"/>
                    <a:gd name="T7" fmla="*/ 0 h 81"/>
                    <a:gd name="T8" fmla="*/ 41 w 50"/>
                    <a:gd name="T9" fmla="*/ 31 h 81"/>
                    <a:gd name="T10" fmla="*/ 49 w 50"/>
                    <a:gd name="T11" fmla="*/ 55 h 81"/>
                    <a:gd name="T12" fmla="*/ 49 w 50"/>
                    <a:gd name="T13" fmla="*/ 64 h 81"/>
                    <a:gd name="T14" fmla="*/ 9 w 50"/>
                    <a:gd name="T15" fmla="*/ 80 h 81"/>
                    <a:gd name="T16" fmla="*/ 0 w 50"/>
                    <a:gd name="T17" fmla="*/ 80 h 81"/>
                    <a:gd name="T18" fmla="*/ 0 w 50"/>
                    <a:gd name="T19" fmla="*/ 55 h 81"/>
                    <a:gd name="T20" fmla="*/ 9 w 50"/>
                    <a:gd name="T21" fmla="*/ 40 h 81"/>
                    <a:gd name="T22" fmla="*/ 0 w 50"/>
                    <a:gd name="T23"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8" name="Freeform 22">
                  <a:extLst>
                    <a:ext uri="{FF2B5EF4-FFF2-40B4-BE49-F238E27FC236}">
                      <a16:creationId xmlns:a16="http://schemas.microsoft.com/office/drawing/2014/main" id="{9C316E3F-6BB3-CAD8-B717-1FC2C38F0721}"/>
                    </a:ext>
                  </a:extLst>
                </p:cNvPr>
                <p:cNvSpPr>
                  <a:spLocks/>
                </p:cNvSpPr>
                <p:nvPr/>
              </p:nvSpPr>
              <p:spPr bwMode="gray">
                <a:xfrm>
                  <a:off x="4983676" y="4998946"/>
                  <a:ext cx="113271" cy="122876"/>
                </a:xfrm>
                <a:custGeom>
                  <a:avLst/>
                  <a:gdLst>
                    <a:gd name="T0" fmla="*/ 16 w 74"/>
                    <a:gd name="T1" fmla="*/ 15 h 81"/>
                    <a:gd name="T2" fmla="*/ 32 w 74"/>
                    <a:gd name="T3" fmla="*/ 15 h 81"/>
                    <a:gd name="T4" fmla="*/ 32 w 74"/>
                    <a:gd name="T5" fmla="*/ 0 h 81"/>
                    <a:gd name="T6" fmla="*/ 57 w 74"/>
                    <a:gd name="T7" fmla="*/ 0 h 81"/>
                    <a:gd name="T8" fmla="*/ 57 w 74"/>
                    <a:gd name="T9" fmla="*/ 15 h 81"/>
                    <a:gd name="T10" fmla="*/ 65 w 74"/>
                    <a:gd name="T11" fmla="*/ 6 h 81"/>
                    <a:gd name="T12" fmla="*/ 73 w 74"/>
                    <a:gd name="T13" fmla="*/ 15 h 81"/>
                    <a:gd name="T14" fmla="*/ 73 w 74"/>
                    <a:gd name="T15" fmla="*/ 23 h 81"/>
                    <a:gd name="T16" fmla="*/ 73 w 74"/>
                    <a:gd name="T17" fmla="*/ 56 h 81"/>
                    <a:gd name="T18" fmla="*/ 50 w 74"/>
                    <a:gd name="T19" fmla="*/ 56 h 81"/>
                    <a:gd name="T20" fmla="*/ 41 w 74"/>
                    <a:gd name="T21" fmla="*/ 63 h 81"/>
                    <a:gd name="T22" fmla="*/ 41 w 74"/>
                    <a:gd name="T23" fmla="*/ 72 h 81"/>
                    <a:gd name="T24" fmla="*/ 32 w 74"/>
                    <a:gd name="T25" fmla="*/ 72 h 81"/>
                    <a:gd name="T26" fmla="*/ 32 w 74"/>
                    <a:gd name="T27" fmla="*/ 80 h 81"/>
                    <a:gd name="T28" fmla="*/ 16 w 74"/>
                    <a:gd name="T29" fmla="*/ 63 h 81"/>
                    <a:gd name="T30" fmla="*/ 0 w 74"/>
                    <a:gd name="T31" fmla="*/ 40 h 81"/>
                    <a:gd name="T32" fmla="*/ 10 w 74"/>
                    <a:gd name="T33" fmla="*/ 31 h 81"/>
                    <a:gd name="T34" fmla="*/ 10 w 74"/>
                    <a:gd name="T35" fmla="*/ 23 h 81"/>
                    <a:gd name="T36" fmla="*/ 16 w 74"/>
                    <a:gd name="T37"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89" name="Freeform 23">
                  <a:extLst>
                    <a:ext uri="{FF2B5EF4-FFF2-40B4-BE49-F238E27FC236}">
                      <a16:creationId xmlns:a16="http://schemas.microsoft.com/office/drawing/2014/main" id="{9F8E8D9E-AF64-8C58-A824-1589F089A94E}"/>
                    </a:ext>
                  </a:extLst>
                </p:cNvPr>
                <p:cNvSpPr>
                  <a:spLocks/>
                </p:cNvSpPr>
                <p:nvPr/>
              </p:nvSpPr>
              <p:spPr bwMode="gray">
                <a:xfrm>
                  <a:off x="4983676" y="4788663"/>
                  <a:ext cx="150599" cy="220416"/>
                </a:xfrm>
                <a:custGeom>
                  <a:avLst/>
                  <a:gdLst>
                    <a:gd name="T0" fmla="*/ 0 w 98"/>
                    <a:gd name="T1" fmla="*/ 105 h 146"/>
                    <a:gd name="T2" fmla="*/ 16 w 98"/>
                    <a:gd name="T3" fmla="*/ 80 h 146"/>
                    <a:gd name="T4" fmla="*/ 25 w 98"/>
                    <a:gd name="T5" fmla="*/ 80 h 146"/>
                    <a:gd name="T6" fmla="*/ 32 w 98"/>
                    <a:gd name="T7" fmla="*/ 89 h 146"/>
                    <a:gd name="T8" fmla="*/ 41 w 98"/>
                    <a:gd name="T9" fmla="*/ 80 h 146"/>
                    <a:gd name="T10" fmla="*/ 57 w 98"/>
                    <a:gd name="T11" fmla="*/ 56 h 146"/>
                    <a:gd name="T12" fmla="*/ 65 w 98"/>
                    <a:gd name="T13" fmla="*/ 33 h 146"/>
                    <a:gd name="T14" fmla="*/ 73 w 98"/>
                    <a:gd name="T15" fmla="*/ 15 h 146"/>
                    <a:gd name="T16" fmla="*/ 73 w 98"/>
                    <a:gd name="T17" fmla="*/ 8 h 146"/>
                    <a:gd name="T18" fmla="*/ 73 w 98"/>
                    <a:gd name="T19" fmla="*/ 0 h 146"/>
                    <a:gd name="T20" fmla="*/ 73 w 98"/>
                    <a:gd name="T21" fmla="*/ 8 h 146"/>
                    <a:gd name="T22" fmla="*/ 90 w 98"/>
                    <a:gd name="T23" fmla="*/ 40 h 146"/>
                    <a:gd name="T24" fmla="*/ 73 w 98"/>
                    <a:gd name="T25" fmla="*/ 40 h 146"/>
                    <a:gd name="T26" fmla="*/ 73 w 98"/>
                    <a:gd name="T27" fmla="*/ 49 h 146"/>
                    <a:gd name="T28" fmla="*/ 82 w 98"/>
                    <a:gd name="T29" fmla="*/ 56 h 146"/>
                    <a:gd name="T30" fmla="*/ 90 w 98"/>
                    <a:gd name="T31" fmla="*/ 74 h 146"/>
                    <a:gd name="T32" fmla="*/ 73 w 98"/>
                    <a:gd name="T33" fmla="*/ 98 h 146"/>
                    <a:gd name="T34" fmla="*/ 82 w 98"/>
                    <a:gd name="T35" fmla="*/ 105 h 146"/>
                    <a:gd name="T36" fmla="*/ 97 w 98"/>
                    <a:gd name="T37" fmla="*/ 130 h 146"/>
                    <a:gd name="T38" fmla="*/ 97 w 98"/>
                    <a:gd name="T39" fmla="*/ 145 h 146"/>
                    <a:gd name="T40" fmla="*/ 57 w 98"/>
                    <a:gd name="T41" fmla="*/ 139 h 146"/>
                    <a:gd name="T42" fmla="*/ 32 w 98"/>
                    <a:gd name="T43" fmla="*/ 139 h 146"/>
                    <a:gd name="T44" fmla="*/ 16 w 98"/>
                    <a:gd name="T45" fmla="*/ 139 h 146"/>
                    <a:gd name="T46" fmla="*/ 16 w 98"/>
                    <a:gd name="T47" fmla="*/ 130 h 146"/>
                    <a:gd name="T48" fmla="*/ 10 w 98"/>
                    <a:gd name="T49" fmla="*/ 121 h 146"/>
                    <a:gd name="T50" fmla="*/ 0 w 98"/>
                    <a:gd name="T51" fmla="*/ 114 h 146"/>
                    <a:gd name="T52" fmla="*/ 0 w 98"/>
                    <a:gd name="T53" fmla="*/ 10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0" name="Freeform 24">
                  <a:extLst>
                    <a:ext uri="{FF2B5EF4-FFF2-40B4-BE49-F238E27FC236}">
                      <a16:creationId xmlns:a16="http://schemas.microsoft.com/office/drawing/2014/main" id="{682F05DE-C505-DD34-1875-8A7342C50DD5}"/>
                    </a:ext>
                  </a:extLst>
                </p:cNvPr>
                <p:cNvSpPr>
                  <a:spLocks/>
                </p:cNvSpPr>
                <p:nvPr/>
              </p:nvSpPr>
              <p:spPr bwMode="gray">
                <a:xfrm>
                  <a:off x="4869117" y="4778529"/>
                  <a:ext cx="227830" cy="183680"/>
                </a:xfrm>
                <a:custGeom>
                  <a:avLst/>
                  <a:gdLst>
                    <a:gd name="T0" fmla="*/ 74 w 148"/>
                    <a:gd name="T1" fmla="*/ 112 h 122"/>
                    <a:gd name="T2" fmla="*/ 90 w 148"/>
                    <a:gd name="T3" fmla="*/ 87 h 122"/>
                    <a:gd name="T4" fmla="*/ 99 w 148"/>
                    <a:gd name="T5" fmla="*/ 87 h 122"/>
                    <a:gd name="T6" fmla="*/ 106 w 148"/>
                    <a:gd name="T7" fmla="*/ 96 h 122"/>
                    <a:gd name="T8" fmla="*/ 115 w 148"/>
                    <a:gd name="T9" fmla="*/ 87 h 122"/>
                    <a:gd name="T10" fmla="*/ 131 w 148"/>
                    <a:gd name="T11" fmla="*/ 63 h 122"/>
                    <a:gd name="T12" fmla="*/ 139 w 148"/>
                    <a:gd name="T13" fmla="*/ 40 h 122"/>
                    <a:gd name="T14" fmla="*/ 147 w 148"/>
                    <a:gd name="T15" fmla="*/ 22 h 122"/>
                    <a:gd name="T16" fmla="*/ 147 w 148"/>
                    <a:gd name="T17" fmla="*/ 15 h 122"/>
                    <a:gd name="T18" fmla="*/ 147 w 148"/>
                    <a:gd name="T19" fmla="*/ 7 h 122"/>
                    <a:gd name="T20" fmla="*/ 139 w 148"/>
                    <a:gd name="T21" fmla="*/ 0 h 122"/>
                    <a:gd name="T22" fmla="*/ 131 w 148"/>
                    <a:gd name="T23" fmla="*/ 0 h 122"/>
                    <a:gd name="T24" fmla="*/ 124 w 148"/>
                    <a:gd name="T25" fmla="*/ 7 h 122"/>
                    <a:gd name="T26" fmla="*/ 99 w 148"/>
                    <a:gd name="T27" fmla="*/ 7 h 122"/>
                    <a:gd name="T28" fmla="*/ 84 w 148"/>
                    <a:gd name="T29" fmla="*/ 15 h 122"/>
                    <a:gd name="T30" fmla="*/ 65 w 148"/>
                    <a:gd name="T31" fmla="*/ 7 h 122"/>
                    <a:gd name="T32" fmla="*/ 59 w 148"/>
                    <a:gd name="T33" fmla="*/ 7 h 122"/>
                    <a:gd name="T34" fmla="*/ 34 w 148"/>
                    <a:gd name="T35" fmla="*/ 0 h 122"/>
                    <a:gd name="T36" fmla="*/ 25 w 148"/>
                    <a:gd name="T37" fmla="*/ 0 h 122"/>
                    <a:gd name="T38" fmla="*/ 9 w 148"/>
                    <a:gd name="T39" fmla="*/ 15 h 122"/>
                    <a:gd name="T40" fmla="*/ 9 w 148"/>
                    <a:gd name="T41" fmla="*/ 22 h 122"/>
                    <a:gd name="T42" fmla="*/ 9 w 148"/>
                    <a:gd name="T43" fmla="*/ 40 h 122"/>
                    <a:gd name="T44" fmla="*/ 0 w 148"/>
                    <a:gd name="T45" fmla="*/ 72 h 122"/>
                    <a:gd name="T46" fmla="*/ 0 w 148"/>
                    <a:gd name="T47" fmla="*/ 96 h 122"/>
                    <a:gd name="T48" fmla="*/ 25 w 148"/>
                    <a:gd name="T49" fmla="*/ 96 h 122"/>
                    <a:gd name="T50" fmla="*/ 25 w 148"/>
                    <a:gd name="T51" fmla="*/ 105 h 122"/>
                    <a:gd name="T52" fmla="*/ 34 w 148"/>
                    <a:gd name="T53" fmla="*/ 121 h 122"/>
                    <a:gd name="T54" fmla="*/ 42 w 148"/>
                    <a:gd name="T55" fmla="*/ 121 h 122"/>
                    <a:gd name="T56" fmla="*/ 74 w 148"/>
                    <a:gd name="T57" fmla="*/ 121 h 122"/>
                    <a:gd name="T58" fmla="*/ 74 w 148"/>
                    <a:gd name="T59" fmla="*/ 1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1" name="Freeform 25">
                  <a:extLst>
                    <a:ext uri="{FF2B5EF4-FFF2-40B4-BE49-F238E27FC236}">
                      <a16:creationId xmlns:a16="http://schemas.microsoft.com/office/drawing/2014/main" id="{0602F90E-2F78-8738-9291-DFC008C4F37F}"/>
                    </a:ext>
                  </a:extLst>
                </p:cNvPr>
                <p:cNvSpPr>
                  <a:spLocks/>
                </p:cNvSpPr>
                <p:nvPr/>
              </p:nvSpPr>
              <p:spPr bwMode="gray">
                <a:xfrm>
                  <a:off x="4821492" y="4580915"/>
                  <a:ext cx="312784" cy="231816"/>
                </a:xfrm>
                <a:custGeom>
                  <a:avLst/>
                  <a:gdLst>
                    <a:gd name="T0" fmla="*/ 170 w 203"/>
                    <a:gd name="T1" fmla="*/ 130 h 153"/>
                    <a:gd name="T2" fmla="*/ 170 w 203"/>
                    <a:gd name="T3" fmla="*/ 120 h 153"/>
                    <a:gd name="T4" fmla="*/ 195 w 203"/>
                    <a:gd name="T5" fmla="*/ 89 h 153"/>
                    <a:gd name="T6" fmla="*/ 202 w 203"/>
                    <a:gd name="T7" fmla="*/ 40 h 153"/>
                    <a:gd name="T8" fmla="*/ 187 w 203"/>
                    <a:gd name="T9" fmla="*/ 24 h 153"/>
                    <a:gd name="T10" fmla="*/ 187 w 203"/>
                    <a:gd name="T11" fmla="*/ 8 h 153"/>
                    <a:gd name="T12" fmla="*/ 178 w 203"/>
                    <a:gd name="T13" fmla="*/ 0 h 153"/>
                    <a:gd name="T14" fmla="*/ 146 w 203"/>
                    <a:gd name="T15" fmla="*/ 0 h 153"/>
                    <a:gd name="T16" fmla="*/ 65 w 203"/>
                    <a:gd name="T17" fmla="*/ 55 h 153"/>
                    <a:gd name="T18" fmla="*/ 49 w 203"/>
                    <a:gd name="T19" fmla="*/ 55 h 153"/>
                    <a:gd name="T20" fmla="*/ 49 w 203"/>
                    <a:gd name="T21" fmla="*/ 96 h 153"/>
                    <a:gd name="T22" fmla="*/ 40 w 203"/>
                    <a:gd name="T23" fmla="*/ 105 h 153"/>
                    <a:gd name="T24" fmla="*/ 0 w 203"/>
                    <a:gd name="T25" fmla="*/ 112 h 153"/>
                    <a:gd name="T26" fmla="*/ 0 w 203"/>
                    <a:gd name="T27" fmla="*/ 130 h 153"/>
                    <a:gd name="T28" fmla="*/ 16 w 203"/>
                    <a:gd name="T29" fmla="*/ 145 h 153"/>
                    <a:gd name="T30" fmla="*/ 25 w 203"/>
                    <a:gd name="T31" fmla="*/ 145 h 153"/>
                    <a:gd name="T32" fmla="*/ 25 w 203"/>
                    <a:gd name="T33" fmla="*/ 152 h 153"/>
                    <a:gd name="T34" fmla="*/ 25 w 203"/>
                    <a:gd name="T35" fmla="*/ 145 h 153"/>
                    <a:gd name="T36" fmla="*/ 31 w 203"/>
                    <a:gd name="T37" fmla="*/ 145 h 153"/>
                    <a:gd name="T38" fmla="*/ 40 w 203"/>
                    <a:gd name="T39" fmla="*/ 152 h 153"/>
                    <a:gd name="T40" fmla="*/ 40 w 203"/>
                    <a:gd name="T41" fmla="*/ 145 h 153"/>
                    <a:gd name="T42" fmla="*/ 56 w 203"/>
                    <a:gd name="T43" fmla="*/ 130 h 153"/>
                    <a:gd name="T44" fmla="*/ 65 w 203"/>
                    <a:gd name="T45" fmla="*/ 130 h 153"/>
                    <a:gd name="T46" fmla="*/ 90 w 203"/>
                    <a:gd name="T47" fmla="*/ 137 h 153"/>
                    <a:gd name="T48" fmla="*/ 96 w 203"/>
                    <a:gd name="T49" fmla="*/ 137 h 153"/>
                    <a:gd name="T50" fmla="*/ 115 w 203"/>
                    <a:gd name="T51" fmla="*/ 145 h 153"/>
                    <a:gd name="T52" fmla="*/ 130 w 203"/>
                    <a:gd name="T53" fmla="*/ 137 h 153"/>
                    <a:gd name="T54" fmla="*/ 155 w 203"/>
                    <a:gd name="T55" fmla="*/ 137 h 153"/>
                    <a:gd name="T56" fmla="*/ 162 w 203"/>
                    <a:gd name="T57" fmla="*/ 130 h 153"/>
                    <a:gd name="T58" fmla="*/ 170 w 203"/>
                    <a:gd name="T59" fmla="*/ 13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2" name="Freeform 26">
                  <a:extLst>
                    <a:ext uri="{FF2B5EF4-FFF2-40B4-BE49-F238E27FC236}">
                      <a16:creationId xmlns:a16="http://schemas.microsoft.com/office/drawing/2014/main" id="{1257A92A-EED2-0181-3ED4-18812F313AB7}"/>
                    </a:ext>
                  </a:extLst>
                </p:cNvPr>
                <p:cNvSpPr>
                  <a:spLocks/>
                </p:cNvSpPr>
                <p:nvPr/>
              </p:nvSpPr>
              <p:spPr bwMode="gray">
                <a:xfrm>
                  <a:off x="5246260" y="4593582"/>
                  <a:ext cx="328229" cy="380028"/>
                </a:xfrm>
                <a:custGeom>
                  <a:avLst/>
                  <a:gdLst>
                    <a:gd name="T0" fmla="*/ 7 w 213"/>
                    <a:gd name="T1" fmla="*/ 154 h 251"/>
                    <a:gd name="T2" fmla="*/ 23 w 213"/>
                    <a:gd name="T3" fmla="*/ 169 h 251"/>
                    <a:gd name="T4" fmla="*/ 23 w 213"/>
                    <a:gd name="T5" fmla="*/ 185 h 251"/>
                    <a:gd name="T6" fmla="*/ 41 w 213"/>
                    <a:gd name="T7" fmla="*/ 194 h 251"/>
                    <a:gd name="T8" fmla="*/ 73 w 213"/>
                    <a:gd name="T9" fmla="*/ 234 h 251"/>
                    <a:gd name="T10" fmla="*/ 81 w 213"/>
                    <a:gd name="T11" fmla="*/ 243 h 251"/>
                    <a:gd name="T12" fmla="*/ 106 w 213"/>
                    <a:gd name="T13" fmla="*/ 243 h 251"/>
                    <a:gd name="T14" fmla="*/ 113 w 213"/>
                    <a:gd name="T15" fmla="*/ 250 h 251"/>
                    <a:gd name="T16" fmla="*/ 128 w 213"/>
                    <a:gd name="T17" fmla="*/ 250 h 251"/>
                    <a:gd name="T18" fmla="*/ 153 w 213"/>
                    <a:gd name="T19" fmla="*/ 243 h 251"/>
                    <a:gd name="T20" fmla="*/ 162 w 213"/>
                    <a:gd name="T21" fmla="*/ 243 h 251"/>
                    <a:gd name="T22" fmla="*/ 178 w 213"/>
                    <a:gd name="T23" fmla="*/ 243 h 251"/>
                    <a:gd name="T24" fmla="*/ 178 w 213"/>
                    <a:gd name="T25" fmla="*/ 227 h 251"/>
                    <a:gd name="T26" fmla="*/ 170 w 213"/>
                    <a:gd name="T27" fmla="*/ 227 h 251"/>
                    <a:gd name="T28" fmla="*/ 153 w 213"/>
                    <a:gd name="T29" fmla="*/ 203 h 251"/>
                    <a:gd name="T30" fmla="*/ 146 w 213"/>
                    <a:gd name="T31" fmla="*/ 194 h 251"/>
                    <a:gd name="T32" fmla="*/ 153 w 213"/>
                    <a:gd name="T33" fmla="*/ 185 h 251"/>
                    <a:gd name="T34" fmla="*/ 162 w 213"/>
                    <a:gd name="T35" fmla="*/ 162 h 251"/>
                    <a:gd name="T36" fmla="*/ 187 w 213"/>
                    <a:gd name="T37" fmla="*/ 129 h 251"/>
                    <a:gd name="T38" fmla="*/ 193 w 213"/>
                    <a:gd name="T39" fmla="*/ 81 h 251"/>
                    <a:gd name="T40" fmla="*/ 212 w 213"/>
                    <a:gd name="T41" fmla="*/ 72 h 251"/>
                    <a:gd name="T42" fmla="*/ 212 w 213"/>
                    <a:gd name="T43" fmla="*/ 64 h 251"/>
                    <a:gd name="T44" fmla="*/ 203 w 213"/>
                    <a:gd name="T45" fmla="*/ 57 h 251"/>
                    <a:gd name="T46" fmla="*/ 193 w 213"/>
                    <a:gd name="T47" fmla="*/ 7 h 251"/>
                    <a:gd name="T48" fmla="*/ 178 w 213"/>
                    <a:gd name="T49" fmla="*/ 0 h 251"/>
                    <a:gd name="T50" fmla="*/ 153 w 213"/>
                    <a:gd name="T51" fmla="*/ 16 h 251"/>
                    <a:gd name="T52" fmla="*/ 146 w 213"/>
                    <a:gd name="T53" fmla="*/ 7 h 251"/>
                    <a:gd name="T54" fmla="*/ 41 w 213"/>
                    <a:gd name="T55" fmla="*/ 7 h 251"/>
                    <a:gd name="T56" fmla="*/ 41 w 213"/>
                    <a:gd name="T57" fmla="*/ 32 h 251"/>
                    <a:gd name="T58" fmla="*/ 31 w 213"/>
                    <a:gd name="T59" fmla="*/ 41 h 251"/>
                    <a:gd name="T60" fmla="*/ 23 w 213"/>
                    <a:gd name="T61" fmla="*/ 47 h 251"/>
                    <a:gd name="T62" fmla="*/ 23 w 213"/>
                    <a:gd name="T63" fmla="*/ 88 h 251"/>
                    <a:gd name="T64" fmla="*/ 23 w 213"/>
                    <a:gd name="T65" fmla="*/ 97 h 251"/>
                    <a:gd name="T66" fmla="*/ 16 w 213"/>
                    <a:gd name="T67" fmla="*/ 97 h 251"/>
                    <a:gd name="T68" fmla="*/ 0 w 213"/>
                    <a:gd name="T69" fmla="*/ 129 h 251"/>
                    <a:gd name="T70" fmla="*/ 16 w 213"/>
                    <a:gd name="T71" fmla="*/ 154 h 251"/>
                    <a:gd name="T72" fmla="*/ 7 w 213"/>
                    <a:gd name="T73" fmla="*/ 15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3" name="Freeform 27">
                  <a:extLst>
                    <a:ext uri="{FF2B5EF4-FFF2-40B4-BE49-F238E27FC236}">
                      <a16:creationId xmlns:a16="http://schemas.microsoft.com/office/drawing/2014/main" id="{8215B58F-5E17-CE8D-F11D-350761B6CC4B}"/>
                    </a:ext>
                  </a:extLst>
                </p:cNvPr>
                <p:cNvSpPr>
                  <a:spLocks/>
                </p:cNvSpPr>
                <p:nvPr/>
              </p:nvSpPr>
              <p:spPr bwMode="gray">
                <a:xfrm>
                  <a:off x="5095660" y="4826666"/>
                  <a:ext cx="265158" cy="160879"/>
                </a:xfrm>
                <a:custGeom>
                  <a:avLst/>
                  <a:gdLst>
                    <a:gd name="T0" fmla="*/ 105 w 172"/>
                    <a:gd name="T1" fmla="*/ 0 h 106"/>
                    <a:gd name="T2" fmla="*/ 121 w 172"/>
                    <a:gd name="T3" fmla="*/ 15 h 106"/>
                    <a:gd name="T4" fmla="*/ 121 w 172"/>
                    <a:gd name="T5" fmla="*/ 31 h 106"/>
                    <a:gd name="T6" fmla="*/ 139 w 172"/>
                    <a:gd name="T7" fmla="*/ 40 h 106"/>
                    <a:gd name="T8" fmla="*/ 171 w 172"/>
                    <a:gd name="T9" fmla="*/ 80 h 106"/>
                    <a:gd name="T10" fmla="*/ 114 w 172"/>
                    <a:gd name="T11" fmla="*/ 80 h 106"/>
                    <a:gd name="T12" fmla="*/ 105 w 172"/>
                    <a:gd name="T13" fmla="*/ 89 h 106"/>
                    <a:gd name="T14" fmla="*/ 80 w 172"/>
                    <a:gd name="T15" fmla="*/ 89 h 106"/>
                    <a:gd name="T16" fmla="*/ 74 w 172"/>
                    <a:gd name="T17" fmla="*/ 80 h 106"/>
                    <a:gd name="T18" fmla="*/ 65 w 172"/>
                    <a:gd name="T19" fmla="*/ 80 h 106"/>
                    <a:gd name="T20" fmla="*/ 57 w 172"/>
                    <a:gd name="T21" fmla="*/ 96 h 106"/>
                    <a:gd name="T22" fmla="*/ 34 w 172"/>
                    <a:gd name="T23" fmla="*/ 105 h 106"/>
                    <a:gd name="T24" fmla="*/ 24 w 172"/>
                    <a:gd name="T25" fmla="*/ 105 h 106"/>
                    <a:gd name="T26" fmla="*/ 9 w 172"/>
                    <a:gd name="T27" fmla="*/ 80 h 106"/>
                    <a:gd name="T28" fmla="*/ 0 w 172"/>
                    <a:gd name="T29" fmla="*/ 73 h 106"/>
                    <a:gd name="T30" fmla="*/ 17 w 172"/>
                    <a:gd name="T31" fmla="*/ 49 h 106"/>
                    <a:gd name="T32" fmla="*/ 57 w 172"/>
                    <a:gd name="T33" fmla="*/ 40 h 106"/>
                    <a:gd name="T34" fmla="*/ 65 w 172"/>
                    <a:gd name="T35" fmla="*/ 31 h 106"/>
                    <a:gd name="T36" fmla="*/ 57 w 172"/>
                    <a:gd name="T37" fmla="*/ 31 h 106"/>
                    <a:gd name="T38" fmla="*/ 80 w 172"/>
                    <a:gd name="T39" fmla="*/ 24 h 106"/>
                    <a:gd name="T40" fmla="*/ 98 w 172"/>
                    <a:gd name="T41" fmla="*/ 8 h 106"/>
                    <a:gd name="T42" fmla="*/ 105 w 172"/>
                    <a:gd name="T4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4" name="Freeform 28">
                  <a:extLst>
                    <a:ext uri="{FF2B5EF4-FFF2-40B4-BE49-F238E27FC236}">
                      <a16:creationId xmlns:a16="http://schemas.microsoft.com/office/drawing/2014/main" id="{D1042C79-192F-DCB0-CC40-8127CC3CDF62}"/>
                    </a:ext>
                  </a:extLst>
                </p:cNvPr>
                <p:cNvSpPr>
                  <a:spLocks/>
                </p:cNvSpPr>
                <p:nvPr/>
              </p:nvSpPr>
              <p:spPr bwMode="gray">
                <a:xfrm>
                  <a:off x="5481812" y="4960942"/>
                  <a:ext cx="164758" cy="172279"/>
                </a:xfrm>
                <a:custGeom>
                  <a:avLst/>
                  <a:gdLst>
                    <a:gd name="T0" fmla="*/ 106 w 107"/>
                    <a:gd name="T1" fmla="*/ 7 h 114"/>
                    <a:gd name="T2" fmla="*/ 90 w 107"/>
                    <a:gd name="T3" fmla="*/ 0 h 114"/>
                    <a:gd name="T4" fmla="*/ 65 w 107"/>
                    <a:gd name="T5" fmla="*/ 7 h 114"/>
                    <a:gd name="T6" fmla="*/ 25 w 107"/>
                    <a:gd name="T7" fmla="*/ 0 h 114"/>
                    <a:gd name="T8" fmla="*/ 9 w 107"/>
                    <a:gd name="T9" fmla="*/ 0 h 114"/>
                    <a:gd name="T10" fmla="*/ 0 w 107"/>
                    <a:gd name="T11" fmla="*/ 0 h 114"/>
                    <a:gd name="T12" fmla="*/ 9 w 107"/>
                    <a:gd name="T13" fmla="*/ 7 h 114"/>
                    <a:gd name="T14" fmla="*/ 17 w 107"/>
                    <a:gd name="T15" fmla="*/ 31 h 114"/>
                    <a:gd name="T16" fmla="*/ 0 w 107"/>
                    <a:gd name="T17" fmla="*/ 56 h 114"/>
                    <a:gd name="T18" fmla="*/ 0 w 107"/>
                    <a:gd name="T19" fmla="*/ 65 h 114"/>
                    <a:gd name="T20" fmla="*/ 9 w 107"/>
                    <a:gd name="T21" fmla="*/ 65 h 114"/>
                    <a:gd name="T22" fmla="*/ 50 w 107"/>
                    <a:gd name="T23" fmla="*/ 88 h 114"/>
                    <a:gd name="T24" fmla="*/ 50 w 107"/>
                    <a:gd name="T25" fmla="*/ 105 h 114"/>
                    <a:gd name="T26" fmla="*/ 74 w 107"/>
                    <a:gd name="T27" fmla="*/ 113 h 114"/>
                    <a:gd name="T28" fmla="*/ 82 w 107"/>
                    <a:gd name="T29" fmla="*/ 88 h 114"/>
                    <a:gd name="T30" fmla="*/ 90 w 107"/>
                    <a:gd name="T31" fmla="*/ 88 h 114"/>
                    <a:gd name="T32" fmla="*/ 99 w 107"/>
                    <a:gd name="T33" fmla="*/ 72 h 114"/>
                    <a:gd name="T34" fmla="*/ 90 w 107"/>
                    <a:gd name="T35" fmla="*/ 65 h 114"/>
                    <a:gd name="T36" fmla="*/ 90 w 107"/>
                    <a:gd name="T37" fmla="*/ 25 h 114"/>
                    <a:gd name="T38" fmla="*/ 106 w 107"/>
                    <a:gd name="T39"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5" name="Freeform 29">
                  <a:extLst>
                    <a:ext uri="{FF2B5EF4-FFF2-40B4-BE49-F238E27FC236}">
                      <a16:creationId xmlns:a16="http://schemas.microsoft.com/office/drawing/2014/main" id="{8EC136C9-B6E9-5CDB-A238-E1F9855FF897}"/>
                    </a:ext>
                  </a:extLst>
                </p:cNvPr>
                <p:cNvSpPr>
                  <a:spLocks/>
                </p:cNvSpPr>
                <p:nvPr/>
              </p:nvSpPr>
              <p:spPr bwMode="gray">
                <a:xfrm>
                  <a:off x="5395571" y="4960942"/>
                  <a:ext cx="114558" cy="110208"/>
                </a:xfrm>
                <a:custGeom>
                  <a:avLst/>
                  <a:gdLst>
                    <a:gd name="T0" fmla="*/ 56 w 74"/>
                    <a:gd name="T1" fmla="*/ 0 h 73"/>
                    <a:gd name="T2" fmla="*/ 65 w 74"/>
                    <a:gd name="T3" fmla="*/ 7 h 73"/>
                    <a:gd name="T4" fmla="*/ 73 w 74"/>
                    <a:gd name="T5" fmla="*/ 31 h 73"/>
                    <a:gd name="T6" fmla="*/ 56 w 74"/>
                    <a:gd name="T7" fmla="*/ 56 h 73"/>
                    <a:gd name="T8" fmla="*/ 56 w 74"/>
                    <a:gd name="T9" fmla="*/ 65 h 73"/>
                    <a:gd name="T10" fmla="*/ 31 w 74"/>
                    <a:gd name="T11" fmla="*/ 65 h 73"/>
                    <a:gd name="T12" fmla="*/ 16 w 74"/>
                    <a:gd name="T13" fmla="*/ 65 h 73"/>
                    <a:gd name="T14" fmla="*/ 0 w 74"/>
                    <a:gd name="T15" fmla="*/ 72 h 73"/>
                    <a:gd name="T16" fmla="*/ 9 w 74"/>
                    <a:gd name="T17" fmla="*/ 48 h 73"/>
                    <a:gd name="T18" fmla="*/ 16 w 74"/>
                    <a:gd name="T19" fmla="*/ 40 h 73"/>
                    <a:gd name="T20" fmla="*/ 25 w 74"/>
                    <a:gd name="T21" fmla="*/ 25 h 73"/>
                    <a:gd name="T22" fmla="*/ 16 w 74"/>
                    <a:gd name="T23" fmla="*/ 25 h 73"/>
                    <a:gd name="T24" fmla="*/ 16 w 74"/>
                    <a:gd name="T25" fmla="*/ 7 h 73"/>
                    <a:gd name="T26" fmla="*/ 31 w 74"/>
                    <a:gd name="T27" fmla="*/ 7 h 73"/>
                    <a:gd name="T28" fmla="*/ 56 w 74"/>
                    <a:gd name="T2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6" name="Freeform 30">
                  <a:extLst>
                    <a:ext uri="{FF2B5EF4-FFF2-40B4-BE49-F238E27FC236}">
                      <a16:creationId xmlns:a16="http://schemas.microsoft.com/office/drawing/2014/main" id="{CD111974-D8BF-1BF4-36AD-25909DECEA23}"/>
                    </a:ext>
                  </a:extLst>
                </p:cNvPr>
                <p:cNvSpPr>
                  <a:spLocks/>
                </p:cNvSpPr>
                <p:nvPr/>
              </p:nvSpPr>
              <p:spPr bwMode="gray">
                <a:xfrm>
                  <a:off x="5395571" y="5059750"/>
                  <a:ext cx="213671" cy="209015"/>
                </a:xfrm>
                <a:custGeom>
                  <a:avLst/>
                  <a:gdLst>
                    <a:gd name="T0" fmla="*/ 49 w 139"/>
                    <a:gd name="T1" fmla="*/ 113 h 138"/>
                    <a:gd name="T2" fmla="*/ 25 w 139"/>
                    <a:gd name="T3" fmla="*/ 97 h 138"/>
                    <a:gd name="T4" fmla="*/ 16 w 139"/>
                    <a:gd name="T5" fmla="*/ 97 h 138"/>
                    <a:gd name="T6" fmla="*/ 0 w 139"/>
                    <a:gd name="T7" fmla="*/ 72 h 138"/>
                    <a:gd name="T8" fmla="*/ 0 w 139"/>
                    <a:gd name="T9" fmla="*/ 48 h 138"/>
                    <a:gd name="T10" fmla="*/ 16 w 139"/>
                    <a:gd name="T11" fmla="*/ 32 h 138"/>
                    <a:gd name="T12" fmla="*/ 16 w 139"/>
                    <a:gd name="T13" fmla="*/ 23 h 138"/>
                    <a:gd name="T14" fmla="*/ 16 w 139"/>
                    <a:gd name="T15" fmla="*/ 16 h 138"/>
                    <a:gd name="T16" fmla="*/ 16 w 139"/>
                    <a:gd name="T17" fmla="*/ 0 h 138"/>
                    <a:gd name="T18" fmla="*/ 31 w 139"/>
                    <a:gd name="T19" fmla="*/ 0 h 138"/>
                    <a:gd name="T20" fmla="*/ 56 w 139"/>
                    <a:gd name="T21" fmla="*/ 0 h 138"/>
                    <a:gd name="T22" fmla="*/ 65 w 139"/>
                    <a:gd name="T23" fmla="*/ 0 h 138"/>
                    <a:gd name="T24" fmla="*/ 106 w 139"/>
                    <a:gd name="T25" fmla="*/ 23 h 138"/>
                    <a:gd name="T26" fmla="*/ 106 w 139"/>
                    <a:gd name="T27" fmla="*/ 40 h 138"/>
                    <a:gd name="T28" fmla="*/ 130 w 139"/>
                    <a:gd name="T29" fmla="*/ 48 h 138"/>
                    <a:gd name="T30" fmla="*/ 121 w 139"/>
                    <a:gd name="T31" fmla="*/ 63 h 138"/>
                    <a:gd name="T32" fmla="*/ 130 w 139"/>
                    <a:gd name="T33" fmla="*/ 80 h 138"/>
                    <a:gd name="T34" fmla="*/ 130 w 139"/>
                    <a:gd name="T35" fmla="*/ 103 h 138"/>
                    <a:gd name="T36" fmla="*/ 130 w 139"/>
                    <a:gd name="T37" fmla="*/ 113 h 138"/>
                    <a:gd name="T38" fmla="*/ 138 w 139"/>
                    <a:gd name="T39" fmla="*/ 122 h 138"/>
                    <a:gd name="T40" fmla="*/ 121 w 139"/>
                    <a:gd name="T41" fmla="*/ 137 h 138"/>
                    <a:gd name="T42" fmla="*/ 90 w 139"/>
                    <a:gd name="T43" fmla="*/ 137 h 138"/>
                    <a:gd name="T44" fmla="*/ 73 w 139"/>
                    <a:gd name="T45" fmla="*/ 137 h 138"/>
                    <a:gd name="T46" fmla="*/ 65 w 139"/>
                    <a:gd name="T47" fmla="*/ 113 h 138"/>
                    <a:gd name="T48" fmla="*/ 56 w 139"/>
                    <a:gd name="T49" fmla="*/ 113 h 138"/>
                    <a:gd name="T50" fmla="*/ 49 w 139"/>
                    <a:gd name="T51" fmla="*/ 11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7" name="Freeform 31">
                  <a:extLst>
                    <a:ext uri="{FF2B5EF4-FFF2-40B4-BE49-F238E27FC236}">
                      <a16:creationId xmlns:a16="http://schemas.microsoft.com/office/drawing/2014/main" id="{DE3BF9DB-BC07-C9DE-502A-3566C2FA4DF1}"/>
                    </a:ext>
                  </a:extLst>
                </p:cNvPr>
                <p:cNvSpPr>
                  <a:spLocks/>
                </p:cNvSpPr>
                <p:nvPr/>
              </p:nvSpPr>
              <p:spPr bwMode="gray">
                <a:xfrm>
                  <a:off x="5060906" y="4947008"/>
                  <a:ext cx="374567" cy="359760"/>
                </a:xfrm>
                <a:custGeom>
                  <a:avLst/>
                  <a:gdLst>
                    <a:gd name="T0" fmla="*/ 194 w 244"/>
                    <a:gd name="T1" fmla="*/ 0 h 237"/>
                    <a:gd name="T2" fmla="*/ 137 w 244"/>
                    <a:gd name="T3" fmla="*/ 0 h 237"/>
                    <a:gd name="T4" fmla="*/ 128 w 244"/>
                    <a:gd name="T5" fmla="*/ 9 h 237"/>
                    <a:gd name="T6" fmla="*/ 103 w 244"/>
                    <a:gd name="T7" fmla="*/ 9 h 237"/>
                    <a:gd name="T8" fmla="*/ 97 w 244"/>
                    <a:gd name="T9" fmla="*/ 0 h 237"/>
                    <a:gd name="T10" fmla="*/ 88 w 244"/>
                    <a:gd name="T11" fmla="*/ 0 h 237"/>
                    <a:gd name="T12" fmla="*/ 80 w 244"/>
                    <a:gd name="T13" fmla="*/ 16 h 237"/>
                    <a:gd name="T14" fmla="*/ 63 w 244"/>
                    <a:gd name="T15" fmla="*/ 74 h 237"/>
                    <a:gd name="T16" fmla="*/ 47 w 244"/>
                    <a:gd name="T17" fmla="*/ 90 h 237"/>
                    <a:gd name="T18" fmla="*/ 40 w 244"/>
                    <a:gd name="T19" fmla="*/ 114 h 237"/>
                    <a:gd name="T20" fmla="*/ 23 w 244"/>
                    <a:gd name="T21" fmla="*/ 122 h 237"/>
                    <a:gd name="T22" fmla="*/ 7 w 244"/>
                    <a:gd name="T23" fmla="*/ 122 h 237"/>
                    <a:gd name="T24" fmla="*/ 0 w 244"/>
                    <a:gd name="T25" fmla="*/ 137 h 237"/>
                    <a:gd name="T26" fmla="*/ 0 w 244"/>
                    <a:gd name="T27" fmla="*/ 146 h 237"/>
                    <a:gd name="T28" fmla="*/ 15 w 244"/>
                    <a:gd name="T29" fmla="*/ 137 h 237"/>
                    <a:gd name="T30" fmla="*/ 47 w 244"/>
                    <a:gd name="T31" fmla="*/ 137 h 237"/>
                    <a:gd name="T32" fmla="*/ 57 w 244"/>
                    <a:gd name="T33" fmla="*/ 137 h 237"/>
                    <a:gd name="T34" fmla="*/ 57 w 244"/>
                    <a:gd name="T35" fmla="*/ 154 h 237"/>
                    <a:gd name="T36" fmla="*/ 72 w 244"/>
                    <a:gd name="T37" fmla="*/ 171 h 237"/>
                    <a:gd name="T38" fmla="*/ 88 w 244"/>
                    <a:gd name="T39" fmla="*/ 162 h 237"/>
                    <a:gd name="T40" fmla="*/ 88 w 244"/>
                    <a:gd name="T41" fmla="*/ 154 h 237"/>
                    <a:gd name="T42" fmla="*/ 103 w 244"/>
                    <a:gd name="T43" fmla="*/ 154 h 237"/>
                    <a:gd name="T44" fmla="*/ 121 w 244"/>
                    <a:gd name="T45" fmla="*/ 162 h 237"/>
                    <a:gd name="T46" fmla="*/ 121 w 244"/>
                    <a:gd name="T47" fmla="*/ 187 h 237"/>
                    <a:gd name="T48" fmla="*/ 128 w 244"/>
                    <a:gd name="T49" fmla="*/ 196 h 237"/>
                    <a:gd name="T50" fmla="*/ 121 w 244"/>
                    <a:gd name="T51" fmla="*/ 202 h 237"/>
                    <a:gd name="T52" fmla="*/ 121 w 244"/>
                    <a:gd name="T53" fmla="*/ 211 h 237"/>
                    <a:gd name="T54" fmla="*/ 144 w 244"/>
                    <a:gd name="T55" fmla="*/ 202 h 237"/>
                    <a:gd name="T56" fmla="*/ 177 w 244"/>
                    <a:gd name="T57" fmla="*/ 219 h 237"/>
                    <a:gd name="T58" fmla="*/ 186 w 244"/>
                    <a:gd name="T59" fmla="*/ 211 h 237"/>
                    <a:gd name="T60" fmla="*/ 209 w 244"/>
                    <a:gd name="T61" fmla="*/ 227 h 237"/>
                    <a:gd name="T62" fmla="*/ 218 w 244"/>
                    <a:gd name="T63" fmla="*/ 236 h 237"/>
                    <a:gd name="T64" fmla="*/ 218 w 244"/>
                    <a:gd name="T65" fmla="*/ 219 h 237"/>
                    <a:gd name="T66" fmla="*/ 209 w 244"/>
                    <a:gd name="T67" fmla="*/ 219 h 237"/>
                    <a:gd name="T68" fmla="*/ 209 w 244"/>
                    <a:gd name="T69" fmla="*/ 211 h 237"/>
                    <a:gd name="T70" fmla="*/ 209 w 244"/>
                    <a:gd name="T71" fmla="*/ 177 h 237"/>
                    <a:gd name="T72" fmla="*/ 209 w 244"/>
                    <a:gd name="T73" fmla="*/ 171 h 237"/>
                    <a:gd name="T74" fmla="*/ 234 w 244"/>
                    <a:gd name="T75" fmla="*/ 171 h 237"/>
                    <a:gd name="T76" fmla="*/ 218 w 244"/>
                    <a:gd name="T77" fmla="*/ 146 h 237"/>
                    <a:gd name="T78" fmla="*/ 218 w 244"/>
                    <a:gd name="T79" fmla="*/ 122 h 237"/>
                    <a:gd name="T80" fmla="*/ 218 w 244"/>
                    <a:gd name="T81" fmla="*/ 106 h 237"/>
                    <a:gd name="T82" fmla="*/ 218 w 244"/>
                    <a:gd name="T83" fmla="*/ 97 h 237"/>
                    <a:gd name="T84" fmla="*/ 209 w 244"/>
                    <a:gd name="T85" fmla="*/ 97 h 237"/>
                    <a:gd name="T86" fmla="*/ 218 w 244"/>
                    <a:gd name="T87" fmla="*/ 81 h 237"/>
                    <a:gd name="T88" fmla="*/ 227 w 244"/>
                    <a:gd name="T89" fmla="*/ 57 h 237"/>
                    <a:gd name="T90" fmla="*/ 234 w 244"/>
                    <a:gd name="T91" fmla="*/ 49 h 237"/>
                    <a:gd name="T92" fmla="*/ 243 w 244"/>
                    <a:gd name="T93" fmla="*/ 34 h 237"/>
                    <a:gd name="T94" fmla="*/ 234 w 244"/>
                    <a:gd name="T95" fmla="*/ 34 h 237"/>
                    <a:gd name="T96" fmla="*/ 234 w 244"/>
                    <a:gd name="T97" fmla="*/ 16 h 237"/>
                    <a:gd name="T98" fmla="*/ 227 w 244"/>
                    <a:gd name="T99" fmla="*/ 9 h 237"/>
                    <a:gd name="T100" fmla="*/ 202 w 244"/>
                    <a:gd name="T101" fmla="*/ 9 h 237"/>
                    <a:gd name="T102" fmla="*/ 194 w 244"/>
                    <a:gd name="T103"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8" name="Freeform 32">
                  <a:extLst>
                    <a:ext uri="{FF2B5EF4-FFF2-40B4-BE49-F238E27FC236}">
                      <a16:creationId xmlns:a16="http://schemas.microsoft.com/office/drawing/2014/main" id="{3B115877-2C0A-3B5D-811C-60F793222A8F}"/>
                    </a:ext>
                  </a:extLst>
                </p:cNvPr>
                <p:cNvSpPr>
                  <a:spLocks/>
                </p:cNvSpPr>
                <p:nvPr/>
              </p:nvSpPr>
              <p:spPr bwMode="gray">
                <a:xfrm>
                  <a:off x="5246260" y="5206693"/>
                  <a:ext cx="236840" cy="184947"/>
                </a:xfrm>
                <a:custGeom>
                  <a:avLst/>
                  <a:gdLst>
                    <a:gd name="T0" fmla="*/ 23 w 154"/>
                    <a:gd name="T1" fmla="*/ 31 h 122"/>
                    <a:gd name="T2" fmla="*/ 56 w 154"/>
                    <a:gd name="T3" fmla="*/ 48 h 122"/>
                    <a:gd name="T4" fmla="*/ 65 w 154"/>
                    <a:gd name="T5" fmla="*/ 40 h 122"/>
                    <a:gd name="T6" fmla="*/ 88 w 154"/>
                    <a:gd name="T7" fmla="*/ 56 h 122"/>
                    <a:gd name="T8" fmla="*/ 97 w 154"/>
                    <a:gd name="T9" fmla="*/ 65 h 122"/>
                    <a:gd name="T10" fmla="*/ 97 w 154"/>
                    <a:gd name="T11" fmla="*/ 48 h 122"/>
                    <a:gd name="T12" fmla="*/ 88 w 154"/>
                    <a:gd name="T13" fmla="*/ 48 h 122"/>
                    <a:gd name="T14" fmla="*/ 88 w 154"/>
                    <a:gd name="T15" fmla="*/ 40 h 122"/>
                    <a:gd name="T16" fmla="*/ 88 w 154"/>
                    <a:gd name="T17" fmla="*/ 6 h 122"/>
                    <a:gd name="T18" fmla="*/ 88 w 154"/>
                    <a:gd name="T19" fmla="*/ 0 h 122"/>
                    <a:gd name="T20" fmla="*/ 113 w 154"/>
                    <a:gd name="T21" fmla="*/ 0 h 122"/>
                    <a:gd name="T22" fmla="*/ 122 w 154"/>
                    <a:gd name="T23" fmla="*/ 0 h 122"/>
                    <a:gd name="T24" fmla="*/ 146 w 154"/>
                    <a:gd name="T25" fmla="*/ 16 h 122"/>
                    <a:gd name="T26" fmla="*/ 153 w 154"/>
                    <a:gd name="T27" fmla="*/ 31 h 122"/>
                    <a:gd name="T28" fmla="*/ 146 w 154"/>
                    <a:gd name="T29" fmla="*/ 40 h 122"/>
                    <a:gd name="T30" fmla="*/ 146 w 154"/>
                    <a:gd name="T31" fmla="*/ 48 h 122"/>
                    <a:gd name="T32" fmla="*/ 138 w 154"/>
                    <a:gd name="T33" fmla="*/ 65 h 122"/>
                    <a:gd name="T34" fmla="*/ 146 w 154"/>
                    <a:gd name="T35" fmla="*/ 72 h 122"/>
                    <a:gd name="T36" fmla="*/ 106 w 154"/>
                    <a:gd name="T37" fmla="*/ 88 h 122"/>
                    <a:gd name="T38" fmla="*/ 106 w 154"/>
                    <a:gd name="T39" fmla="*/ 97 h 122"/>
                    <a:gd name="T40" fmla="*/ 88 w 154"/>
                    <a:gd name="T41" fmla="*/ 97 h 122"/>
                    <a:gd name="T42" fmla="*/ 88 w 154"/>
                    <a:gd name="T43" fmla="*/ 105 h 122"/>
                    <a:gd name="T44" fmla="*/ 65 w 154"/>
                    <a:gd name="T45" fmla="*/ 121 h 122"/>
                    <a:gd name="T46" fmla="*/ 41 w 154"/>
                    <a:gd name="T47" fmla="*/ 121 h 122"/>
                    <a:gd name="T48" fmla="*/ 23 w 154"/>
                    <a:gd name="T49" fmla="*/ 112 h 122"/>
                    <a:gd name="T50" fmla="*/ 16 w 154"/>
                    <a:gd name="T51" fmla="*/ 121 h 122"/>
                    <a:gd name="T52" fmla="*/ 0 w 154"/>
                    <a:gd name="T53" fmla="*/ 105 h 122"/>
                    <a:gd name="T54" fmla="*/ 0 w 154"/>
                    <a:gd name="T55" fmla="*/ 65 h 122"/>
                    <a:gd name="T56" fmla="*/ 31 w 154"/>
                    <a:gd name="T57" fmla="*/ 56 h 122"/>
                    <a:gd name="T58" fmla="*/ 23 w 154"/>
                    <a:gd name="T59" fmla="*/ 3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599" name="Freeform 33">
                  <a:extLst>
                    <a:ext uri="{FF2B5EF4-FFF2-40B4-BE49-F238E27FC236}">
                      <a16:creationId xmlns:a16="http://schemas.microsoft.com/office/drawing/2014/main" id="{C3EC4152-3660-F652-1EB4-ABD81DA2AE0B}"/>
                    </a:ext>
                  </a:extLst>
                </p:cNvPr>
                <p:cNvSpPr>
                  <a:spLocks/>
                </p:cNvSpPr>
                <p:nvPr/>
              </p:nvSpPr>
              <p:spPr bwMode="gray">
                <a:xfrm>
                  <a:off x="5458643" y="5230762"/>
                  <a:ext cx="63072" cy="146944"/>
                </a:xfrm>
                <a:custGeom>
                  <a:avLst/>
                  <a:gdLst>
                    <a:gd name="T0" fmla="*/ 8 w 41"/>
                    <a:gd name="T1" fmla="*/ 56 h 97"/>
                    <a:gd name="T2" fmla="*/ 0 w 41"/>
                    <a:gd name="T3" fmla="*/ 49 h 97"/>
                    <a:gd name="T4" fmla="*/ 8 w 41"/>
                    <a:gd name="T5" fmla="*/ 32 h 97"/>
                    <a:gd name="T6" fmla="*/ 8 w 41"/>
                    <a:gd name="T7" fmla="*/ 24 h 97"/>
                    <a:gd name="T8" fmla="*/ 15 w 41"/>
                    <a:gd name="T9" fmla="*/ 15 h 97"/>
                    <a:gd name="T10" fmla="*/ 8 w 41"/>
                    <a:gd name="T11" fmla="*/ 0 h 97"/>
                    <a:gd name="T12" fmla="*/ 15 w 41"/>
                    <a:gd name="T13" fmla="*/ 0 h 97"/>
                    <a:gd name="T14" fmla="*/ 24 w 41"/>
                    <a:gd name="T15" fmla="*/ 0 h 97"/>
                    <a:gd name="T16" fmla="*/ 32 w 41"/>
                    <a:gd name="T17" fmla="*/ 24 h 97"/>
                    <a:gd name="T18" fmla="*/ 24 w 41"/>
                    <a:gd name="T19" fmla="*/ 32 h 97"/>
                    <a:gd name="T20" fmla="*/ 32 w 41"/>
                    <a:gd name="T21" fmla="*/ 49 h 97"/>
                    <a:gd name="T22" fmla="*/ 40 w 41"/>
                    <a:gd name="T23" fmla="*/ 64 h 97"/>
                    <a:gd name="T24" fmla="*/ 40 w 41"/>
                    <a:gd name="T25" fmla="*/ 81 h 97"/>
                    <a:gd name="T26" fmla="*/ 32 w 41"/>
                    <a:gd name="T27" fmla="*/ 96 h 97"/>
                    <a:gd name="T28" fmla="*/ 24 w 41"/>
                    <a:gd name="T29" fmla="*/ 81 h 97"/>
                    <a:gd name="T30" fmla="*/ 24 w 41"/>
                    <a:gd name="T31" fmla="*/ 64 h 97"/>
                    <a:gd name="T32" fmla="*/ 15 w 41"/>
                    <a:gd name="T33" fmla="*/ 64 h 97"/>
                    <a:gd name="T34" fmla="*/ 8 w 41"/>
                    <a:gd name="T35" fmla="*/ 5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0" name="Freeform 34">
                  <a:extLst>
                    <a:ext uri="{FF2B5EF4-FFF2-40B4-BE49-F238E27FC236}">
                      <a16:creationId xmlns:a16="http://schemas.microsoft.com/office/drawing/2014/main" id="{A296F5AE-F6E6-5253-9E83-7D7009745180}"/>
                    </a:ext>
                  </a:extLst>
                </p:cNvPr>
                <p:cNvSpPr>
                  <a:spLocks/>
                </p:cNvSpPr>
                <p:nvPr/>
              </p:nvSpPr>
              <p:spPr bwMode="gray">
                <a:xfrm>
                  <a:off x="5071204" y="4763328"/>
                  <a:ext cx="52774" cy="39270"/>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0" y="10"/>
                      </a:moveTo>
                      <a:lnTo>
                        <a:pt x="16" y="25"/>
                      </a:lnTo>
                      <a:lnTo>
                        <a:pt x="25" y="17"/>
                      </a:lnTo>
                      <a:lnTo>
                        <a:pt x="33" y="17"/>
                      </a:lnTo>
                      <a:lnTo>
                        <a:pt x="16" y="10"/>
                      </a:lnTo>
                      <a:lnTo>
                        <a:pt x="8" y="0"/>
                      </a:lnTo>
                      <a:lnTo>
                        <a:pt x="0" y="1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1" name="Freeform 35">
                  <a:extLst>
                    <a:ext uri="{FF2B5EF4-FFF2-40B4-BE49-F238E27FC236}">
                      <a16:creationId xmlns:a16="http://schemas.microsoft.com/office/drawing/2014/main" id="{4E6DFD63-E56B-8CA1-42F0-E11DBA55C71F}"/>
                    </a:ext>
                  </a:extLst>
                </p:cNvPr>
                <p:cNvSpPr>
                  <a:spLocks/>
                </p:cNvSpPr>
                <p:nvPr/>
              </p:nvSpPr>
              <p:spPr bwMode="gray">
                <a:xfrm>
                  <a:off x="5071204" y="4763328"/>
                  <a:ext cx="52774" cy="39270"/>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0" y="10"/>
                      </a:moveTo>
                      <a:lnTo>
                        <a:pt x="16" y="25"/>
                      </a:lnTo>
                      <a:lnTo>
                        <a:pt x="25" y="17"/>
                      </a:lnTo>
                      <a:lnTo>
                        <a:pt x="33" y="17"/>
                      </a:lnTo>
                      <a:lnTo>
                        <a:pt x="16" y="10"/>
                      </a:lnTo>
                      <a:lnTo>
                        <a:pt x="8" y="0"/>
                      </a:lnTo>
                      <a:lnTo>
                        <a:pt x="0" y="1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2" name="Freeform 135">
                  <a:extLst>
                    <a:ext uri="{FF2B5EF4-FFF2-40B4-BE49-F238E27FC236}">
                      <a16:creationId xmlns:a16="http://schemas.microsoft.com/office/drawing/2014/main" id="{3738F344-B8BA-B964-807D-6460D94DAAC2}"/>
                    </a:ext>
                  </a:extLst>
                </p:cNvPr>
                <p:cNvSpPr>
                  <a:spLocks/>
                </p:cNvSpPr>
                <p:nvPr/>
              </p:nvSpPr>
              <p:spPr bwMode="gray">
                <a:xfrm>
                  <a:off x="5507555" y="4273092"/>
                  <a:ext cx="151887" cy="111475"/>
                </a:xfrm>
                <a:custGeom>
                  <a:avLst/>
                  <a:gdLst>
                    <a:gd name="T0" fmla="*/ 0 w 98"/>
                    <a:gd name="T1" fmla="*/ 72 h 73"/>
                    <a:gd name="T2" fmla="*/ 8 w 98"/>
                    <a:gd name="T3" fmla="*/ 66 h 73"/>
                    <a:gd name="T4" fmla="*/ 17 w 98"/>
                    <a:gd name="T5" fmla="*/ 49 h 73"/>
                    <a:gd name="T6" fmla="*/ 8 w 98"/>
                    <a:gd name="T7" fmla="*/ 41 h 73"/>
                    <a:gd name="T8" fmla="*/ 8 w 98"/>
                    <a:gd name="T9" fmla="*/ 16 h 73"/>
                    <a:gd name="T10" fmla="*/ 17 w 98"/>
                    <a:gd name="T11" fmla="*/ 16 h 73"/>
                    <a:gd name="T12" fmla="*/ 17 w 98"/>
                    <a:gd name="T13" fmla="*/ 9 h 73"/>
                    <a:gd name="T14" fmla="*/ 42 w 98"/>
                    <a:gd name="T15" fmla="*/ 0 h 73"/>
                    <a:gd name="T16" fmla="*/ 48 w 98"/>
                    <a:gd name="T17" fmla="*/ 9 h 73"/>
                    <a:gd name="T18" fmla="*/ 73 w 98"/>
                    <a:gd name="T19" fmla="*/ 0 h 73"/>
                    <a:gd name="T20" fmla="*/ 97 w 98"/>
                    <a:gd name="T21" fmla="*/ 0 h 73"/>
                    <a:gd name="T22" fmla="*/ 82 w 98"/>
                    <a:gd name="T23" fmla="*/ 9 h 73"/>
                    <a:gd name="T24" fmla="*/ 73 w 98"/>
                    <a:gd name="T25" fmla="*/ 41 h 73"/>
                    <a:gd name="T26" fmla="*/ 48 w 98"/>
                    <a:gd name="T27" fmla="*/ 56 h 73"/>
                    <a:gd name="T28" fmla="*/ 42 w 98"/>
                    <a:gd name="T29" fmla="*/ 56 h 73"/>
                    <a:gd name="T30" fmla="*/ 17 w 98"/>
                    <a:gd name="T31" fmla="*/ 72 h 73"/>
                    <a:gd name="T32" fmla="*/ 0 w 98"/>
                    <a:gd name="T33"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3" name="Freeform 136">
                  <a:extLst>
                    <a:ext uri="{FF2B5EF4-FFF2-40B4-BE49-F238E27FC236}">
                      <a16:creationId xmlns:a16="http://schemas.microsoft.com/office/drawing/2014/main" id="{AEBD4D51-3AAE-D7E0-9676-F55DE9B00CF3}"/>
                    </a:ext>
                  </a:extLst>
                </p:cNvPr>
                <p:cNvSpPr>
                  <a:spLocks/>
                </p:cNvSpPr>
                <p:nvPr/>
              </p:nvSpPr>
              <p:spPr bwMode="gray">
                <a:xfrm>
                  <a:off x="5495971" y="4357965"/>
                  <a:ext cx="87528" cy="100074"/>
                </a:xfrm>
                <a:custGeom>
                  <a:avLst/>
                  <a:gdLst>
                    <a:gd name="T0" fmla="*/ 56 w 57"/>
                    <a:gd name="T1" fmla="*/ 16 h 66"/>
                    <a:gd name="T2" fmla="*/ 56 w 57"/>
                    <a:gd name="T3" fmla="*/ 0 h 66"/>
                    <a:gd name="T4" fmla="*/ 50 w 57"/>
                    <a:gd name="T5" fmla="*/ 0 h 66"/>
                    <a:gd name="T6" fmla="*/ 25 w 57"/>
                    <a:gd name="T7" fmla="*/ 16 h 66"/>
                    <a:gd name="T8" fmla="*/ 8 w 57"/>
                    <a:gd name="T9" fmla="*/ 16 h 66"/>
                    <a:gd name="T10" fmla="*/ 8 w 57"/>
                    <a:gd name="T11" fmla="*/ 25 h 66"/>
                    <a:gd name="T12" fmla="*/ 8 w 57"/>
                    <a:gd name="T13" fmla="*/ 41 h 66"/>
                    <a:gd name="T14" fmla="*/ 0 w 57"/>
                    <a:gd name="T15" fmla="*/ 65 h 66"/>
                    <a:gd name="T16" fmla="*/ 16 w 57"/>
                    <a:gd name="T17" fmla="*/ 65 h 66"/>
                    <a:gd name="T18" fmla="*/ 25 w 57"/>
                    <a:gd name="T19" fmla="*/ 57 h 66"/>
                    <a:gd name="T20" fmla="*/ 31 w 57"/>
                    <a:gd name="T21" fmla="*/ 57 h 66"/>
                    <a:gd name="T22" fmla="*/ 41 w 57"/>
                    <a:gd name="T23" fmla="*/ 41 h 66"/>
                    <a:gd name="T24" fmla="*/ 31 w 57"/>
                    <a:gd name="T25" fmla="*/ 34 h 66"/>
                    <a:gd name="T26" fmla="*/ 56 w 57"/>
                    <a:gd name="T2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4" name="Freeform 137">
                  <a:extLst>
                    <a:ext uri="{FF2B5EF4-FFF2-40B4-BE49-F238E27FC236}">
                      <a16:creationId xmlns:a16="http://schemas.microsoft.com/office/drawing/2014/main" id="{DDBFF007-A19D-0C9D-ABC5-FD0F4565E096}"/>
                    </a:ext>
                  </a:extLst>
                </p:cNvPr>
                <p:cNvSpPr>
                  <a:spLocks/>
                </p:cNvSpPr>
                <p:nvPr/>
              </p:nvSpPr>
              <p:spPr bwMode="gray">
                <a:xfrm>
                  <a:off x="5507555" y="4335163"/>
                  <a:ext cx="28318" cy="40536"/>
                </a:xfrm>
                <a:custGeom>
                  <a:avLst/>
                  <a:gdLst>
                    <a:gd name="T0" fmla="*/ 8 w 18"/>
                    <a:gd name="T1" fmla="*/ 25 h 26"/>
                    <a:gd name="T2" fmla="*/ 0 w 18"/>
                    <a:gd name="T3" fmla="*/ 25 h 26"/>
                    <a:gd name="T4" fmla="*/ 8 w 18"/>
                    <a:gd name="T5" fmla="*/ 0 h 26"/>
                    <a:gd name="T6" fmla="*/ 17 w 18"/>
                    <a:gd name="T7" fmla="*/ 8 h 26"/>
                    <a:gd name="T8" fmla="*/ 8 w 18"/>
                    <a:gd name="T9" fmla="*/ 25 h 26"/>
                  </a:gdLst>
                  <a:ahLst/>
                  <a:cxnLst>
                    <a:cxn ang="0">
                      <a:pos x="T0" y="T1"/>
                    </a:cxn>
                    <a:cxn ang="0">
                      <a:pos x="T2" y="T3"/>
                    </a:cxn>
                    <a:cxn ang="0">
                      <a:pos x="T4" y="T5"/>
                    </a:cxn>
                    <a:cxn ang="0">
                      <a:pos x="T6" y="T7"/>
                    </a:cxn>
                    <a:cxn ang="0">
                      <a:pos x="T8" y="T9"/>
                    </a:cxn>
                  </a:cxnLst>
                  <a:rect l="0" t="0" r="r" b="b"/>
                  <a:pathLst>
                    <a:path w="18" h="26">
                      <a:moveTo>
                        <a:pt x="8" y="25"/>
                      </a:moveTo>
                      <a:lnTo>
                        <a:pt x="0" y="25"/>
                      </a:lnTo>
                      <a:lnTo>
                        <a:pt x="8" y="0"/>
                      </a:lnTo>
                      <a:lnTo>
                        <a:pt x="17" y="8"/>
                      </a:lnTo>
                      <a:lnTo>
                        <a:pt x="8"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5" name="Freeform 138">
                  <a:extLst>
                    <a:ext uri="{FF2B5EF4-FFF2-40B4-BE49-F238E27FC236}">
                      <a16:creationId xmlns:a16="http://schemas.microsoft.com/office/drawing/2014/main" id="{732FDA7F-E928-C0BA-56DB-8B6879F52228}"/>
                    </a:ext>
                  </a:extLst>
                </p:cNvPr>
                <p:cNvSpPr>
                  <a:spLocks/>
                </p:cNvSpPr>
                <p:nvPr/>
              </p:nvSpPr>
              <p:spPr bwMode="gray">
                <a:xfrm>
                  <a:off x="5507555" y="4335163"/>
                  <a:ext cx="28318" cy="40536"/>
                </a:xfrm>
                <a:custGeom>
                  <a:avLst/>
                  <a:gdLst>
                    <a:gd name="T0" fmla="*/ 8 w 18"/>
                    <a:gd name="T1" fmla="*/ 25 h 26"/>
                    <a:gd name="T2" fmla="*/ 0 w 18"/>
                    <a:gd name="T3" fmla="*/ 25 h 26"/>
                    <a:gd name="T4" fmla="*/ 8 w 18"/>
                    <a:gd name="T5" fmla="*/ 0 h 26"/>
                    <a:gd name="T6" fmla="*/ 17 w 18"/>
                    <a:gd name="T7" fmla="*/ 8 h 26"/>
                    <a:gd name="T8" fmla="*/ 8 w 18"/>
                    <a:gd name="T9" fmla="*/ 25 h 26"/>
                  </a:gdLst>
                  <a:ahLst/>
                  <a:cxnLst>
                    <a:cxn ang="0">
                      <a:pos x="T0" y="T1"/>
                    </a:cxn>
                    <a:cxn ang="0">
                      <a:pos x="T2" y="T3"/>
                    </a:cxn>
                    <a:cxn ang="0">
                      <a:pos x="T4" y="T5"/>
                    </a:cxn>
                    <a:cxn ang="0">
                      <a:pos x="T6" y="T7"/>
                    </a:cxn>
                    <a:cxn ang="0">
                      <a:pos x="T8" y="T9"/>
                    </a:cxn>
                  </a:cxnLst>
                  <a:rect l="0" t="0" r="r" b="b"/>
                  <a:pathLst>
                    <a:path w="18" h="26">
                      <a:moveTo>
                        <a:pt x="8" y="25"/>
                      </a:moveTo>
                      <a:lnTo>
                        <a:pt x="0" y="25"/>
                      </a:lnTo>
                      <a:lnTo>
                        <a:pt x="8" y="0"/>
                      </a:lnTo>
                      <a:lnTo>
                        <a:pt x="17" y="8"/>
                      </a:lnTo>
                      <a:lnTo>
                        <a:pt x="8" y="2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6" name="Freeform 139">
                  <a:extLst>
                    <a:ext uri="{FF2B5EF4-FFF2-40B4-BE49-F238E27FC236}">
                      <a16:creationId xmlns:a16="http://schemas.microsoft.com/office/drawing/2014/main" id="{3D4B8AA7-0D86-C178-9C9E-5286F8D9160C}"/>
                    </a:ext>
                  </a:extLst>
                </p:cNvPr>
                <p:cNvSpPr>
                  <a:spLocks/>
                </p:cNvSpPr>
                <p:nvPr/>
              </p:nvSpPr>
              <p:spPr bwMode="gray">
                <a:xfrm>
                  <a:off x="5481812" y="4373166"/>
                  <a:ext cx="39902" cy="84873"/>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7" name="Freeform 140">
                  <a:extLst>
                    <a:ext uri="{FF2B5EF4-FFF2-40B4-BE49-F238E27FC236}">
                      <a16:creationId xmlns:a16="http://schemas.microsoft.com/office/drawing/2014/main" id="{1DC9BE5E-60A5-37A9-24F0-8DEEB9F11B46}"/>
                    </a:ext>
                  </a:extLst>
                </p:cNvPr>
                <p:cNvSpPr>
                  <a:spLocks/>
                </p:cNvSpPr>
                <p:nvPr/>
              </p:nvSpPr>
              <p:spPr bwMode="gray">
                <a:xfrm>
                  <a:off x="5481812" y="4373166"/>
                  <a:ext cx="39902" cy="84873"/>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8" name="Freeform 142">
                  <a:extLst>
                    <a:ext uri="{FF2B5EF4-FFF2-40B4-BE49-F238E27FC236}">
                      <a16:creationId xmlns:a16="http://schemas.microsoft.com/office/drawing/2014/main" id="{E7685FE0-D223-E583-76B0-C51C95B66FBD}"/>
                    </a:ext>
                  </a:extLst>
                </p:cNvPr>
                <p:cNvSpPr>
                  <a:spLocks/>
                </p:cNvSpPr>
                <p:nvPr/>
              </p:nvSpPr>
              <p:spPr bwMode="gray">
                <a:xfrm>
                  <a:off x="5695483" y="4445371"/>
                  <a:ext cx="37328" cy="25335"/>
                </a:xfrm>
                <a:custGeom>
                  <a:avLst/>
                  <a:gdLst>
                    <a:gd name="T0" fmla="*/ 0 w 24"/>
                    <a:gd name="T1" fmla="*/ 8 h 17"/>
                    <a:gd name="T2" fmla="*/ 7 w 24"/>
                    <a:gd name="T3" fmla="*/ 0 h 17"/>
                    <a:gd name="T4" fmla="*/ 23 w 24"/>
                    <a:gd name="T5" fmla="*/ 8 h 17"/>
                    <a:gd name="T6" fmla="*/ 7 w 24"/>
                    <a:gd name="T7" fmla="*/ 16 h 17"/>
                    <a:gd name="T8" fmla="*/ 0 w 24"/>
                    <a:gd name="T9" fmla="*/ 8 h 17"/>
                  </a:gdLst>
                  <a:ahLst/>
                  <a:cxnLst>
                    <a:cxn ang="0">
                      <a:pos x="T0" y="T1"/>
                    </a:cxn>
                    <a:cxn ang="0">
                      <a:pos x="T2" y="T3"/>
                    </a:cxn>
                    <a:cxn ang="0">
                      <a:pos x="T4" y="T5"/>
                    </a:cxn>
                    <a:cxn ang="0">
                      <a:pos x="T6" y="T7"/>
                    </a:cxn>
                    <a:cxn ang="0">
                      <a:pos x="T8" y="T9"/>
                    </a:cxn>
                  </a:cxnLst>
                  <a:rect l="0" t="0" r="r" b="b"/>
                  <a:pathLst>
                    <a:path w="24" h="17">
                      <a:moveTo>
                        <a:pt x="0" y="8"/>
                      </a:moveTo>
                      <a:lnTo>
                        <a:pt x="7" y="0"/>
                      </a:lnTo>
                      <a:lnTo>
                        <a:pt x="23" y="8"/>
                      </a:lnTo>
                      <a:lnTo>
                        <a:pt x="7" y="16"/>
                      </a:lnTo>
                      <a:lnTo>
                        <a:pt x="0"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09" name="Freeform 143">
                  <a:extLst>
                    <a:ext uri="{FF2B5EF4-FFF2-40B4-BE49-F238E27FC236}">
                      <a16:creationId xmlns:a16="http://schemas.microsoft.com/office/drawing/2014/main" id="{DE75F518-5EB6-EED3-BA0D-DD0F45234DEF}"/>
                    </a:ext>
                  </a:extLst>
                </p:cNvPr>
                <p:cNvSpPr>
                  <a:spLocks/>
                </p:cNvSpPr>
                <p:nvPr/>
              </p:nvSpPr>
              <p:spPr bwMode="gray">
                <a:xfrm>
                  <a:off x="5695483" y="4445371"/>
                  <a:ext cx="37328" cy="25335"/>
                </a:xfrm>
                <a:custGeom>
                  <a:avLst/>
                  <a:gdLst>
                    <a:gd name="T0" fmla="*/ 0 w 24"/>
                    <a:gd name="T1" fmla="*/ 8 h 17"/>
                    <a:gd name="T2" fmla="*/ 7 w 24"/>
                    <a:gd name="T3" fmla="*/ 0 h 17"/>
                    <a:gd name="T4" fmla="*/ 23 w 24"/>
                    <a:gd name="T5" fmla="*/ 8 h 17"/>
                    <a:gd name="T6" fmla="*/ 7 w 24"/>
                    <a:gd name="T7" fmla="*/ 16 h 17"/>
                    <a:gd name="T8" fmla="*/ 0 w 24"/>
                    <a:gd name="T9" fmla="*/ 8 h 17"/>
                  </a:gdLst>
                  <a:ahLst/>
                  <a:cxnLst>
                    <a:cxn ang="0">
                      <a:pos x="T0" y="T1"/>
                    </a:cxn>
                    <a:cxn ang="0">
                      <a:pos x="T2" y="T3"/>
                    </a:cxn>
                    <a:cxn ang="0">
                      <a:pos x="T4" y="T5"/>
                    </a:cxn>
                    <a:cxn ang="0">
                      <a:pos x="T6" y="T7"/>
                    </a:cxn>
                    <a:cxn ang="0">
                      <a:pos x="T8" y="T9"/>
                    </a:cxn>
                  </a:cxnLst>
                  <a:rect l="0" t="0" r="r" b="b"/>
                  <a:pathLst>
                    <a:path w="24" h="17">
                      <a:moveTo>
                        <a:pt x="0" y="8"/>
                      </a:moveTo>
                      <a:lnTo>
                        <a:pt x="7" y="0"/>
                      </a:lnTo>
                      <a:lnTo>
                        <a:pt x="23" y="8"/>
                      </a:lnTo>
                      <a:lnTo>
                        <a:pt x="7" y="16"/>
                      </a:lnTo>
                      <a:lnTo>
                        <a:pt x="0"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0" name="Freeform 144">
                  <a:extLst>
                    <a:ext uri="{FF2B5EF4-FFF2-40B4-BE49-F238E27FC236}">
                      <a16:creationId xmlns:a16="http://schemas.microsoft.com/office/drawing/2014/main" id="{53BC11A7-0C34-B75A-8242-BF4CD1CD14F6}"/>
                    </a:ext>
                  </a:extLst>
                </p:cNvPr>
                <p:cNvSpPr>
                  <a:spLocks/>
                </p:cNvSpPr>
                <p:nvPr/>
              </p:nvSpPr>
              <p:spPr bwMode="gray">
                <a:xfrm>
                  <a:off x="5731524" y="4445371"/>
                  <a:ext cx="39902" cy="25335"/>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Lst>
                  <a:ahLst/>
                  <a:cxnLst>
                    <a:cxn ang="0">
                      <a:pos x="T0" y="T1"/>
                    </a:cxn>
                    <a:cxn ang="0">
                      <a:pos x="T2" y="T3"/>
                    </a:cxn>
                    <a:cxn ang="0">
                      <a:pos x="T4" y="T5"/>
                    </a:cxn>
                    <a:cxn ang="0">
                      <a:pos x="T6" y="T7"/>
                    </a:cxn>
                    <a:cxn ang="0">
                      <a:pos x="T8" y="T9"/>
                    </a:cxn>
                    <a:cxn ang="0">
                      <a:pos x="T10" y="T11"/>
                    </a:cxn>
                  </a:cxnLst>
                  <a:rect l="0" t="0" r="r" b="b"/>
                  <a:pathLst>
                    <a:path w="26" h="17">
                      <a:moveTo>
                        <a:pt x="0" y="8"/>
                      </a:moveTo>
                      <a:lnTo>
                        <a:pt x="9" y="0"/>
                      </a:lnTo>
                      <a:lnTo>
                        <a:pt x="25" y="0"/>
                      </a:lnTo>
                      <a:lnTo>
                        <a:pt x="17" y="8"/>
                      </a:lnTo>
                      <a:lnTo>
                        <a:pt x="25" y="16"/>
                      </a:lnTo>
                      <a:lnTo>
                        <a:pt x="0"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1" name="Freeform 145">
                  <a:extLst>
                    <a:ext uri="{FF2B5EF4-FFF2-40B4-BE49-F238E27FC236}">
                      <a16:creationId xmlns:a16="http://schemas.microsoft.com/office/drawing/2014/main" id="{EF0739A8-156D-AAE5-49E5-310D09FB7F48}"/>
                    </a:ext>
                  </a:extLst>
                </p:cNvPr>
                <p:cNvSpPr>
                  <a:spLocks/>
                </p:cNvSpPr>
                <p:nvPr/>
              </p:nvSpPr>
              <p:spPr bwMode="gray">
                <a:xfrm>
                  <a:off x="5731524" y="4445371"/>
                  <a:ext cx="39902" cy="25335"/>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Lst>
                  <a:ahLst/>
                  <a:cxnLst>
                    <a:cxn ang="0">
                      <a:pos x="T0" y="T1"/>
                    </a:cxn>
                    <a:cxn ang="0">
                      <a:pos x="T2" y="T3"/>
                    </a:cxn>
                    <a:cxn ang="0">
                      <a:pos x="T4" y="T5"/>
                    </a:cxn>
                    <a:cxn ang="0">
                      <a:pos x="T6" y="T7"/>
                    </a:cxn>
                    <a:cxn ang="0">
                      <a:pos x="T8" y="T9"/>
                    </a:cxn>
                    <a:cxn ang="0">
                      <a:pos x="T10" y="T11"/>
                    </a:cxn>
                  </a:cxnLst>
                  <a:rect l="0" t="0" r="r" b="b"/>
                  <a:pathLst>
                    <a:path w="26" h="17">
                      <a:moveTo>
                        <a:pt x="0" y="8"/>
                      </a:moveTo>
                      <a:lnTo>
                        <a:pt x="9" y="0"/>
                      </a:lnTo>
                      <a:lnTo>
                        <a:pt x="25" y="0"/>
                      </a:lnTo>
                      <a:lnTo>
                        <a:pt x="17" y="8"/>
                      </a:lnTo>
                      <a:lnTo>
                        <a:pt x="25" y="16"/>
                      </a:lnTo>
                      <a:lnTo>
                        <a:pt x="0"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2" name="Freeform 146">
                  <a:extLst>
                    <a:ext uri="{FF2B5EF4-FFF2-40B4-BE49-F238E27FC236}">
                      <a16:creationId xmlns:a16="http://schemas.microsoft.com/office/drawing/2014/main" id="{A868659A-3A0E-B7FA-5A14-FE8F98BC2BA5}"/>
                    </a:ext>
                  </a:extLst>
                </p:cNvPr>
                <p:cNvSpPr>
                  <a:spLocks/>
                </p:cNvSpPr>
                <p:nvPr/>
              </p:nvSpPr>
              <p:spPr bwMode="gray">
                <a:xfrm>
                  <a:off x="5495971" y="4383300"/>
                  <a:ext cx="438927" cy="396496"/>
                </a:xfrm>
                <a:custGeom>
                  <a:avLst/>
                  <a:gdLst>
                    <a:gd name="T0" fmla="*/ 236 w 285"/>
                    <a:gd name="T1" fmla="*/ 211 h 262"/>
                    <a:gd name="T2" fmla="*/ 243 w 285"/>
                    <a:gd name="T3" fmla="*/ 203 h 262"/>
                    <a:gd name="T4" fmla="*/ 252 w 285"/>
                    <a:gd name="T5" fmla="*/ 196 h 262"/>
                    <a:gd name="T6" fmla="*/ 259 w 285"/>
                    <a:gd name="T7" fmla="*/ 186 h 262"/>
                    <a:gd name="T8" fmla="*/ 267 w 285"/>
                    <a:gd name="T9" fmla="*/ 180 h 262"/>
                    <a:gd name="T10" fmla="*/ 276 w 285"/>
                    <a:gd name="T11" fmla="*/ 171 h 262"/>
                    <a:gd name="T12" fmla="*/ 284 w 285"/>
                    <a:gd name="T13" fmla="*/ 171 h 262"/>
                    <a:gd name="T14" fmla="*/ 284 w 285"/>
                    <a:gd name="T15" fmla="*/ 162 h 262"/>
                    <a:gd name="T16" fmla="*/ 284 w 285"/>
                    <a:gd name="T17" fmla="*/ 155 h 262"/>
                    <a:gd name="T18" fmla="*/ 284 w 285"/>
                    <a:gd name="T19" fmla="*/ 146 h 262"/>
                    <a:gd name="T20" fmla="*/ 276 w 285"/>
                    <a:gd name="T21" fmla="*/ 139 h 262"/>
                    <a:gd name="T22" fmla="*/ 267 w 285"/>
                    <a:gd name="T23" fmla="*/ 131 h 262"/>
                    <a:gd name="T24" fmla="*/ 259 w 285"/>
                    <a:gd name="T25" fmla="*/ 131 h 262"/>
                    <a:gd name="T26" fmla="*/ 252 w 285"/>
                    <a:gd name="T27" fmla="*/ 131 h 262"/>
                    <a:gd name="T28" fmla="*/ 252 w 285"/>
                    <a:gd name="T29" fmla="*/ 139 h 262"/>
                    <a:gd name="T30" fmla="*/ 243 w 285"/>
                    <a:gd name="T31" fmla="*/ 139 h 262"/>
                    <a:gd name="T32" fmla="*/ 236 w 285"/>
                    <a:gd name="T33" fmla="*/ 139 h 262"/>
                    <a:gd name="T34" fmla="*/ 227 w 285"/>
                    <a:gd name="T35" fmla="*/ 139 h 262"/>
                    <a:gd name="T36" fmla="*/ 218 w 285"/>
                    <a:gd name="T37" fmla="*/ 139 h 262"/>
                    <a:gd name="T38" fmla="*/ 212 w 285"/>
                    <a:gd name="T39" fmla="*/ 139 h 262"/>
                    <a:gd name="T40" fmla="*/ 202 w 285"/>
                    <a:gd name="T41" fmla="*/ 131 h 262"/>
                    <a:gd name="T42" fmla="*/ 212 w 285"/>
                    <a:gd name="T43" fmla="*/ 122 h 262"/>
                    <a:gd name="T44" fmla="*/ 202 w 285"/>
                    <a:gd name="T45" fmla="*/ 106 h 262"/>
                    <a:gd name="T46" fmla="*/ 202 w 285"/>
                    <a:gd name="T47" fmla="*/ 81 h 262"/>
                    <a:gd name="T48" fmla="*/ 178 w 285"/>
                    <a:gd name="T49" fmla="*/ 57 h 262"/>
                    <a:gd name="T50" fmla="*/ 153 w 285"/>
                    <a:gd name="T51" fmla="*/ 49 h 262"/>
                    <a:gd name="T52" fmla="*/ 137 w 285"/>
                    <a:gd name="T53" fmla="*/ 57 h 262"/>
                    <a:gd name="T54" fmla="*/ 130 w 285"/>
                    <a:gd name="T55" fmla="*/ 49 h 262"/>
                    <a:gd name="T56" fmla="*/ 113 w 285"/>
                    <a:gd name="T57" fmla="*/ 41 h 262"/>
                    <a:gd name="T58" fmla="*/ 113 w 285"/>
                    <a:gd name="T59" fmla="*/ 34 h 262"/>
                    <a:gd name="T60" fmla="*/ 105 w 285"/>
                    <a:gd name="T61" fmla="*/ 25 h 262"/>
                    <a:gd name="T62" fmla="*/ 81 w 285"/>
                    <a:gd name="T63" fmla="*/ 9 h 262"/>
                    <a:gd name="T64" fmla="*/ 56 w 285"/>
                    <a:gd name="T65" fmla="*/ 0 h 262"/>
                    <a:gd name="T66" fmla="*/ 31 w 285"/>
                    <a:gd name="T67" fmla="*/ 18 h 262"/>
                    <a:gd name="T68" fmla="*/ 41 w 285"/>
                    <a:gd name="T69" fmla="*/ 25 h 262"/>
                    <a:gd name="T70" fmla="*/ 31 w 285"/>
                    <a:gd name="T71" fmla="*/ 41 h 262"/>
                    <a:gd name="T72" fmla="*/ 25 w 285"/>
                    <a:gd name="T73" fmla="*/ 41 h 262"/>
                    <a:gd name="T74" fmla="*/ 16 w 285"/>
                    <a:gd name="T75" fmla="*/ 49 h 262"/>
                    <a:gd name="T76" fmla="*/ 0 w 285"/>
                    <a:gd name="T77" fmla="*/ 49 h 262"/>
                    <a:gd name="T78" fmla="*/ 0 w 285"/>
                    <a:gd name="T79" fmla="*/ 65 h 262"/>
                    <a:gd name="T80" fmla="*/ 8 w 285"/>
                    <a:gd name="T81" fmla="*/ 65 h 262"/>
                    <a:gd name="T82" fmla="*/ 41 w 285"/>
                    <a:gd name="T83" fmla="*/ 114 h 262"/>
                    <a:gd name="T84" fmla="*/ 50 w 285"/>
                    <a:gd name="T85" fmla="*/ 122 h 262"/>
                    <a:gd name="T86" fmla="*/ 56 w 285"/>
                    <a:gd name="T87" fmla="*/ 139 h 262"/>
                    <a:gd name="T88" fmla="*/ 56 w 285"/>
                    <a:gd name="T89" fmla="*/ 162 h 262"/>
                    <a:gd name="T90" fmla="*/ 81 w 285"/>
                    <a:gd name="T91" fmla="*/ 180 h 262"/>
                    <a:gd name="T92" fmla="*/ 97 w 285"/>
                    <a:gd name="T93" fmla="*/ 220 h 262"/>
                    <a:gd name="T94" fmla="*/ 105 w 285"/>
                    <a:gd name="T95" fmla="*/ 227 h 262"/>
                    <a:gd name="T96" fmla="*/ 113 w 285"/>
                    <a:gd name="T97" fmla="*/ 220 h 262"/>
                    <a:gd name="T98" fmla="*/ 137 w 285"/>
                    <a:gd name="T99" fmla="*/ 243 h 262"/>
                    <a:gd name="T100" fmla="*/ 146 w 285"/>
                    <a:gd name="T101" fmla="*/ 261 h 262"/>
                    <a:gd name="T102" fmla="*/ 202 w 285"/>
                    <a:gd name="T103" fmla="*/ 220 h 262"/>
                    <a:gd name="T104" fmla="*/ 236 w 285"/>
                    <a:gd name="T105" fmla="*/ 2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3" name="Freeform 147">
                  <a:extLst>
                    <a:ext uri="{FF2B5EF4-FFF2-40B4-BE49-F238E27FC236}">
                      <a16:creationId xmlns:a16="http://schemas.microsoft.com/office/drawing/2014/main" id="{F484B89C-96E3-490F-41C0-A35BB4CA486E}"/>
                    </a:ext>
                  </a:extLst>
                </p:cNvPr>
                <p:cNvSpPr>
                  <a:spLocks/>
                </p:cNvSpPr>
                <p:nvPr/>
              </p:nvSpPr>
              <p:spPr bwMode="gray">
                <a:xfrm>
                  <a:off x="5806180" y="4528977"/>
                  <a:ext cx="27031" cy="40536"/>
                </a:xfrm>
                <a:custGeom>
                  <a:avLst/>
                  <a:gdLst>
                    <a:gd name="T0" fmla="*/ 10 w 17"/>
                    <a:gd name="T1" fmla="*/ 25 h 26"/>
                    <a:gd name="T2" fmla="*/ 0 w 17"/>
                    <a:gd name="T3" fmla="*/ 9 h 26"/>
                    <a:gd name="T4" fmla="*/ 10 w 17"/>
                    <a:gd name="T5" fmla="*/ 0 h 26"/>
                    <a:gd name="T6" fmla="*/ 16 w 17"/>
                    <a:gd name="T7" fmla="*/ 0 h 26"/>
                    <a:gd name="T8" fmla="*/ 10 w 17"/>
                    <a:gd name="T9" fmla="*/ 25 h 26"/>
                  </a:gdLst>
                  <a:ahLst/>
                  <a:cxnLst>
                    <a:cxn ang="0">
                      <a:pos x="T0" y="T1"/>
                    </a:cxn>
                    <a:cxn ang="0">
                      <a:pos x="T2" y="T3"/>
                    </a:cxn>
                    <a:cxn ang="0">
                      <a:pos x="T4" y="T5"/>
                    </a:cxn>
                    <a:cxn ang="0">
                      <a:pos x="T6" y="T7"/>
                    </a:cxn>
                    <a:cxn ang="0">
                      <a:pos x="T8" y="T9"/>
                    </a:cxn>
                  </a:cxnLst>
                  <a:rect l="0" t="0" r="r" b="b"/>
                  <a:pathLst>
                    <a:path w="17" h="26">
                      <a:moveTo>
                        <a:pt x="10" y="25"/>
                      </a:moveTo>
                      <a:lnTo>
                        <a:pt x="0" y="9"/>
                      </a:lnTo>
                      <a:lnTo>
                        <a:pt x="10" y="0"/>
                      </a:lnTo>
                      <a:lnTo>
                        <a:pt x="16" y="0"/>
                      </a:lnTo>
                      <a:lnTo>
                        <a:pt x="10"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4" name="Freeform 148">
                  <a:extLst>
                    <a:ext uri="{FF2B5EF4-FFF2-40B4-BE49-F238E27FC236}">
                      <a16:creationId xmlns:a16="http://schemas.microsoft.com/office/drawing/2014/main" id="{E6052A9E-96B1-F334-8B3E-991A33645C3D}"/>
                    </a:ext>
                  </a:extLst>
                </p:cNvPr>
                <p:cNvSpPr>
                  <a:spLocks/>
                </p:cNvSpPr>
                <p:nvPr/>
              </p:nvSpPr>
              <p:spPr bwMode="gray">
                <a:xfrm>
                  <a:off x="5806180" y="4528977"/>
                  <a:ext cx="128717" cy="65872"/>
                </a:xfrm>
                <a:custGeom>
                  <a:avLst/>
                  <a:gdLst>
                    <a:gd name="T0" fmla="*/ 65 w 83"/>
                    <a:gd name="T1" fmla="*/ 34 h 43"/>
                    <a:gd name="T2" fmla="*/ 82 w 83"/>
                    <a:gd name="T3" fmla="*/ 17 h 43"/>
                    <a:gd name="T4" fmla="*/ 82 w 83"/>
                    <a:gd name="T5" fmla="*/ 9 h 43"/>
                    <a:gd name="T6" fmla="*/ 74 w 83"/>
                    <a:gd name="T7" fmla="*/ 0 h 43"/>
                    <a:gd name="T8" fmla="*/ 50 w 83"/>
                    <a:gd name="T9" fmla="*/ 25 h 43"/>
                    <a:gd name="T10" fmla="*/ 25 w 83"/>
                    <a:gd name="T11" fmla="*/ 25 h 43"/>
                    <a:gd name="T12" fmla="*/ 10 w 83"/>
                    <a:gd name="T13" fmla="*/ 25 h 43"/>
                    <a:gd name="T14" fmla="*/ 0 w 83"/>
                    <a:gd name="T15" fmla="*/ 34 h 43"/>
                    <a:gd name="T16" fmla="*/ 10 w 83"/>
                    <a:gd name="T17" fmla="*/ 42 h 43"/>
                    <a:gd name="T18" fmla="*/ 16 w 83"/>
                    <a:gd name="T19" fmla="*/ 42 h 43"/>
                    <a:gd name="T20" fmla="*/ 25 w 83"/>
                    <a:gd name="T21" fmla="*/ 42 h 43"/>
                    <a:gd name="T22" fmla="*/ 34 w 83"/>
                    <a:gd name="T23" fmla="*/ 42 h 43"/>
                    <a:gd name="T24" fmla="*/ 41 w 83"/>
                    <a:gd name="T25" fmla="*/ 42 h 43"/>
                    <a:gd name="T26" fmla="*/ 50 w 83"/>
                    <a:gd name="T27" fmla="*/ 42 h 43"/>
                    <a:gd name="T28" fmla="*/ 50 w 83"/>
                    <a:gd name="T29" fmla="*/ 34 h 43"/>
                    <a:gd name="T30" fmla="*/ 57 w 83"/>
                    <a:gd name="T31" fmla="*/ 34 h 43"/>
                    <a:gd name="T32" fmla="*/ 65 w 83"/>
                    <a:gd name="T33" fmla="*/ 3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5" name="Freeform 149">
                  <a:extLst>
                    <a:ext uri="{FF2B5EF4-FFF2-40B4-BE49-F238E27FC236}">
                      <a16:creationId xmlns:a16="http://schemas.microsoft.com/office/drawing/2014/main" id="{A52214DB-C8FB-92FB-B127-400EAB6B909E}"/>
                    </a:ext>
                  </a:extLst>
                </p:cNvPr>
                <p:cNvSpPr>
                  <a:spLocks/>
                </p:cNvSpPr>
                <p:nvPr/>
              </p:nvSpPr>
              <p:spPr bwMode="gray">
                <a:xfrm>
                  <a:off x="5920739" y="4518843"/>
                  <a:ext cx="25743" cy="25335"/>
                </a:xfrm>
                <a:custGeom>
                  <a:avLst/>
                  <a:gdLst>
                    <a:gd name="T0" fmla="*/ 16 w 17"/>
                    <a:gd name="T1" fmla="*/ 16 h 17"/>
                    <a:gd name="T2" fmla="*/ 0 w 17"/>
                    <a:gd name="T3" fmla="*/ 7 h 17"/>
                    <a:gd name="T4" fmla="*/ 0 w 17"/>
                    <a:gd name="T5" fmla="*/ 0 h 17"/>
                    <a:gd name="T6" fmla="*/ 16 w 17"/>
                    <a:gd name="T7" fmla="*/ 0 h 17"/>
                    <a:gd name="T8" fmla="*/ 16 w 17"/>
                    <a:gd name="T9" fmla="*/ 16 h 17"/>
                  </a:gdLst>
                  <a:ahLst/>
                  <a:cxnLst>
                    <a:cxn ang="0">
                      <a:pos x="T0" y="T1"/>
                    </a:cxn>
                    <a:cxn ang="0">
                      <a:pos x="T2" y="T3"/>
                    </a:cxn>
                    <a:cxn ang="0">
                      <a:pos x="T4" y="T5"/>
                    </a:cxn>
                    <a:cxn ang="0">
                      <a:pos x="T6" y="T7"/>
                    </a:cxn>
                    <a:cxn ang="0">
                      <a:pos x="T8" y="T9"/>
                    </a:cxn>
                  </a:cxnLst>
                  <a:rect l="0" t="0" r="r" b="b"/>
                  <a:pathLst>
                    <a:path w="17" h="17">
                      <a:moveTo>
                        <a:pt x="16" y="16"/>
                      </a:moveTo>
                      <a:lnTo>
                        <a:pt x="0" y="7"/>
                      </a:lnTo>
                      <a:lnTo>
                        <a:pt x="0" y="0"/>
                      </a:lnTo>
                      <a:lnTo>
                        <a:pt x="16" y="0"/>
                      </a:lnTo>
                      <a:lnTo>
                        <a:pt x="16"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6" name="Freeform 151">
                  <a:extLst>
                    <a:ext uri="{FF2B5EF4-FFF2-40B4-BE49-F238E27FC236}">
                      <a16:creationId xmlns:a16="http://schemas.microsoft.com/office/drawing/2014/main" id="{91050146-959A-DF84-F3D9-1F94C484F482}"/>
                    </a:ext>
                  </a:extLst>
                </p:cNvPr>
                <p:cNvSpPr>
                  <a:spLocks/>
                </p:cNvSpPr>
                <p:nvPr/>
              </p:nvSpPr>
              <p:spPr bwMode="gray">
                <a:xfrm>
                  <a:off x="5656868" y="4702524"/>
                  <a:ext cx="203373" cy="100074"/>
                </a:xfrm>
                <a:custGeom>
                  <a:avLst/>
                  <a:gdLst>
                    <a:gd name="T0" fmla="*/ 0 w 132"/>
                    <a:gd name="T1" fmla="*/ 16 h 66"/>
                    <a:gd name="T2" fmla="*/ 8 w 132"/>
                    <a:gd name="T3" fmla="*/ 9 h 66"/>
                    <a:gd name="T4" fmla="*/ 32 w 132"/>
                    <a:gd name="T5" fmla="*/ 32 h 66"/>
                    <a:gd name="T6" fmla="*/ 41 w 132"/>
                    <a:gd name="T7" fmla="*/ 50 h 66"/>
                    <a:gd name="T8" fmla="*/ 97 w 132"/>
                    <a:gd name="T9" fmla="*/ 9 h 66"/>
                    <a:gd name="T10" fmla="*/ 131 w 132"/>
                    <a:gd name="T11" fmla="*/ 0 h 66"/>
                    <a:gd name="T12" fmla="*/ 131 w 132"/>
                    <a:gd name="T13" fmla="*/ 9 h 66"/>
                    <a:gd name="T14" fmla="*/ 122 w 132"/>
                    <a:gd name="T15" fmla="*/ 16 h 66"/>
                    <a:gd name="T16" fmla="*/ 122 w 132"/>
                    <a:gd name="T17" fmla="*/ 25 h 66"/>
                    <a:gd name="T18" fmla="*/ 90 w 132"/>
                    <a:gd name="T19" fmla="*/ 32 h 66"/>
                    <a:gd name="T20" fmla="*/ 57 w 132"/>
                    <a:gd name="T21" fmla="*/ 57 h 66"/>
                    <a:gd name="T22" fmla="*/ 41 w 132"/>
                    <a:gd name="T23" fmla="*/ 57 h 66"/>
                    <a:gd name="T24" fmla="*/ 25 w 132"/>
                    <a:gd name="T25" fmla="*/ 65 h 66"/>
                    <a:gd name="T26" fmla="*/ 8 w 132"/>
                    <a:gd name="T27" fmla="*/ 65 h 66"/>
                    <a:gd name="T28" fmla="*/ 0 w 132"/>
                    <a:gd name="T2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7" name="Freeform 168">
                  <a:extLst>
                    <a:ext uri="{FF2B5EF4-FFF2-40B4-BE49-F238E27FC236}">
                      <a16:creationId xmlns:a16="http://schemas.microsoft.com/office/drawing/2014/main" id="{8DDC7E8A-FECC-C8EA-23E1-ADCB9C7E8D57}"/>
                    </a:ext>
                  </a:extLst>
                </p:cNvPr>
                <p:cNvSpPr>
                  <a:spLocks/>
                </p:cNvSpPr>
                <p:nvPr/>
              </p:nvSpPr>
              <p:spPr bwMode="gray">
                <a:xfrm>
                  <a:off x="4558909" y="4309828"/>
                  <a:ext cx="239414" cy="186214"/>
                </a:xfrm>
                <a:custGeom>
                  <a:avLst/>
                  <a:gdLst>
                    <a:gd name="T0" fmla="*/ 139 w 156"/>
                    <a:gd name="T1" fmla="*/ 8 h 123"/>
                    <a:gd name="T2" fmla="*/ 147 w 156"/>
                    <a:gd name="T3" fmla="*/ 8 h 123"/>
                    <a:gd name="T4" fmla="*/ 155 w 156"/>
                    <a:gd name="T5" fmla="*/ 48 h 123"/>
                    <a:gd name="T6" fmla="*/ 122 w 156"/>
                    <a:gd name="T7" fmla="*/ 57 h 123"/>
                    <a:gd name="T8" fmla="*/ 122 w 156"/>
                    <a:gd name="T9" fmla="*/ 66 h 123"/>
                    <a:gd name="T10" fmla="*/ 99 w 156"/>
                    <a:gd name="T11" fmla="*/ 82 h 123"/>
                    <a:gd name="T12" fmla="*/ 65 w 156"/>
                    <a:gd name="T13" fmla="*/ 97 h 123"/>
                    <a:gd name="T14" fmla="*/ 57 w 156"/>
                    <a:gd name="T15" fmla="*/ 105 h 123"/>
                    <a:gd name="T16" fmla="*/ 57 w 156"/>
                    <a:gd name="T17" fmla="*/ 122 h 123"/>
                    <a:gd name="T18" fmla="*/ 0 w 156"/>
                    <a:gd name="T19" fmla="*/ 113 h 123"/>
                    <a:gd name="T20" fmla="*/ 16 w 156"/>
                    <a:gd name="T21" fmla="*/ 113 h 123"/>
                    <a:gd name="T22" fmla="*/ 32 w 156"/>
                    <a:gd name="T23" fmla="*/ 97 h 123"/>
                    <a:gd name="T24" fmla="*/ 40 w 156"/>
                    <a:gd name="T25" fmla="*/ 82 h 123"/>
                    <a:gd name="T26" fmla="*/ 40 w 156"/>
                    <a:gd name="T27" fmla="*/ 66 h 123"/>
                    <a:gd name="T28" fmla="*/ 50 w 156"/>
                    <a:gd name="T29" fmla="*/ 48 h 123"/>
                    <a:gd name="T30" fmla="*/ 57 w 156"/>
                    <a:gd name="T31" fmla="*/ 32 h 123"/>
                    <a:gd name="T32" fmla="*/ 81 w 156"/>
                    <a:gd name="T33" fmla="*/ 25 h 123"/>
                    <a:gd name="T34" fmla="*/ 90 w 156"/>
                    <a:gd name="T35" fmla="*/ 0 h 123"/>
                    <a:gd name="T36" fmla="*/ 99 w 156"/>
                    <a:gd name="T37" fmla="*/ 0 h 123"/>
                    <a:gd name="T38" fmla="*/ 105 w 156"/>
                    <a:gd name="T39" fmla="*/ 8 h 123"/>
                    <a:gd name="T40" fmla="*/ 130 w 156"/>
                    <a:gd name="T41" fmla="*/ 8 h 123"/>
                    <a:gd name="T42" fmla="*/ 139 w 156"/>
                    <a:gd name="T43"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8" name="Freeform 170">
                  <a:extLst>
                    <a:ext uri="{FF2B5EF4-FFF2-40B4-BE49-F238E27FC236}">
                      <a16:creationId xmlns:a16="http://schemas.microsoft.com/office/drawing/2014/main" id="{71863845-80B6-307F-F636-F8F2D527F854}"/>
                    </a:ext>
                  </a:extLst>
                </p:cNvPr>
                <p:cNvSpPr>
                  <a:spLocks/>
                </p:cNvSpPr>
                <p:nvPr/>
              </p:nvSpPr>
              <p:spPr bwMode="gray">
                <a:xfrm>
                  <a:off x="5471514" y="4689856"/>
                  <a:ext cx="287040" cy="283754"/>
                </a:xfrm>
                <a:custGeom>
                  <a:avLst/>
                  <a:gdLst>
                    <a:gd name="T0" fmla="*/ 121 w 187"/>
                    <a:gd name="T1" fmla="*/ 73 h 187"/>
                    <a:gd name="T2" fmla="*/ 113 w 187"/>
                    <a:gd name="T3" fmla="*/ 73 h 187"/>
                    <a:gd name="T4" fmla="*/ 113 w 187"/>
                    <a:gd name="T5" fmla="*/ 90 h 187"/>
                    <a:gd name="T6" fmla="*/ 113 w 187"/>
                    <a:gd name="T7" fmla="*/ 98 h 187"/>
                    <a:gd name="T8" fmla="*/ 121 w 187"/>
                    <a:gd name="T9" fmla="*/ 98 h 187"/>
                    <a:gd name="T10" fmla="*/ 121 w 187"/>
                    <a:gd name="T11" fmla="*/ 105 h 187"/>
                    <a:gd name="T12" fmla="*/ 138 w 187"/>
                    <a:gd name="T13" fmla="*/ 121 h 187"/>
                    <a:gd name="T14" fmla="*/ 178 w 187"/>
                    <a:gd name="T15" fmla="*/ 130 h 187"/>
                    <a:gd name="T16" fmla="*/ 186 w 187"/>
                    <a:gd name="T17" fmla="*/ 130 h 187"/>
                    <a:gd name="T18" fmla="*/ 153 w 187"/>
                    <a:gd name="T19" fmla="*/ 170 h 187"/>
                    <a:gd name="T20" fmla="*/ 129 w 187"/>
                    <a:gd name="T21" fmla="*/ 170 h 187"/>
                    <a:gd name="T22" fmla="*/ 113 w 187"/>
                    <a:gd name="T23" fmla="*/ 186 h 187"/>
                    <a:gd name="T24" fmla="*/ 97 w 187"/>
                    <a:gd name="T25" fmla="*/ 179 h 187"/>
                    <a:gd name="T26" fmla="*/ 72 w 187"/>
                    <a:gd name="T27" fmla="*/ 186 h 187"/>
                    <a:gd name="T28" fmla="*/ 32 w 187"/>
                    <a:gd name="T29" fmla="*/ 179 h 187"/>
                    <a:gd name="T30" fmla="*/ 32 w 187"/>
                    <a:gd name="T31" fmla="*/ 163 h 187"/>
                    <a:gd name="T32" fmla="*/ 24 w 187"/>
                    <a:gd name="T33" fmla="*/ 163 h 187"/>
                    <a:gd name="T34" fmla="*/ 7 w 187"/>
                    <a:gd name="T35" fmla="*/ 139 h 187"/>
                    <a:gd name="T36" fmla="*/ 0 w 187"/>
                    <a:gd name="T37" fmla="*/ 130 h 187"/>
                    <a:gd name="T38" fmla="*/ 7 w 187"/>
                    <a:gd name="T39" fmla="*/ 121 h 187"/>
                    <a:gd name="T40" fmla="*/ 16 w 187"/>
                    <a:gd name="T41" fmla="*/ 98 h 187"/>
                    <a:gd name="T42" fmla="*/ 41 w 187"/>
                    <a:gd name="T43" fmla="*/ 65 h 187"/>
                    <a:gd name="T44" fmla="*/ 47 w 187"/>
                    <a:gd name="T45" fmla="*/ 17 h 187"/>
                    <a:gd name="T46" fmla="*/ 66 w 187"/>
                    <a:gd name="T47" fmla="*/ 8 h 187"/>
                    <a:gd name="T48" fmla="*/ 66 w 187"/>
                    <a:gd name="T49" fmla="*/ 0 h 187"/>
                    <a:gd name="T50" fmla="*/ 81 w 187"/>
                    <a:gd name="T51" fmla="*/ 33 h 187"/>
                    <a:gd name="T52" fmla="*/ 97 w 187"/>
                    <a:gd name="T53" fmla="*/ 48 h 187"/>
                    <a:gd name="T54" fmla="*/ 121 w 187"/>
                    <a:gd name="T55" fmla="*/ 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19" name="Freeform 171">
                  <a:extLst>
                    <a:ext uri="{FF2B5EF4-FFF2-40B4-BE49-F238E27FC236}">
                      <a16:creationId xmlns:a16="http://schemas.microsoft.com/office/drawing/2014/main" id="{6C8AB443-4975-9191-7CB4-D226A6075369}"/>
                    </a:ext>
                  </a:extLst>
                </p:cNvPr>
                <p:cNvSpPr>
                  <a:spLocks/>
                </p:cNvSpPr>
                <p:nvPr/>
              </p:nvSpPr>
              <p:spPr bwMode="gray">
                <a:xfrm>
                  <a:off x="5645283" y="4800064"/>
                  <a:ext cx="25743" cy="40536"/>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0" name="Freeform 172">
                  <a:extLst>
                    <a:ext uri="{FF2B5EF4-FFF2-40B4-BE49-F238E27FC236}">
                      <a16:creationId xmlns:a16="http://schemas.microsoft.com/office/drawing/2014/main" id="{B373C983-D02A-ED96-A67C-02617FEBCFDE}"/>
                    </a:ext>
                  </a:extLst>
                </p:cNvPr>
                <p:cNvSpPr>
                  <a:spLocks/>
                </p:cNvSpPr>
                <p:nvPr/>
              </p:nvSpPr>
              <p:spPr bwMode="gray">
                <a:xfrm>
                  <a:off x="5645283" y="4800064"/>
                  <a:ext cx="25743" cy="40536"/>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1" name="Freeform 173">
                  <a:extLst>
                    <a:ext uri="{FF2B5EF4-FFF2-40B4-BE49-F238E27FC236}">
                      <a16:creationId xmlns:a16="http://schemas.microsoft.com/office/drawing/2014/main" id="{AE6823DF-03C9-C9C0-F2AA-0E409993251F}"/>
                    </a:ext>
                  </a:extLst>
                </p:cNvPr>
                <p:cNvSpPr>
                  <a:spLocks/>
                </p:cNvSpPr>
                <p:nvPr/>
              </p:nvSpPr>
              <p:spPr bwMode="gray">
                <a:xfrm>
                  <a:off x="5620827" y="4811465"/>
                  <a:ext cx="202086" cy="259686"/>
                </a:xfrm>
                <a:custGeom>
                  <a:avLst/>
                  <a:gdLst>
                    <a:gd name="T0" fmla="*/ 16 w 132"/>
                    <a:gd name="T1" fmla="*/ 106 h 172"/>
                    <a:gd name="T2" fmla="*/ 0 w 132"/>
                    <a:gd name="T3" fmla="*/ 124 h 172"/>
                    <a:gd name="T4" fmla="*/ 0 w 132"/>
                    <a:gd name="T5" fmla="*/ 164 h 172"/>
                    <a:gd name="T6" fmla="*/ 9 w 132"/>
                    <a:gd name="T7" fmla="*/ 171 h 172"/>
                    <a:gd name="T8" fmla="*/ 32 w 132"/>
                    <a:gd name="T9" fmla="*/ 147 h 172"/>
                    <a:gd name="T10" fmla="*/ 65 w 132"/>
                    <a:gd name="T11" fmla="*/ 124 h 172"/>
                    <a:gd name="T12" fmla="*/ 89 w 132"/>
                    <a:gd name="T13" fmla="*/ 99 h 172"/>
                    <a:gd name="T14" fmla="*/ 106 w 132"/>
                    <a:gd name="T15" fmla="*/ 83 h 172"/>
                    <a:gd name="T16" fmla="*/ 131 w 132"/>
                    <a:gd name="T17" fmla="*/ 18 h 172"/>
                    <a:gd name="T18" fmla="*/ 131 w 132"/>
                    <a:gd name="T19" fmla="*/ 0 h 172"/>
                    <a:gd name="T20" fmla="*/ 121 w 132"/>
                    <a:gd name="T21" fmla="*/ 0 h 172"/>
                    <a:gd name="T22" fmla="*/ 106 w 132"/>
                    <a:gd name="T23" fmla="*/ 10 h 172"/>
                    <a:gd name="T24" fmla="*/ 49 w 132"/>
                    <a:gd name="T25" fmla="*/ 25 h 172"/>
                    <a:gd name="T26" fmla="*/ 41 w 132"/>
                    <a:gd name="T27" fmla="*/ 18 h 172"/>
                    <a:gd name="T28" fmla="*/ 32 w 132"/>
                    <a:gd name="T29" fmla="*/ 10 h 172"/>
                    <a:gd name="T30" fmla="*/ 24 w 132"/>
                    <a:gd name="T31" fmla="*/ 18 h 172"/>
                    <a:gd name="T32" fmla="*/ 24 w 132"/>
                    <a:gd name="T33" fmla="*/ 25 h 172"/>
                    <a:gd name="T34" fmla="*/ 41 w 132"/>
                    <a:gd name="T35" fmla="*/ 41 h 172"/>
                    <a:gd name="T36" fmla="*/ 81 w 132"/>
                    <a:gd name="T37" fmla="*/ 50 h 172"/>
                    <a:gd name="T38" fmla="*/ 89 w 132"/>
                    <a:gd name="T39" fmla="*/ 50 h 172"/>
                    <a:gd name="T40" fmla="*/ 56 w 132"/>
                    <a:gd name="T41" fmla="*/ 90 h 172"/>
                    <a:gd name="T42" fmla="*/ 32 w 132"/>
                    <a:gd name="T43" fmla="*/ 90 h 172"/>
                    <a:gd name="T44" fmla="*/ 16 w 132"/>
                    <a:gd name="T45" fmla="*/ 10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2" name="Freeform 174">
                  <a:extLst>
                    <a:ext uri="{FF2B5EF4-FFF2-40B4-BE49-F238E27FC236}">
                      <a16:creationId xmlns:a16="http://schemas.microsoft.com/office/drawing/2014/main" id="{2E2F27D1-7413-D9FB-550E-320BACF420AA}"/>
                    </a:ext>
                  </a:extLst>
                </p:cNvPr>
                <p:cNvSpPr>
                  <a:spLocks/>
                </p:cNvSpPr>
                <p:nvPr/>
              </p:nvSpPr>
              <p:spPr bwMode="gray">
                <a:xfrm>
                  <a:off x="4482966" y="4494775"/>
                  <a:ext cx="239414" cy="257152"/>
                </a:xfrm>
                <a:custGeom>
                  <a:avLst/>
                  <a:gdLst>
                    <a:gd name="T0" fmla="*/ 0 w 155"/>
                    <a:gd name="T1" fmla="*/ 88 h 170"/>
                    <a:gd name="T2" fmla="*/ 9 w 155"/>
                    <a:gd name="T3" fmla="*/ 81 h 170"/>
                    <a:gd name="T4" fmla="*/ 49 w 155"/>
                    <a:gd name="T5" fmla="*/ 81 h 170"/>
                    <a:gd name="T6" fmla="*/ 49 w 155"/>
                    <a:gd name="T7" fmla="*/ 65 h 170"/>
                    <a:gd name="T8" fmla="*/ 65 w 155"/>
                    <a:gd name="T9" fmla="*/ 57 h 170"/>
                    <a:gd name="T10" fmla="*/ 65 w 155"/>
                    <a:gd name="T11" fmla="*/ 16 h 170"/>
                    <a:gd name="T12" fmla="*/ 106 w 155"/>
                    <a:gd name="T13" fmla="*/ 16 h 170"/>
                    <a:gd name="T14" fmla="*/ 106 w 155"/>
                    <a:gd name="T15" fmla="*/ 0 h 170"/>
                    <a:gd name="T16" fmla="*/ 154 w 155"/>
                    <a:gd name="T17" fmla="*/ 32 h 170"/>
                    <a:gd name="T18" fmla="*/ 130 w 155"/>
                    <a:gd name="T19" fmla="*/ 32 h 170"/>
                    <a:gd name="T20" fmla="*/ 148 w 155"/>
                    <a:gd name="T21" fmla="*/ 162 h 170"/>
                    <a:gd name="T22" fmla="*/ 89 w 155"/>
                    <a:gd name="T23" fmla="*/ 162 h 170"/>
                    <a:gd name="T24" fmla="*/ 81 w 155"/>
                    <a:gd name="T25" fmla="*/ 169 h 170"/>
                    <a:gd name="T26" fmla="*/ 74 w 155"/>
                    <a:gd name="T27" fmla="*/ 162 h 170"/>
                    <a:gd name="T28" fmla="*/ 58 w 155"/>
                    <a:gd name="T29" fmla="*/ 169 h 170"/>
                    <a:gd name="T30" fmla="*/ 49 w 155"/>
                    <a:gd name="T31" fmla="*/ 153 h 170"/>
                    <a:gd name="T32" fmla="*/ 24 w 155"/>
                    <a:gd name="T33" fmla="*/ 146 h 170"/>
                    <a:gd name="T34" fmla="*/ 9 w 155"/>
                    <a:gd name="T35" fmla="*/ 146 h 170"/>
                    <a:gd name="T36" fmla="*/ 0 w 155"/>
                    <a:gd name="T37" fmla="*/ 153 h 170"/>
                    <a:gd name="T38" fmla="*/ 9 w 155"/>
                    <a:gd name="T39" fmla="*/ 122 h 170"/>
                    <a:gd name="T40" fmla="*/ 0 w 155"/>
                    <a:gd name="T41" fmla="*/ 112 h 170"/>
                    <a:gd name="T42" fmla="*/ 9 w 155"/>
                    <a:gd name="T43" fmla="*/ 97 h 170"/>
                    <a:gd name="T44" fmla="*/ 0 w 155"/>
                    <a:gd name="T45" fmla="*/ 8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3" name="Freeform 175">
                  <a:extLst>
                    <a:ext uri="{FF2B5EF4-FFF2-40B4-BE49-F238E27FC236}">
                      <a16:creationId xmlns:a16="http://schemas.microsoft.com/office/drawing/2014/main" id="{1CE4C8B3-468E-1952-A019-8B7238485A01}"/>
                    </a:ext>
                  </a:extLst>
                </p:cNvPr>
                <p:cNvSpPr>
                  <a:spLocks/>
                </p:cNvSpPr>
                <p:nvPr/>
              </p:nvSpPr>
              <p:spPr bwMode="gray">
                <a:xfrm>
                  <a:off x="4482966" y="4480841"/>
                  <a:ext cx="164758" cy="148211"/>
                </a:xfrm>
                <a:custGeom>
                  <a:avLst/>
                  <a:gdLst>
                    <a:gd name="T0" fmla="*/ 0 w 107"/>
                    <a:gd name="T1" fmla="*/ 97 h 98"/>
                    <a:gd name="T2" fmla="*/ 9 w 107"/>
                    <a:gd name="T3" fmla="*/ 90 h 98"/>
                    <a:gd name="T4" fmla="*/ 49 w 107"/>
                    <a:gd name="T5" fmla="*/ 90 h 98"/>
                    <a:gd name="T6" fmla="*/ 49 w 107"/>
                    <a:gd name="T7" fmla="*/ 74 h 98"/>
                    <a:gd name="T8" fmla="*/ 65 w 107"/>
                    <a:gd name="T9" fmla="*/ 66 h 98"/>
                    <a:gd name="T10" fmla="*/ 65 w 107"/>
                    <a:gd name="T11" fmla="*/ 25 h 98"/>
                    <a:gd name="T12" fmla="*/ 106 w 107"/>
                    <a:gd name="T13" fmla="*/ 25 h 98"/>
                    <a:gd name="T14" fmla="*/ 106 w 107"/>
                    <a:gd name="T15" fmla="*/ 9 h 98"/>
                    <a:gd name="T16" fmla="*/ 49 w 107"/>
                    <a:gd name="T17" fmla="*/ 0 h 98"/>
                    <a:gd name="T18" fmla="*/ 40 w 107"/>
                    <a:gd name="T19" fmla="*/ 16 h 98"/>
                    <a:gd name="T20" fmla="*/ 34 w 107"/>
                    <a:gd name="T21" fmla="*/ 25 h 98"/>
                    <a:gd name="T22" fmla="*/ 24 w 107"/>
                    <a:gd name="T23" fmla="*/ 49 h 98"/>
                    <a:gd name="T24" fmla="*/ 0 w 107"/>
                    <a:gd name="T25" fmla="*/ 81 h 98"/>
                    <a:gd name="T26" fmla="*/ 0 w 107"/>
                    <a:gd name="T27"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4" name="Freeform 176">
                  <a:extLst>
                    <a:ext uri="{FF2B5EF4-FFF2-40B4-BE49-F238E27FC236}">
                      <a16:creationId xmlns:a16="http://schemas.microsoft.com/office/drawing/2014/main" id="{9CF7EF50-9C8F-82E7-C4EC-98573C0F1650}"/>
                    </a:ext>
                  </a:extLst>
                </p:cNvPr>
                <p:cNvSpPr>
                  <a:spLocks/>
                </p:cNvSpPr>
                <p:nvPr/>
              </p:nvSpPr>
              <p:spPr bwMode="gray">
                <a:xfrm>
                  <a:off x="4471381" y="4716458"/>
                  <a:ext cx="127430" cy="86140"/>
                </a:xfrm>
                <a:custGeom>
                  <a:avLst/>
                  <a:gdLst>
                    <a:gd name="T0" fmla="*/ 8 w 83"/>
                    <a:gd name="T1" fmla="*/ 48 h 57"/>
                    <a:gd name="T2" fmla="*/ 17 w 83"/>
                    <a:gd name="T3" fmla="*/ 48 h 57"/>
                    <a:gd name="T4" fmla="*/ 32 w 83"/>
                    <a:gd name="T5" fmla="*/ 41 h 57"/>
                    <a:gd name="T6" fmla="*/ 42 w 83"/>
                    <a:gd name="T7" fmla="*/ 48 h 57"/>
                    <a:gd name="T8" fmla="*/ 48 w 83"/>
                    <a:gd name="T9" fmla="*/ 41 h 57"/>
                    <a:gd name="T10" fmla="*/ 32 w 83"/>
                    <a:gd name="T11" fmla="*/ 41 h 57"/>
                    <a:gd name="T12" fmla="*/ 8 w 83"/>
                    <a:gd name="T13" fmla="*/ 41 h 57"/>
                    <a:gd name="T14" fmla="*/ 0 w 83"/>
                    <a:gd name="T15" fmla="*/ 23 h 57"/>
                    <a:gd name="T16" fmla="*/ 8 w 83"/>
                    <a:gd name="T17" fmla="*/ 7 h 57"/>
                    <a:gd name="T18" fmla="*/ 17 w 83"/>
                    <a:gd name="T19" fmla="*/ 0 h 57"/>
                    <a:gd name="T20" fmla="*/ 32 w 83"/>
                    <a:gd name="T21" fmla="*/ 0 h 57"/>
                    <a:gd name="T22" fmla="*/ 57 w 83"/>
                    <a:gd name="T23" fmla="*/ 7 h 57"/>
                    <a:gd name="T24" fmla="*/ 66 w 83"/>
                    <a:gd name="T25" fmla="*/ 23 h 57"/>
                    <a:gd name="T26" fmla="*/ 82 w 83"/>
                    <a:gd name="T27" fmla="*/ 56 h 57"/>
                    <a:gd name="T28" fmla="*/ 48 w 83"/>
                    <a:gd name="T29" fmla="*/ 56 h 57"/>
                    <a:gd name="T30" fmla="*/ 8 w 83"/>
                    <a:gd name="T31" fmla="*/ 56 h 57"/>
                    <a:gd name="T32" fmla="*/ 8 w 83"/>
                    <a:gd name="T3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5" name="Freeform 177">
                  <a:extLst>
                    <a:ext uri="{FF2B5EF4-FFF2-40B4-BE49-F238E27FC236}">
                      <a16:creationId xmlns:a16="http://schemas.microsoft.com/office/drawing/2014/main" id="{5B74BBE0-F2A6-0400-9FA7-86D80D93702B}"/>
                    </a:ext>
                  </a:extLst>
                </p:cNvPr>
                <p:cNvSpPr>
                  <a:spLocks/>
                </p:cNvSpPr>
                <p:nvPr/>
              </p:nvSpPr>
              <p:spPr bwMode="gray">
                <a:xfrm>
                  <a:off x="4482966" y="4778529"/>
                  <a:ext cx="63072" cy="25335"/>
                </a:xfrm>
                <a:custGeom>
                  <a:avLst/>
                  <a:gdLst>
                    <a:gd name="T0" fmla="*/ 0 w 41"/>
                    <a:gd name="T1" fmla="*/ 16 h 17"/>
                    <a:gd name="T2" fmla="*/ 9 w 41"/>
                    <a:gd name="T3" fmla="*/ 16 h 17"/>
                    <a:gd name="T4" fmla="*/ 24 w 41"/>
                    <a:gd name="T5" fmla="*/ 0 h 17"/>
                    <a:gd name="T6" fmla="*/ 34 w 41"/>
                    <a:gd name="T7" fmla="*/ 16 h 17"/>
                    <a:gd name="T8" fmla="*/ 40 w 41"/>
                    <a:gd name="T9" fmla="*/ 0 h 17"/>
                    <a:gd name="T10" fmla="*/ 24 w 41"/>
                    <a:gd name="T11" fmla="*/ 0 h 17"/>
                    <a:gd name="T12" fmla="*/ 0 w 41"/>
                    <a:gd name="T13" fmla="*/ 0 h 17"/>
                    <a:gd name="T14" fmla="*/ 0 w 41"/>
                    <a:gd name="T15" fmla="*/ 1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6" name="Freeform 178">
                  <a:extLst>
                    <a:ext uri="{FF2B5EF4-FFF2-40B4-BE49-F238E27FC236}">
                      <a16:creationId xmlns:a16="http://schemas.microsoft.com/office/drawing/2014/main" id="{3645F442-4145-3B08-83E1-13D5EEE78CFA}"/>
                    </a:ext>
                  </a:extLst>
                </p:cNvPr>
                <p:cNvSpPr>
                  <a:spLocks/>
                </p:cNvSpPr>
                <p:nvPr/>
              </p:nvSpPr>
              <p:spPr bwMode="gray">
                <a:xfrm>
                  <a:off x="4482966" y="4800064"/>
                  <a:ext cx="63072" cy="40536"/>
                </a:xfrm>
                <a:custGeom>
                  <a:avLst/>
                  <a:gdLst>
                    <a:gd name="T0" fmla="*/ 24 w 41"/>
                    <a:gd name="T1" fmla="*/ 25 h 26"/>
                    <a:gd name="T2" fmla="*/ 40 w 41"/>
                    <a:gd name="T3" fmla="*/ 7 h 26"/>
                    <a:gd name="T4" fmla="*/ 40 w 41"/>
                    <a:gd name="T5" fmla="*/ 0 h 26"/>
                    <a:gd name="T6" fmla="*/ 0 w 41"/>
                    <a:gd name="T7" fmla="*/ 0 h 26"/>
                    <a:gd name="T8" fmla="*/ 17 w 41"/>
                    <a:gd name="T9" fmla="*/ 7 h 26"/>
                    <a:gd name="T10" fmla="*/ 17 w 41"/>
                    <a:gd name="T11" fmla="*/ 17 h 26"/>
                    <a:gd name="T12" fmla="*/ 24 w 41"/>
                    <a:gd name="T13" fmla="*/ 25 h 26"/>
                  </a:gdLst>
                  <a:ahLst/>
                  <a:cxnLst>
                    <a:cxn ang="0">
                      <a:pos x="T0" y="T1"/>
                    </a:cxn>
                    <a:cxn ang="0">
                      <a:pos x="T2" y="T3"/>
                    </a:cxn>
                    <a:cxn ang="0">
                      <a:pos x="T4" y="T5"/>
                    </a:cxn>
                    <a:cxn ang="0">
                      <a:pos x="T6" y="T7"/>
                    </a:cxn>
                    <a:cxn ang="0">
                      <a:pos x="T8" y="T9"/>
                    </a:cxn>
                    <a:cxn ang="0">
                      <a:pos x="T10" y="T11"/>
                    </a:cxn>
                    <a:cxn ang="0">
                      <a:pos x="T12" y="T13"/>
                    </a:cxn>
                  </a:cxnLst>
                  <a:rect l="0" t="0" r="r" b="b"/>
                  <a:pathLst>
                    <a:path w="41" h="26">
                      <a:moveTo>
                        <a:pt x="24" y="25"/>
                      </a:moveTo>
                      <a:lnTo>
                        <a:pt x="40" y="7"/>
                      </a:lnTo>
                      <a:lnTo>
                        <a:pt x="40" y="0"/>
                      </a:lnTo>
                      <a:lnTo>
                        <a:pt x="0" y="0"/>
                      </a:lnTo>
                      <a:lnTo>
                        <a:pt x="17" y="7"/>
                      </a:lnTo>
                      <a:lnTo>
                        <a:pt x="17" y="17"/>
                      </a:lnTo>
                      <a:lnTo>
                        <a:pt x="24" y="2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7" name="Freeform 179">
                  <a:extLst>
                    <a:ext uri="{FF2B5EF4-FFF2-40B4-BE49-F238E27FC236}">
                      <a16:creationId xmlns:a16="http://schemas.microsoft.com/office/drawing/2014/main" id="{682678E7-3D8A-05AF-5924-34F1DD552E59}"/>
                    </a:ext>
                  </a:extLst>
                </p:cNvPr>
                <p:cNvSpPr>
                  <a:spLocks/>
                </p:cNvSpPr>
                <p:nvPr/>
              </p:nvSpPr>
              <p:spPr bwMode="gray">
                <a:xfrm>
                  <a:off x="4520294" y="4800064"/>
                  <a:ext cx="140302" cy="102607"/>
                </a:xfrm>
                <a:custGeom>
                  <a:avLst/>
                  <a:gdLst>
                    <a:gd name="T0" fmla="*/ 82 w 91"/>
                    <a:gd name="T1" fmla="*/ 66 h 67"/>
                    <a:gd name="T2" fmla="*/ 90 w 91"/>
                    <a:gd name="T3" fmla="*/ 66 h 67"/>
                    <a:gd name="T4" fmla="*/ 90 w 91"/>
                    <a:gd name="T5" fmla="*/ 57 h 67"/>
                    <a:gd name="T6" fmla="*/ 90 w 91"/>
                    <a:gd name="T7" fmla="*/ 48 h 67"/>
                    <a:gd name="T8" fmla="*/ 90 w 91"/>
                    <a:gd name="T9" fmla="*/ 41 h 67"/>
                    <a:gd name="T10" fmla="*/ 90 w 91"/>
                    <a:gd name="T11" fmla="*/ 32 h 67"/>
                    <a:gd name="T12" fmla="*/ 75 w 91"/>
                    <a:gd name="T13" fmla="*/ 0 h 67"/>
                    <a:gd name="T14" fmla="*/ 57 w 91"/>
                    <a:gd name="T15" fmla="*/ 7 h 67"/>
                    <a:gd name="T16" fmla="*/ 41 w 91"/>
                    <a:gd name="T17" fmla="*/ 7 h 67"/>
                    <a:gd name="T18" fmla="*/ 50 w 91"/>
                    <a:gd name="T19" fmla="*/ 0 h 67"/>
                    <a:gd name="T20" fmla="*/ 16 w 91"/>
                    <a:gd name="T21" fmla="*/ 0 h 67"/>
                    <a:gd name="T22" fmla="*/ 16 w 91"/>
                    <a:gd name="T23" fmla="*/ 7 h 67"/>
                    <a:gd name="T24" fmla="*/ 0 w 91"/>
                    <a:gd name="T25" fmla="*/ 25 h 67"/>
                    <a:gd name="T26" fmla="*/ 25 w 91"/>
                    <a:gd name="T27" fmla="*/ 41 h 67"/>
                    <a:gd name="T28" fmla="*/ 34 w 91"/>
                    <a:gd name="T29" fmla="*/ 32 h 67"/>
                    <a:gd name="T30" fmla="*/ 41 w 91"/>
                    <a:gd name="T31" fmla="*/ 32 h 67"/>
                    <a:gd name="T32" fmla="*/ 57 w 91"/>
                    <a:gd name="T33" fmla="*/ 48 h 67"/>
                    <a:gd name="T34" fmla="*/ 57 w 91"/>
                    <a:gd name="T35" fmla="*/ 57 h 67"/>
                    <a:gd name="T36" fmla="*/ 65 w 91"/>
                    <a:gd name="T37" fmla="*/ 48 h 67"/>
                    <a:gd name="T38" fmla="*/ 75 w 91"/>
                    <a:gd name="T39" fmla="*/ 66 h 67"/>
                    <a:gd name="T40" fmla="*/ 82 w 91"/>
                    <a:gd name="T41" fmla="*/ 6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8" name="Freeform 180">
                  <a:extLst>
                    <a:ext uri="{FF2B5EF4-FFF2-40B4-BE49-F238E27FC236}">
                      <a16:creationId xmlns:a16="http://schemas.microsoft.com/office/drawing/2014/main" id="{3E92D9FB-B9C7-B2C1-C2D5-6562C67ADAF7}"/>
                    </a:ext>
                  </a:extLst>
                </p:cNvPr>
                <p:cNvSpPr>
                  <a:spLocks/>
                </p:cNvSpPr>
                <p:nvPr/>
              </p:nvSpPr>
              <p:spPr bwMode="gray">
                <a:xfrm>
                  <a:off x="4558909" y="4849467"/>
                  <a:ext cx="50200" cy="62071"/>
                </a:xfrm>
                <a:custGeom>
                  <a:avLst/>
                  <a:gdLst>
                    <a:gd name="T0" fmla="*/ 0 w 33"/>
                    <a:gd name="T1" fmla="*/ 9 h 41"/>
                    <a:gd name="T2" fmla="*/ 9 w 33"/>
                    <a:gd name="T3" fmla="*/ 0 h 41"/>
                    <a:gd name="T4" fmla="*/ 16 w 33"/>
                    <a:gd name="T5" fmla="*/ 0 h 41"/>
                    <a:gd name="T6" fmla="*/ 32 w 33"/>
                    <a:gd name="T7" fmla="*/ 16 h 41"/>
                    <a:gd name="T8" fmla="*/ 32 w 33"/>
                    <a:gd name="T9" fmla="*/ 25 h 41"/>
                    <a:gd name="T10" fmla="*/ 16 w 33"/>
                    <a:gd name="T11" fmla="*/ 40 h 41"/>
                    <a:gd name="T12" fmla="*/ 9 w 33"/>
                    <a:gd name="T13" fmla="*/ 34 h 41"/>
                    <a:gd name="T14" fmla="*/ 0 w 33"/>
                    <a:gd name="T15" fmla="*/ 34 h 41"/>
                    <a:gd name="T16" fmla="*/ 0 w 33"/>
                    <a:gd name="T17"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29" name="Freeform 181">
                  <a:extLst>
                    <a:ext uri="{FF2B5EF4-FFF2-40B4-BE49-F238E27FC236}">
                      <a16:creationId xmlns:a16="http://schemas.microsoft.com/office/drawing/2014/main" id="{6C92164D-14D3-3B3D-61D0-A910B30060F8}"/>
                    </a:ext>
                  </a:extLst>
                </p:cNvPr>
                <p:cNvSpPr>
                  <a:spLocks/>
                </p:cNvSpPr>
                <p:nvPr/>
              </p:nvSpPr>
              <p:spPr bwMode="gray">
                <a:xfrm>
                  <a:off x="4583365" y="4873536"/>
                  <a:ext cx="91389" cy="88673"/>
                </a:xfrm>
                <a:custGeom>
                  <a:avLst/>
                  <a:gdLst>
                    <a:gd name="T0" fmla="*/ 58 w 59"/>
                    <a:gd name="T1" fmla="*/ 58 h 59"/>
                    <a:gd name="T2" fmla="*/ 58 w 59"/>
                    <a:gd name="T3" fmla="*/ 42 h 59"/>
                    <a:gd name="T4" fmla="*/ 41 w 59"/>
                    <a:gd name="T5" fmla="*/ 33 h 59"/>
                    <a:gd name="T6" fmla="*/ 41 w 59"/>
                    <a:gd name="T7" fmla="*/ 18 h 59"/>
                    <a:gd name="T8" fmla="*/ 34 w 59"/>
                    <a:gd name="T9" fmla="*/ 18 h 59"/>
                    <a:gd name="T10" fmla="*/ 24 w 59"/>
                    <a:gd name="T11" fmla="*/ 0 h 59"/>
                    <a:gd name="T12" fmla="*/ 16 w 59"/>
                    <a:gd name="T13" fmla="*/ 9 h 59"/>
                    <a:gd name="T14" fmla="*/ 0 w 59"/>
                    <a:gd name="T15" fmla="*/ 24 h 59"/>
                    <a:gd name="T16" fmla="*/ 41 w 59"/>
                    <a:gd name="T17" fmla="*/ 58 h 59"/>
                    <a:gd name="T18" fmla="*/ 58 w 59"/>
                    <a:gd name="T1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30" name="Freeform 182">
                  <a:extLst>
                    <a:ext uri="{FF2B5EF4-FFF2-40B4-BE49-F238E27FC236}">
                      <a16:creationId xmlns:a16="http://schemas.microsoft.com/office/drawing/2014/main" id="{85452DC6-895B-6018-572C-D0A7079E6B22}"/>
                    </a:ext>
                  </a:extLst>
                </p:cNvPr>
                <p:cNvSpPr>
                  <a:spLocks/>
                </p:cNvSpPr>
                <p:nvPr/>
              </p:nvSpPr>
              <p:spPr bwMode="gray">
                <a:xfrm>
                  <a:off x="4807333" y="4826666"/>
                  <a:ext cx="41189" cy="97540"/>
                </a:xfrm>
                <a:custGeom>
                  <a:avLst/>
                  <a:gdLst>
                    <a:gd name="T0" fmla="*/ 17 w 26"/>
                    <a:gd name="T1" fmla="*/ 0 h 65"/>
                    <a:gd name="T2" fmla="*/ 0 w 26"/>
                    <a:gd name="T3" fmla="*/ 0 h 65"/>
                    <a:gd name="T4" fmla="*/ 9 w 26"/>
                    <a:gd name="T5" fmla="*/ 31 h 65"/>
                    <a:gd name="T6" fmla="*/ 17 w 26"/>
                    <a:gd name="T7" fmla="*/ 55 h 65"/>
                    <a:gd name="T8" fmla="*/ 17 w 26"/>
                    <a:gd name="T9" fmla="*/ 64 h 65"/>
                    <a:gd name="T10" fmla="*/ 25 w 26"/>
                    <a:gd name="T11" fmla="*/ 64 h 65"/>
                    <a:gd name="T12" fmla="*/ 25 w 26"/>
                    <a:gd name="T13" fmla="*/ 31 h 65"/>
                    <a:gd name="T14" fmla="*/ 25 w 26"/>
                    <a:gd name="T15" fmla="*/ 15 h 65"/>
                    <a:gd name="T16" fmla="*/ 17 w 26"/>
                    <a:gd name="T17" fmla="*/ 8 h 65"/>
                    <a:gd name="T18" fmla="*/ 17 w 26"/>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31" name="Freeform 183">
                  <a:extLst>
                    <a:ext uri="{FF2B5EF4-FFF2-40B4-BE49-F238E27FC236}">
                      <a16:creationId xmlns:a16="http://schemas.microsoft.com/office/drawing/2014/main" id="{B404AB9A-86E2-7F7F-F656-DB4CAE2BC8A1}"/>
                    </a:ext>
                  </a:extLst>
                </p:cNvPr>
                <p:cNvSpPr>
                  <a:spLocks/>
                </p:cNvSpPr>
                <p:nvPr/>
              </p:nvSpPr>
              <p:spPr bwMode="gray">
                <a:xfrm>
                  <a:off x="4999122" y="4998946"/>
                  <a:ext cx="34754" cy="25335"/>
                </a:xfrm>
                <a:custGeom>
                  <a:avLst/>
                  <a:gdLst>
                    <a:gd name="T0" fmla="*/ 22 w 23"/>
                    <a:gd name="T1" fmla="*/ 0 h 17"/>
                    <a:gd name="T2" fmla="*/ 22 w 23"/>
                    <a:gd name="T3" fmla="*/ 16 h 17"/>
                    <a:gd name="T4" fmla="*/ 6 w 23"/>
                    <a:gd name="T5" fmla="*/ 16 h 17"/>
                    <a:gd name="T6" fmla="*/ 0 w 23"/>
                    <a:gd name="T7" fmla="*/ 16 h 17"/>
                    <a:gd name="T8" fmla="*/ 6 w 23"/>
                    <a:gd name="T9" fmla="*/ 0 h 17"/>
                    <a:gd name="T10" fmla="*/ 22 w 23"/>
                    <a:gd name="T11" fmla="*/ 0 h 17"/>
                  </a:gdLst>
                  <a:ahLst/>
                  <a:cxnLst>
                    <a:cxn ang="0">
                      <a:pos x="T0" y="T1"/>
                    </a:cxn>
                    <a:cxn ang="0">
                      <a:pos x="T2" y="T3"/>
                    </a:cxn>
                    <a:cxn ang="0">
                      <a:pos x="T4" y="T5"/>
                    </a:cxn>
                    <a:cxn ang="0">
                      <a:pos x="T6" y="T7"/>
                    </a:cxn>
                    <a:cxn ang="0">
                      <a:pos x="T8" y="T9"/>
                    </a:cxn>
                    <a:cxn ang="0">
                      <a:pos x="T10" y="T11"/>
                    </a:cxn>
                  </a:cxnLst>
                  <a:rect l="0" t="0" r="r" b="b"/>
                  <a:pathLst>
                    <a:path w="23" h="17">
                      <a:moveTo>
                        <a:pt x="22" y="0"/>
                      </a:moveTo>
                      <a:lnTo>
                        <a:pt x="22" y="16"/>
                      </a:lnTo>
                      <a:lnTo>
                        <a:pt x="6" y="16"/>
                      </a:lnTo>
                      <a:lnTo>
                        <a:pt x="0" y="16"/>
                      </a:lnTo>
                      <a:lnTo>
                        <a:pt x="6" y="0"/>
                      </a:lnTo>
                      <a:lnTo>
                        <a:pt x="22"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32" name="Freeform 184">
                  <a:extLst>
                    <a:ext uri="{FF2B5EF4-FFF2-40B4-BE49-F238E27FC236}">
                      <a16:creationId xmlns:a16="http://schemas.microsoft.com/office/drawing/2014/main" id="{3F693BD6-98EA-13CB-09AE-6A1EAFAD3D8E}"/>
                    </a:ext>
                  </a:extLst>
                </p:cNvPr>
                <p:cNvSpPr>
                  <a:spLocks/>
                </p:cNvSpPr>
                <p:nvPr/>
              </p:nvSpPr>
              <p:spPr bwMode="gray">
                <a:xfrm>
                  <a:off x="5032589" y="4972343"/>
                  <a:ext cx="151887" cy="173546"/>
                </a:xfrm>
                <a:custGeom>
                  <a:avLst/>
                  <a:gdLst>
                    <a:gd name="T0" fmla="*/ 65 w 99"/>
                    <a:gd name="T1" fmla="*/ 9 h 115"/>
                    <a:gd name="T2" fmla="*/ 65 w 99"/>
                    <a:gd name="T3" fmla="*/ 24 h 115"/>
                    <a:gd name="T4" fmla="*/ 25 w 99"/>
                    <a:gd name="T5" fmla="*/ 18 h 115"/>
                    <a:gd name="T6" fmla="*/ 25 w 99"/>
                    <a:gd name="T7" fmla="*/ 33 h 115"/>
                    <a:gd name="T8" fmla="*/ 33 w 99"/>
                    <a:gd name="T9" fmla="*/ 24 h 115"/>
                    <a:gd name="T10" fmla="*/ 41 w 99"/>
                    <a:gd name="T11" fmla="*/ 33 h 115"/>
                    <a:gd name="T12" fmla="*/ 41 w 99"/>
                    <a:gd name="T13" fmla="*/ 41 h 115"/>
                    <a:gd name="T14" fmla="*/ 41 w 99"/>
                    <a:gd name="T15" fmla="*/ 74 h 115"/>
                    <a:gd name="T16" fmla="*/ 18 w 99"/>
                    <a:gd name="T17" fmla="*/ 74 h 115"/>
                    <a:gd name="T18" fmla="*/ 9 w 99"/>
                    <a:gd name="T19" fmla="*/ 81 h 115"/>
                    <a:gd name="T20" fmla="*/ 9 w 99"/>
                    <a:gd name="T21" fmla="*/ 90 h 115"/>
                    <a:gd name="T22" fmla="*/ 0 w 99"/>
                    <a:gd name="T23" fmla="*/ 90 h 115"/>
                    <a:gd name="T24" fmla="*/ 0 w 99"/>
                    <a:gd name="T25" fmla="*/ 98 h 115"/>
                    <a:gd name="T26" fmla="*/ 18 w 99"/>
                    <a:gd name="T27" fmla="*/ 114 h 115"/>
                    <a:gd name="T28" fmla="*/ 18 w 99"/>
                    <a:gd name="T29" fmla="*/ 106 h 115"/>
                    <a:gd name="T30" fmla="*/ 25 w 99"/>
                    <a:gd name="T31" fmla="*/ 106 h 115"/>
                    <a:gd name="T32" fmla="*/ 41 w 99"/>
                    <a:gd name="T33" fmla="*/ 106 h 115"/>
                    <a:gd name="T34" fmla="*/ 58 w 99"/>
                    <a:gd name="T35" fmla="*/ 98 h 115"/>
                    <a:gd name="T36" fmla="*/ 65 w 99"/>
                    <a:gd name="T37" fmla="*/ 74 h 115"/>
                    <a:gd name="T38" fmla="*/ 81 w 99"/>
                    <a:gd name="T39" fmla="*/ 58 h 115"/>
                    <a:gd name="T40" fmla="*/ 98 w 99"/>
                    <a:gd name="T41" fmla="*/ 0 h 115"/>
                    <a:gd name="T42" fmla="*/ 75 w 99"/>
                    <a:gd name="T43" fmla="*/ 9 h 115"/>
                    <a:gd name="T44" fmla="*/ 65 w 99"/>
                    <a:gd name="T45"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33" name="Freeform 185">
                  <a:extLst>
                    <a:ext uri="{FF2B5EF4-FFF2-40B4-BE49-F238E27FC236}">
                      <a16:creationId xmlns:a16="http://schemas.microsoft.com/office/drawing/2014/main" id="{133D2149-95BF-827C-FD30-D650F9A3E7D1}"/>
                    </a:ext>
                  </a:extLst>
                </p:cNvPr>
                <p:cNvSpPr>
                  <a:spLocks/>
                </p:cNvSpPr>
                <p:nvPr/>
              </p:nvSpPr>
              <p:spPr bwMode="gray">
                <a:xfrm>
                  <a:off x="5381412" y="5059750"/>
                  <a:ext cx="39902" cy="36736"/>
                </a:xfrm>
                <a:custGeom>
                  <a:avLst/>
                  <a:gdLst>
                    <a:gd name="T0" fmla="*/ 25 w 26"/>
                    <a:gd name="T1" fmla="*/ 23 h 24"/>
                    <a:gd name="T2" fmla="*/ 9 w 26"/>
                    <a:gd name="T3" fmla="*/ 23 h 24"/>
                    <a:gd name="T4" fmla="*/ 0 w 26"/>
                    <a:gd name="T5" fmla="*/ 23 h 24"/>
                    <a:gd name="T6" fmla="*/ 9 w 26"/>
                    <a:gd name="T7" fmla="*/ 7 h 24"/>
                    <a:gd name="T8" fmla="*/ 25 w 26"/>
                    <a:gd name="T9" fmla="*/ 0 h 24"/>
                    <a:gd name="T10" fmla="*/ 25 w 26"/>
                    <a:gd name="T11" fmla="*/ 16 h 24"/>
                    <a:gd name="T12" fmla="*/ 25 w 26"/>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26" h="24">
                      <a:moveTo>
                        <a:pt x="25" y="23"/>
                      </a:moveTo>
                      <a:lnTo>
                        <a:pt x="9" y="23"/>
                      </a:lnTo>
                      <a:lnTo>
                        <a:pt x="0" y="23"/>
                      </a:lnTo>
                      <a:lnTo>
                        <a:pt x="9" y="7"/>
                      </a:lnTo>
                      <a:lnTo>
                        <a:pt x="25" y="0"/>
                      </a:lnTo>
                      <a:lnTo>
                        <a:pt x="25" y="16"/>
                      </a:lnTo>
                      <a:lnTo>
                        <a:pt x="25" y="23"/>
                      </a:lnTo>
                    </a:path>
                  </a:pathLst>
                </a:custGeom>
                <a:grpFill/>
                <a:ln w="6350" cap="rnd" cmpd="sng">
                  <a:solidFill>
                    <a:srgbClr val="D0D0D0"/>
                  </a:solidFill>
                  <a:prstDash val="solid"/>
                  <a:round/>
                  <a:headEnd/>
                  <a:tailEnd/>
                </a:ln>
                <a:effectLst/>
              </p:spPr>
              <p:txBody>
                <a:bodyPr/>
                <a:lstStyle/>
                <a:p>
                  <a:endParaRPr lang="de-DE" dirty="0"/>
                </a:p>
              </p:txBody>
            </p:sp>
            <p:sp>
              <p:nvSpPr>
                <p:cNvPr id="634" name="Freeform 186">
                  <a:extLst>
                    <a:ext uri="{FF2B5EF4-FFF2-40B4-BE49-F238E27FC236}">
                      <a16:creationId xmlns:a16="http://schemas.microsoft.com/office/drawing/2014/main" id="{4AC4EAD1-5F0E-8BFC-589B-AF4330188243}"/>
                    </a:ext>
                  </a:extLst>
                </p:cNvPr>
                <p:cNvSpPr>
                  <a:spLocks/>
                </p:cNvSpPr>
                <p:nvPr/>
              </p:nvSpPr>
              <p:spPr bwMode="gray">
                <a:xfrm>
                  <a:off x="5395571" y="5093952"/>
                  <a:ext cx="25743" cy="39270"/>
                </a:xfrm>
                <a:custGeom>
                  <a:avLst/>
                  <a:gdLst>
                    <a:gd name="T0" fmla="*/ 16 w 17"/>
                    <a:gd name="T1" fmla="*/ 0 h 26"/>
                    <a:gd name="T2" fmla="*/ 16 w 17"/>
                    <a:gd name="T3" fmla="*/ 9 h 26"/>
                    <a:gd name="T4" fmla="*/ 0 w 17"/>
                    <a:gd name="T5" fmla="*/ 25 h 26"/>
                    <a:gd name="T6" fmla="*/ 0 w 17"/>
                    <a:gd name="T7" fmla="*/ 9 h 26"/>
                    <a:gd name="T8" fmla="*/ 0 w 17"/>
                    <a:gd name="T9" fmla="*/ 0 h 26"/>
                    <a:gd name="T10" fmla="*/ 16 w 17"/>
                    <a:gd name="T11" fmla="*/ 0 h 26"/>
                  </a:gdLst>
                  <a:ahLst/>
                  <a:cxnLst>
                    <a:cxn ang="0">
                      <a:pos x="T0" y="T1"/>
                    </a:cxn>
                    <a:cxn ang="0">
                      <a:pos x="T2" y="T3"/>
                    </a:cxn>
                    <a:cxn ang="0">
                      <a:pos x="T4" y="T5"/>
                    </a:cxn>
                    <a:cxn ang="0">
                      <a:pos x="T6" y="T7"/>
                    </a:cxn>
                    <a:cxn ang="0">
                      <a:pos x="T8" y="T9"/>
                    </a:cxn>
                    <a:cxn ang="0">
                      <a:pos x="T10" y="T11"/>
                    </a:cxn>
                  </a:cxnLst>
                  <a:rect l="0" t="0" r="r" b="b"/>
                  <a:pathLst>
                    <a:path w="17" h="26">
                      <a:moveTo>
                        <a:pt x="16" y="0"/>
                      </a:moveTo>
                      <a:lnTo>
                        <a:pt x="16" y="9"/>
                      </a:lnTo>
                      <a:lnTo>
                        <a:pt x="0" y="25"/>
                      </a:lnTo>
                      <a:lnTo>
                        <a:pt x="0" y="9"/>
                      </a:lnTo>
                      <a:lnTo>
                        <a:pt x="0" y="0"/>
                      </a:lnTo>
                      <a:lnTo>
                        <a:pt x="16" y="0"/>
                      </a:lnTo>
                    </a:path>
                  </a:pathLst>
                </a:custGeom>
                <a:grpFill/>
                <a:ln w="6350" cap="rnd" cmpd="sng">
                  <a:solidFill>
                    <a:srgbClr val="D0D0D0"/>
                  </a:solidFill>
                  <a:prstDash val="solid"/>
                  <a:round/>
                  <a:headEnd/>
                  <a:tailEnd/>
                </a:ln>
                <a:effectLst/>
              </p:spPr>
              <p:txBody>
                <a:bodyPr/>
                <a:lstStyle/>
                <a:p>
                  <a:endParaRPr lang="de-DE" dirty="0"/>
                </a:p>
              </p:txBody>
            </p:sp>
            <p:sp>
              <p:nvSpPr>
                <p:cNvPr id="635" name="Freeform 187">
                  <a:extLst>
                    <a:ext uri="{FF2B5EF4-FFF2-40B4-BE49-F238E27FC236}">
                      <a16:creationId xmlns:a16="http://schemas.microsoft.com/office/drawing/2014/main" id="{F1E078ED-BC26-3DA1-BA3C-AAA8C3B614E6}"/>
                    </a:ext>
                  </a:extLst>
                </p:cNvPr>
                <p:cNvSpPr>
                  <a:spLocks/>
                </p:cNvSpPr>
                <p:nvPr/>
              </p:nvSpPr>
              <p:spPr bwMode="gray">
                <a:xfrm>
                  <a:off x="5046747" y="5376440"/>
                  <a:ext cx="263871" cy="247018"/>
                </a:xfrm>
                <a:custGeom>
                  <a:avLst/>
                  <a:gdLst>
                    <a:gd name="T0" fmla="*/ 56 w 172"/>
                    <a:gd name="T1" fmla="*/ 162 h 163"/>
                    <a:gd name="T2" fmla="*/ 49 w 172"/>
                    <a:gd name="T3" fmla="*/ 146 h 163"/>
                    <a:gd name="T4" fmla="*/ 32 w 172"/>
                    <a:gd name="T5" fmla="*/ 99 h 163"/>
                    <a:gd name="T6" fmla="*/ 32 w 172"/>
                    <a:gd name="T7" fmla="*/ 75 h 163"/>
                    <a:gd name="T8" fmla="*/ 0 w 172"/>
                    <a:gd name="T9" fmla="*/ 9 h 163"/>
                    <a:gd name="T10" fmla="*/ 0 w 172"/>
                    <a:gd name="T11" fmla="*/ 0 h 163"/>
                    <a:gd name="T12" fmla="*/ 16 w 172"/>
                    <a:gd name="T13" fmla="*/ 0 h 163"/>
                    <a:gd name="T14" fmla="*/ 32 w 172"/>
                    <a:gd name="T15" fmla="*/ 0 h 163"/>
                    <a:gd name="T16" fmla="*/ 81 w 172"/>
                    <a:gd name="T17" fmla="*/ 9 h 163"/>
                    <a:gd name="T18" fmla="*/ 97 w 172"/>
                    <a:gd name="T19" fmla="*/ 9 h 163"/>
                    <a:gd name="T20" fmla="*/ 130 w 172"/>
                    <a:gd name="T21" fmla="*/ 16 h 163"/>
                    <a:gd name="T22" fmla="*/ 146 w 172"/>
                    <a:gd name="T23" fmla="*/ 9 h 163"/>
                    <a:gd name="T24" fmla="*/ 153 w 172"/>
                    <a:gd name="T25" fmla="*/ 0 h 163"/>
                    <a:gd name="T26" fmla="*/ 171 w 172"/>
                    <a:gd name="T27" fmla="*/ 9 h 163"/>
                    <a:gd name="T28" fmla="*/ 153 w 172"/>
                    <a:gd name="T29" fmla="*/ 25 h 163"/>
                    <a:gd name="T30" fmla="*/ 146 w 172"/>
                    <a:gd name="T31" fmla="*/ 16 h 163"/>
                    <a:gd name="T32" fmla="*/ 121 w 172"/>
                    <a:gd name="T33" fmla="*/ 16 h 163"/>
                    <a:gd name="T34" fmla="*/ 112 w 172"/>
                    <a:gd name="T35" fmla="*/ 65 h 163"/>
                    <a:gd name="T36" fmla="*/ 106 w 172"/>
                    <a:gd name="T37" fmla="*/ 75 h 163"/>
                    <a:gd name="T38" fmla="*/ 106 w 172"/>
                    <a:gd name="T39" fmla="*/ 106 h 163"/>
                    <a:gd name="T40" fmla="*/ 106 w 172"/>
                    <a:gd name="T41" fmla="*/ 155 h 163"/>
                    <a:gd name="T42" fmla="*/ 89 w 172"/>
                    <a:gd name="T43" fmla="*/ 162 h 163"/>
                    <a:gd name="T44" fmla="*/ 72 w 172"/>
                    <a:gd name="T45" fmla="*/ 162 h 163"/>
                    <a:gd name="T46" fmla="*/ 66 w 172"/>
                    <a:gd name="T47" fmla="*/ 155 h 163"/>
                    <a:gd name="T48" fmla="*/ 56 w 172"/>
                    <a:gd name="T49" fmla="*/ 16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36" name="Freeform 188">
                  <a:extLst>
                    <a:ext uri="{FF2B5EF4-FFF2-40B4-BE49-F238E27FC236}">
                      <a16:creationId xmlns:a16="http://schemas.microsoft.com/office/drawing/2014/main" id="{4F378971-8AFD-4216-6340-B3405A2A61F7}"/>
                    </a:ext>
                  </a:extLst>
                </p:cNvPr>
                <p:cNvSpPr>
                  <a:spLocks/>
                </p:cNvSpPr>
                <p:nvPr/>
              </p:nvSpPr>
              <p:spPr bwMode="gray">
                <a:xfrm>
                  <a:off x="5046747" y="5154756"/>
                  <a:ext cx="248425" cy="247018"/>
                </a:xfrm>
                <a:custGeom>
                  <a:avLst/>
                  <a:gdLst>
                    <a:gd name="T0" fmla="*/ 0 w 162"/>
                    <a:gd name="T1" fmla="*/ 146 h 163"/>
                    <a:gd name="T2" fmla="*/ 16 w 162"/>
                    <a:gd name="T3" fmla="*/ 146 h 163"/>
                    <a:gd name="T4" fmla="*/ 32 w 162"/>
                    <a:gd name="T5" fmla="*/ 146 h 163"/>
                    <a:gd name="T6" fmla="*/ 81 w 162"/>
                    <a:gd name="T7" fmla="*/ 155 h 163"/>
                    <a:gd name="T8" fmla="*/ 97 w 162"/>
                    <a:gd name="T9" fmla="*/ 155 h 163"/>
                    <a:gd name="T10" fmla="*/ 130 w 162"/>
                    <a:gd name="T11" fmla="*/ 162 h 163"/>
                    <a:gd name="T12" fmla="*/ 146 w 162"/>
                    <a:gd name="T13" fmla="*/ 155 h 163"/>
                    <a:gd name="T14" fmla="*/ 130 w 162"/>
                    <a:gd name="T15" fmla="*/ 139 h 163"/>
                    <a:gd name="T16" fmla="*/ 130 w 162"/>
                    <a:gd name="T17" fmla="*/ 99 h 163"/>
                    <a:gd name="T18" fmla="*/ 161 w 162"/>
                    <a:gd name="T19" fmla="*/ 90 h 163"/>
                    <a:gd name="T20" fmla="*/ 153 w 162"/>
                    <a:gd name="T21" fmla="*/ 65 h 163"/>
                    <a:gd name="T22" fmla="*/ 130 w 162"/>
                    <a:gd name="T23" fmla="*/ 74 h 163"/>
                    <a:gd name="T24" fmla="*/ 130 w 162"/>
                    <a:gd name="T25" fmla="*/ 65 h 163"/>
                    <a:gd name="T26" fmla="*/ 137 w 162"/>
                    <a:gd name="T27" fmla="*/ 59 h 163"/>
                    <a:gd name="T28" fmla="*/ 130 w 162"/>
                    <a:gd name="T29" fmla="*/ 50 h 163"/>
                    <a:gd name="T30" fmla="*/ 130 w 162"/>
                    <a:gd name="T31" fmla="*/ 25 h 163"/>
                    <a:gd name="T32" fmla="*/ 112 w 162"/>
                    <a:gd name="T33" fmla="*/ 17 h 163"/>
                    <a:gd name="T34" fmla="*/ 97 w 162"/>
                    <a:gd name="T35" fmla="*/ 17 h 163"/>
                    <a:gd name="T36" fmla="*/ 97 w 162"/>
                    <a:gd name="T37" fmla="*/ 25 h 163"/>
                    <a:gd name="T38" fmla="*/ 81 w 162"/>
                    <a:gd name="T39" fmla="*/ 34 h 163"/>
                    <a:gd name="T40" fmla="*/ 66 w 162"/>
                    <a:gd name="T41" fmla="*/ 17 h 163"/>
                    <a:gd name="T42" fmla="*/ 66 w 162"/>
                    <a:gd name="T43" fmla="*/ 0 h 163"/>
                    <a:gd name="T44" fmla="*/ 56 w 162"/>
                    <a:gd name="T45" fmla="*/ 0 h 163"/>
                    <a:gd name="T46" fmla="*/ 24 w 162"/>
                    <a:gd name="T47" fmla="*/ 0 h 163"/>
                    <a:gd name="T48" fmla="*/ 9 w 162"/>
                    <a:gd name="T49" fmla="*/ 9 h 163"/>
                    <a:gd name="T50" fmla="*/ 16 w 162"/>
                    <a:gd name="T51" fmla="*/ 34 h 163"/>
                    <a:gd name="T52" fmla="*/ 16 w 162"/>
                    <a:gd name="T53" fmla="*/ 40 h 163"/>
                    <a:gd name="T54" fmla="*/ 24 w 162"/>
                    <a:gd name="T55" fmla="*/ 74 h 163"/>
                    <a:gd name="T56" fmla="*/ 24 w 162"/>
                    <a:gd name="T57" fmla="*/ 90 h 163"/>
                    <a:gd name="T58" fmla="*/ 9 w 162"/>
                    <a:gd name="T59" fmla="*/ 99 h 163"/>
                    <a:gd name="T60" fmla="*/ 0 w 162"/>
                    <a:gd name="T61" fmla="*/ 131 h 163"/>
                    <a:gd name="T62" fmla="*/ 0 w 162"/>
                    <a:gd name="T63" fmla="*/ 14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37" name="Freeform 189">
                  <a:extLst>
                    <a:ext uri="{FF2B5EF4-FFF2-40B4-BE49-F238E27FC236}">
                      <a16:creationId xmlns:a16="http://schemas.microsoft.com/office/drawing/2014/main" id="{B5C8BFEC-48DA-D3DA-8E3F-4DC023EE87A6}"/>
                    </a:ext>
                  </a:extLst>
                </p:cNvPr>
                <p:cNvSpPr>
                  <a:spLocks/>
                </p:cNvSpPr>
                <p:nvPr/>
              </p:nvSpPr>
              <p:spPr bwMode="gray">
                <a:xfrm>
                  <a:off x="5060906" y="5131955"/>
                  <a:ext cx="25743" cy="26602"/>
                </a:xfrm>
                <a:custGeom>
                  <a:avLst/>
                  <a:gdLst>
                    <a:gd name="T0" fmla="*/ 16 w 17"/>
                    <a:gd name="T1" fmla="*/ 0 h 17"/>
                    <a:gd name="T2" fmla="*/ 0 w 17"/>
                    <a:gd name="T3" fmla="*/ 16 h 17"/>
                    <a:gd name="T4" fmla="*/ 0 w 17"/>
                    <a:gd name="T5" fmla="*/ 8 h 17"/>
                    <a:gd name="T6" fmla="*/ 0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0" y="16"/>
                      </a:lnTo>
                      <a:lnTo>
                        <a:pt x="0" y="8"/>
                      </a:lnTo>
                      <a:lnTo>
                        <a:pt x="0" y="0"/>
                      </a:lnTo>
                      <a:lnTo>
                        <a:pt x="16" y="0"/>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38" name="Freeform 190">
                  <a:extLst>
                    <a:ext uri="{FF2B5EF4-FFF2-40B4-BE49-F238E27FC236}">
                      <a16:creationId xmlns:a16="http://schemas.microsoft.com/office/drawing/2014/main" id="{B2407F90-C6BE-AE4B-6C2D-01F0DE8CA999}"/>
                    </a:ext>
                  </a:extLst>
                </p:cNvPr>
                <p:cNvSpPr>
                  <a:spLocks/>
                </p:cNvSpPr>
                <p:nvPr/>
              </p:nvSpPr>
              <p:spPr bwMode="gray">
                <a:xfrm>
                  <a:off x="5060906" y="5131955"/>
                  <a:ext cx="25743" cy="26602"/>
                </a:xfrm>
                <a:custGeom>
                  <a:avLst/>
                  <a:gdLst>
                    <a:gd name="T0" fmla="*/ 16 w 17"/>
                    <a:gd name="T1" fmla="*/ 0 h 17"/>
                    <a:gd name="T2" fmla="*/ 0 w 17"/>
                    <a:gd name="T3" fmla="*/ 16 h 17"/>
                    <a:gd name="T4" fmla="*/ 0 w 17"/>
                    <a:gd name="T5" fmla="*/ 8 h 17"/>
                    <a:gd name="T6" fmla="*/ 0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0" y="16"/>
                      </a:lnTo>
                      <a:lnTo>
                        <a:pt x="0" y="8"/>
                      </a:lnTo>
                      <a:lnTo>
                        <a:pt x="0" y="0"/>
                      </a:lnTo>
                      <a:lnTo>
                        <a:pt x="16"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39" name="Freeform 191">
                  <a:extLst>
                    <a:ext uri="{FF2B5EF4-FFF2-40B4-BE49-F238E27FC236}">
                      <a16:creationId xmlns:a16="http://schemas.microsoft.com/office/drawing/2014/main" id="{A27330F2-20D6-9D35-5BEB-C3FA8C560675}"/>
                    </a:ext>
                  </a:extLst>
                </p:cNvPr>
                <p:cNvSpPr>
                  <a:spLocks/>
                </p:cNvSpPr>
                <p:nvPr/>
              </p:nvSpPr>
              <p:spPr bwMode="gray">
                <a:xfrm>
                  <a:off x="5132988" y="5473980"/>
                  <a:ext cx="326942" cy="285021"/>
                </a:xfrm>
                <a:custGeom>
                  <a:avLst/>
                  <a:gdLst>
                    <a:gd name="T0" fmla="*/ 196 w 213"/>
                    <a:gd name="T1" fmla="*/ 10 h 188"/>
                    <a:gd name="T2" fmla="*/ 202 w 213"/>
                    <a:gd name="T3" fmla="*/ 57 h 188"/>
                    <a:gd name="T4" fmla="*/ 196 w 213"/>
                    <a:gd name="T5" fmla="*/ 57 h 188"/>
                    <a:gd name="T6" fmla="*/ 187 w 213"/>
                    <a:gd name="T7" fmla="*/ 65 h 188"/>
                    <a:gd name="T8" fmla="*/ 196 w 213"/>
                    <a:gd name="T9" fmla="*/ 74 h 188"/>
                    <a:gd name="T10" fmla="*/ 202 w 213"/>
                    <a:gd name="T11" fmla="*/ 65 h 188"/>
                    <a:gd name="T12" fmla="*/ 212 w 213"/>
                    <a:gd name="T13" fmla="*/ 65 h 188"/>
                    <a:gd name="T14" fmla="*/ 212 w 213"/>
                    <a:gd name="T15" fmla="*/ 74 h 188"/>
                    <a:gd name="T16" fmla="*/ 212 w 213"/>
                    <a:gd name="T17" fmla="*/ 97 h 188"/>
                    <a:gd name="T18" fmla="*/ 196 w 213"/>
                    <a:gd name="T19" fmla="*/ 105 h 188"/>
                    <a:gd name="T20" fmla="*/ 180 w 213"/>
                    <a:gd name="T21" fmla="*/ 130 h 188"/>
                    <a:gd name="T22" fmla="*/ 155 w 213"/>
                    <a:gd name="T23" fmla="*/ 153 h 188"/>
                    <a:gd name="T24" fmla="*/ 139 w 213"/>
                    <a:gd name="T25" fmla="*/ 171 h 188"/>
                    <a:gd name="T26" fmla="*/ 115 w 213"/>
                    <a:gd name="T27" fmla="*/ 178 h 188"/>
                    <a:gd name="T28" fmla="*/ 97 w 213"/>
                    <a:gd name="T29" fmla="*/ 178 h 188"/>
                    <a:gd name="T30" fmla="*/ 74 w 213"/>
                    <a:gd name="T31" fmla="*/ 178 h 188"/>
                    <a:gd name="T32" fmla="*/ 50 w 213"/>
                    <a:gd name="T33" fmla="*/ 187 h 188"/>
                    <a:gd name="T34" fmla="*/ 41 w 213"/>
                    <a:gd name="T35" fmla="*/ 187 h 188"/>
                    <a:gd name="T36" fmla="*/ 33 w 213"/>
                    <a:gd name="T37" fmla="*/ 178 h 188"/>
                    <a:gd name="T38" fmla="*/ 25 w 213"/>
                    <a:gd name="T39" fmla="*/ 153 h 188"/>
                    <a:gd name="T40" fmla="*/ 25 w 213"/>
                    <a:gd name="T41" fmla="*/ 147 h 188"/>
                    <a:gd name="T42" fmla="*/ 10 w 213"/>
                    <a:gd name="T43" fmla="*/ 97 h 188"/>
                    <a:gd name="T44" fmla="*/ 0 w 213"/>
                    <a:gd name="T45" fmla="*/ 97 h 188"/>
                    <a:gd name="T46" fmla="*/ 10 w 213"/>
                    <a:gd name="T47" fmla="*/ 90 h 188"/>
                    <a:gd name="T48" fmla="*/ 16 w 213"/>
                    <a:gd name="T49" fmla="*/ 97 h 188"/>
                    <a:gd name="T50" fmla="*/ 33 w 213"/>
                    <a:gd name="T51" fmla="*/ 97 h 188"/>
                    <a:gd name="T52" fmla="*/ 50 w 213"/>
                    <a:gd name="T53" fmla="*/ 90 h 188"/>
                    <a:gd name="T54" fmla="*/ 50 w 213"/>
                    <a:gd name="T55" fmla="*/ 41 h 188"/>
                    <a:gd name="T56" fmla="*/ 56 w 213"/>
                    <a:gd name="T57" fmla="*/ 50 h 188"/>
                    <a:gd name="T58" fmla="*/ 56 w 213"/>
                    <a:gd name="T59" fmla="*/ 65 h 188"/>
                    <a:gd name="T60" fmla="*/ 74 w 213"/>
                    <a:gd name="T61" fmla="*/ 65 h 188"/>
                    <a:gd name="T62" fmla="*/ 97 w 213"/>
                    <a:gd name="T63" fmla="*/ 50 h 188"/>
                    <a:gd name="T64" fmla="*/ 105 w 213"/>
                    <a:gd name="T65" fmla="*/ 57 h 188"/>
                    <a:gd name="T66" fmla="*/ 115 w 213"/>
                    <a:gd name="T67" fmla="*/ 50 h 188"/>
                    <a:gd name="T68" fmla="*/ 147 w 213"/>
                    <a:gd name="T69" fmla="*/ 16 h 188"/>
                    <a:gd name="T70" fmla="*/ 171 w 213"/>
                    <a:gd name="T71" fmla="*/ 0 h 188"/>
                    <a:gd name="T72" fmla="*/ 187 w 213"/>
                    <a:gd name="T73" fmla="*/ 10 h 188"/>
                    <a:gd name="T74" fmla="*/ 196 w 213"/>
                    <a:gd name="T75" fmla="*/ 1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0" name="Freeform 192">
                  <a:extLst>
                    <a:ext uri="{FF2B5EF4-FFF2-40B4-BE49-F238E27FC236}">
                      <a16:creationId xmlns:a16="http://schemas.microsoft.com/office/drawing/2014/main" id="{BE5BE74D-24A6-8500-DC6C-C07BDFF3CF94}"/>
                    </a:ext>
                  </a:extLst>
                </p:cNvPr>
                <p:cNvSpPr>
                  <a:spLocks/>
                </p:cNvSpPr>
                <p:nvPr/>
              </p:nvSpPr>
              <p:spPr bwMode="gray">
                <a:xfrm>
                  <a:off x="5208932" y="5389107"/>
                  <a:ext cx="187928" cy="184947"/>
                </a:xfrm>
                <a:custGeom>
                  <a:avLst/>
                  <a:gdLst>
                    <a:gd name="T0" fmla="*/ 0 w 122"/>
                    <a:gd name="T1" fmla="*/ 97 h 122"/>
                    <a:gd name="T2" fmla="*/ 6 w 122"/>
                    <a:gd name="T3" fmla="*/ 106 h 122"/>
                    <a:gd name="T4" fmla="*/ 6 w 122"/>
                    <a:gd name="T5" fmla="*/ 121 h 122"/>
                    <a:gd name="T6" fmla="*/ 24 w 122"/>
                    <a:gd name="T7" fmla="*/ 121 h 122"/>
                    <a:gd name="T8" fmla="*/ 47 w 122"/>
                    <a:gd name="T9" fmla="*/ 106 h 122"/>
                    <a:gd name="T10" fmla="*/ 55 w 122"/>
                    <a:gd name="T11" fmla="*/ 113 h 122"/>
                    <a:gd name="T12" fmla="*/ 65 w 122"/>
                    <a:gd name="T13" fmla="*/ 106 h 122"/>
                    <a:gd name="T14" fmla="*/ 97 w 122"/>
                    <a:gd name="T15" fmla="*/ 72 h 122"/>
                    <a:gd name="T16" fmla="*/ 121 w 122"/>
                    <a:gd name="T17" fmla="*/ 56 h 122"/>
                    <a:gd name="T18" fmla="*/ 105 w 122"/>
                    <a:gd name="T19" fmla="*/ 56 h 122"/>
                    <a:gd name="T20" fmla="*/ 97 w 122"/>
                    <a:gd name="T21" fmla="*/ 41 h 122"/>
                    <a:gd name="T22" fmla="*/ 80 w 122"/>
                    <a:gd name="T23" fmla="*/ 24 h 122"/>
                    <a:gd name="T24" fmla="*/ 65 w 122"/>
                    <a:gd name="T25" fmla="*/ 0 h 122"/>
                    <a:gd name="T26" fmla="*/ 47 w 122"/>
                    <a:gd name="T27" fmla="*/ 16 h 122"/>
                    <a:gd name="T28" fmla="*/ 40 w 122"/>
                    <a:gd name="T29" fmla="*/ 7 h 122"/>
                    <a:gd name="T30" fmla="*/ 15 w 122"/>
                    <a:gd name="T31" fmla="*/ 7 h 122"/>
                    <a:gd name="T32" fmla="*/ 6 w 122"/>
                    <a:gd name="T33" fmla="*/ 56 h 122"/>
                    <a:gd name="T34" fmla="*/ 0 w 122"/>
                    <a:gd name="T35" fmla="*/ 66 h 122"/>
                    <a:gd name="T36" fmla="*/ 0 w 122"/>
                    <a:gd name="T37" fmla="*/ 9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1" name="Freeform 193">
                  <a:extLst>
                    <a:ext uri="{FF2B5EF4-FFF2-40B4-BE49-F238E27FC236}">
                      <a16:creationId xmlns:a16="http://schemas.microsoft.com/office/drawing/2014/main" id="{9C9E1479-4DB5-9BE5-848B-16C9D45A791B}"/>
                    </a:ext>
                  </a:extLst>
                </p:cNvPr>
                <p:cNvSpPr>
                  <a:spLocks/>
                </p:cNvSpPr>
                <p:nvPr/>
              </p:nvSpPr>
              <p:spPr bwMode="gray">
                <a:xfrm>
                  <a:off x="5309331" y="5353638"/>
                  <a:ext cx="163471" cy="138077"/>
                </a:xfrm>
                <a:custGeom>
                  <a:avLst/>
                  <a:gdLst>
                    <a:gd name="T0" fmla="*/ 65 w 106"/>
                    <a:gd name="T1" fmla="*/ 0 h 91"/>
                    <a:gd name="T2" fmla="*/ 47 w 106"/>
                    <a:gd name="T3" fmla="*/ 0 h 91"/>
                    <a:gd name="T4" fmla="*/ 47 w 106"/>
                    <a:gd name="T5" fmla="*/ 8 h 91"/>
                    <a:gd name="T6" fmla="*/ 24 w 106"/>
                    <a:gd name="T7" fmla="*/ 24 h 91"/>
                    <a:gd name="T8" fmla="*/ 0 w 106"/>
                    <a:gd name="T9" fmla="*/ 24 h 91"/>
                    <a:gd name="T10" fmla="*/ 15 w 106"/>
                    <a:gd name="T11" fmla="*/ 48 h 91"/>
                    <a:gd name="T12" fmla="*/ 32 w 106"/>
                    <a:gd name="T13" fmla="*/ 65 h 91"/>
                    <a:gd name="T14" fmla="*/ 40 w 106"/>
                    <a:gd name="T15" fmla="*/ 80 h 91"/>
                    <a:gd name="T16" fmla="*/ 56 w 106"/>
                    <a:gd name="T17" fmla="*/ 80 h 91"/>
                    <a:gd name="T18" fmla="*/ 72 w 106"/>
                    <a:gd name="T19" fmla="*/ 90 h 91"/>
                    <a:gd name="T20" fmla="*/ 81 w 106"/>
                    <a:gd name="T21" fmla="*/ 90 h 91"/>
                    <a:gd name="T22" fmla="*/ 97 w 106"/>
                    <a:gd name="T23" fmla="*/ 56 h 91"/>
                    <a:gd name="T24" fmla="*/ 105 w 106"/>
                    <a:gd name="T25" fmla="*/ 24 h 91"/>
                    <a:gd name="T26" fmla="*/ 97 w 106"/>
                    <a:gd name="T27" fmla="*/ 8 h 91"/>
                    <a:gd name="T28" fmla="*/ 81 w 106"/>
                    <a:gd name="T29" fmla="*/ 0 h 91"/>
                    <a:gd name="T30" fmla="*/ 65 w 106"/>
                    <a:gd name="T3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2" name="Freeform 194">
                  <a:extLst>
                    <a:ext uri="{FF2B5EF4-FFF2-40B4-BE49-F238E27FC236}">
                      <a16:creationId xmlns:a16="http://schemas.microsoft.com/office/drawing/2014/main" id="{C4894892-BE53-F9F2-C1BF-D10F068FEA21}"/>
                    </a:ext>
                  </a:extLst>
                </p:cNvPr>
                <p:cNvSpPr>
                  <a:spLocks/>
                </p:cNvSpPr>
                <p:nvPr/>
              </p:nvSpPr>
              <p:spPr bwMode="gray">
                <a:xfrm>
                  <a:off x="5409731" y="5244697"/>
                  <a:ext cx="212384" cy="329358"/>
                </a:xfrm>
                <a:custGeom>
                  <a:avLst/>
                  <a:gdLst>
                    <a:gd name="T0" fmla="*/ 32 w 138"/>
                    <a:gd name="T1" fmla="*/ 217 h 218"/>
                    <a:gd name="T2" fmla="*/ 32 w 138"/>
                    <a:gd name="T3" fmla="*/ 209 h 218"/>
                    <a:gd name="T4" fmla="*/ 32 w 138"/>
                    <a:gd name="T5" fmla="*/ 202 h 218"/>
                    <a:gd name="T6" fmla="*/ 64 w 138"/>
                    <a:gd name="T7" fmla="*/ 193 h 218"/>
                    <a:gd name="T8" fmla="*/ 72 w 138"/>
                    <a:gd name="T9" fmla="*/ 186 h 218"/>
                    <a:gd name="T10" fmla="*/ 72 w 138"/>
                    <a:gd name="T11" fmla="*/ 162 h 218"/>
                    <a:gd name="T12" fmla="*/ 56 w 138"/>
                    <a:gd name="T13" fmla="*/ 128 h 218"/>
                    <a:gd name="T14" fmla="*/ 87 w 138"/>
                    <a:gd name="T15" fmla="*/ 96 h 218"/>
                    <a:gd name="T16" fmla="*/ 112 w 138"/>
                    <a:gd name="T17" fmla="*/ 87 h 218"/>
                    <a:gd name="T18" fmla="*/ 137 w 138"/>
                    <a:gd name="T19" fmla="*/ 63 h 218"/>
                    <a:gd name="T20" fmla="*/ 129 w 138"/>
                    <a:gd name="T21" fmla="*/ 0 h 218"/>
                    <a:gd name="T22" fmla="*/ 112 w 138"/>
                    <a:gd name="T23" fmla="*/ 15 h 218"/>
                    <a:gd name="T24" fmla="*/ 81 w 138"/>
                    <a:gd name="T25" fmla="*/ 15 h 218"/>
                    <a:gd name="T26" fmla="*/ 64 w 138"/>
                    <a:gd name="T27" fmla="*/ 15 h 218"/>
                    <a:gd name="T28" fmla="*/ 56 w 138"/>
                    <a:gd name="T29" fmla="*/ 23 h 218"/>
                    <a:gd name="T30" fmla="*/ 64 w 138"/>
                    <a:gd name="T31" fmla="*/ 40 h 218"/>
                    <a:gd name="T32" fmla="*/ 72 w 138"/>
                    <a:gd name="T33" fmla="*/ 55 h 218"/>
                    <a:gd name="T34" fmla="*/ 72 w 138"/>
                    <a:gd name="T35" fmla="*/ 72 h 218"/>
                    <a:gd name="T36" fmla="*/ 64 w 138"/>
                    <a:gd name="T37" fmla="*/ 87 h 218"/>
                    <a:gd name="T38" fmla="*/ 56 w 138"/>
                    <a:gd name="T39" fmla="*/ 72 h 218"/>
                    <a:gd name="T40" fmla="*/ 56 w 138"/>
                    <a:gd name="T41" fmla="*/ 55 h 218"/>
                    <a:gd name="T42" fmla="*/ 47 w 138"/>
                    <a:gd name="T43" fmla="*/ 55 h 218"/>
                    <a:gd name="T44" fmla="*/ 40 w 138"/>
                    <a:gd name="T45" fmla="*/ 47 h 218"/>
                    <a:gd name="T46" fmla="*/ 0 w 138"/>
                    <a:gd name="T47" fmla="*/ 63 h 218"/>
                    <a:gd name="T48" fmla="*/ 0 w 138"/>
                    <a:gd name="T49" fmla="*/ 72 h 218"/>
                    <a:gd name="T50" fmla="*/ 16 w 138"/>
                    <a:gd name="T51" fmla="*/ 72 h 218"/>
                    <a:gd name="T52" fmla="*/ 32 w 138"/>
                    <a:gd name="T53" fmla="*/ 80 h 218"/>
                    <a:gd name="T54" fmla="*/ 40 w 138"/>
                    <a:gd name="T55" fmla="*/ 96 h 218"/>
                    <a:gd name="T56" fmla="*/ 32 w 138"/>
                    <a:gd name="T57" fmla="*/ 128 h 218"/>
                    <a:gd name="T58" fmla="*/ 16 w 138"/>
                    <a:gd name="T59" fmla="*/ 162 h 218"/>
                    <a:gd name="T60" fmla="*/ 22 w 138"/>
                    <a:gd name="T61" fmla="*/ 209 h 218"/>
                    <a:gd name="T62" fmla="*/ 22 w 138"/>
                    <a:gd name="T63" fmla="*/ 217 h 218"/>
                    <a:gd name="T64" fmla="*/ 32 w 138"/>
                    <a:gd name="T65" fmla="*/ 21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3" name="Freeform 195">
                  <a:extLst>
                    <a:ext uri="{FF2B5EF4-FFF2-40B4-BE49-F238E27FC236}">
                      <a16:creationId xmlns:a16="http://schemas.microsoft.com/office/drawing/2014/main" id="{7308B463-520D-E196-619B-6F95F0906C4D}"/>
                    </a:ext>
                  </a:extLst>
                </p:cNvPr>
                <p:cNvSpPr>
                  <a:spLocks/>
                </p:cNvSpPr>
                <p:nvPr/>
              </p:nvSpPr>
              <p:spPr bwMode="gray">
                <a:xfrm>
                  <a:off x="5420027" y="5561386"/>
                  <a:ext cx="27031" cy="26602"/>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Lst>
                  <a:ahLst/>
                  <a:cxnLst>
                    <a:cxn ang="0">
                      <a:pos x="T0" y="T1"/>
                    </a:cxn>
                    <a:cxn ang="0">
                      <a:pos x="T2" y="T3"/>
                    </a:cxn>
                    <a:cxn ang="0">
                      <a:pos x="T4" y="T5"/>
                    </a:cxn>
                    <a:cxn ang="0">
                      <a:pos x="T6" y="T7"/>
                    </a:cxn>
                    <a:cxn ang="0">
                      <a:pos x="T8" y="T9"/>
                    </a:cxn>
                    <a:cxn ang="0">
                      <a:pos x="T10" y="T11"/>
                    </a:cxn>
                  </a:cxnLst>
                  <a:rect l="0" t="0" r="r" b="b"/>
                  <a:pathLst>
                    <a:path w="17" h="18">
                      <a:moveTo>
                        <a:pt x="16" y="8"/>
                      </a:moveTo>
                      <a:lnTo>
                        <a:pt x="16" y="0"/>
                      </a:lnTo>
                      <a:lnTo>
                        <a:pt x="9" y="0"/>
                      </a:lnTo>
                      <a:lnTo>
                        <a:pt x="0" y="8"/>
                      </a:lnTo>
                      <a:lnTo>
                        <a:pt x="9" y="17"/>
                      </a:lnTo>
                      <a:lnTo>
                        <a:pt x="16"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4" name="Freeform 196">
                  <a:extLst>
                    <a:ext uri="{FF2B5EF4-FFF2-40B4-BE49-F238E27FC236}">
                      <a16:creationId xmlns:a16="http://schemas.microsoft.com/office/drawing/2014/main" id="{486F31A8-7E13-D467-1C67-20918CB38E4A}"/>
                    </a:ext>
                  </a:extLst>
                </p:cNvPr>
                <p:cNvSpPr>
                  <a:spLocks/>
                </p:cNvSpPr>
                <p:nvPr/>
              </p:nvSpPr>
              <p:spPr bwMode="gray">
                <a:xfrm>
                  <a:off x="5420027" y="5561386"/>
                  <a:ext cx="27031" cy="26602"/>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Lst>
                  <a:ahLst/>
                  <a:cxnLst>
                    <a:cxn ang="0">
                      <a:pos x="T0" y="T1"/>
                    </a:cxn>
                    <a:cxn ang="0">
                      <a:pos x="T2" y="T3"/>
                    </a:cxn>
                    <a:cxn ang="0">
                      <a:pos x="T4" y="T5"/>
                    </a:cxn>
                    <a:cxn ang="0">
                      <a:pos x="T6" y="T7"/>
                    </a:cxn>
                    <a:cxn ang="0">
                      <a:pos x="T8" y="T9"/>
                    </a:cxn>
                    <a:cxn ang="0">
                      <a:pos x="T10" y="T11"/>
                    </a:cxn>
                  </a:cxnLst>
                  <a:rect l="0" t="0" r="r" b="b"/>
                  <a:pathLst>
                    <a:path w="17" h="18">
                      <a:moveTo>
                        <a:pt x="16" y="8"/>
                      </a:moveTo>
                      <a:lnTo>
                        <a:pt x="16" y="0"/>
                      </a:lnTo>
                      <a:lnTo>
                        <a:pt x="9" y="0"/>
                      </a:lnTo>
                      <a:lnTo>
                        <a:pt x="0" y="8"/>
                      </a:lnTo>
                      <a:lnTo>
                        <a:pt x="9" y="17"/>
                      </a:lnTo>
                      <a:lnTo>
                        <a:pt x="16"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5" name="Freeform 239">
                  <a:extLst>
                    <a:ext uri="{FF2B5EF4-FFF2-40B4-BE49-F238E27FC236}">
                      <a16:creationId xmlns:a16="http://schemas.microsoft.com/office/drawing/2014/main" id="{E95A7F2A-A1D1-9297-3B07-620ECDD9EAAC}"/>
                    </a:ext>
                  </a:extLst>
                </p:cNvPr>
                <p:cNvSpPr>
                  <a:spLocks/>
                </p:cNvSpPr>
                <p:nvPr/>
              </p:nvSpPr>
              <p:spPr bwMode="gray">
                <a:xfrm>
                  <a:off x="5669739" y="5278899"/>
                  <a:ext cx="137728" cy="272353"/>
                </a:xfrm>
                <a:custGeom>
                  <a:avLst/>
                  <a:gdLst>
                    <a:gd name="T0" fmla="*/ 0 w 90"/>
                    <a:gd name="T1" fmla="*/ 129 h 180"/>
                    <a:gd name="T2" fmla="*/ 9 w 90"/>
                    <a:gd name="T3" fmla="*/ 163 h 180"/>
                    <a:gd name="T4" fmla="*/ 17 w 90"/>
                    <a:gd name="T5" fmla="*/ 179 h 180"/>
                    <a:gd name="T6" fmla="*/ 40 w 90"/>
                    <a:gd name="T7" fmla="*/ 179 h 180"/>
                    <a:gd name="T8" fmla="*/ 49 w 90"/>
                    <a:gd name="T9" fmla="*/ 170 h 180"/>
                    <a:gd name="T10" fmla="*/ 74 w 90"/>
                    <a:gd name="T11" fmla="*/ 80 h 180"/>
                    <a:gd name="T12" fmla="*/ 82 w 90"/>
                    <a:gd name="T13" fmla="*/ 40 h 180"/>
                    <a:gd name="T14" fmla="*/ 89 w 90"/>
                    <a:gd name="T15" fmla="*/ 49 h 180"/>
                    <a:gd name="T16" fmla="*/ 89 w 90"/>
                    <a:gd name="T17" fmla="*/ 40 h 180"/>
                    <a:gd name="T18" fmla="*/ 82 w 90"/>
                    <a:gd name="T19" fmla="*/ 8 h 180"/>
                    <a:gd name="T20" fmla="*/ 74 w 90"/>
                    <a:gd name="T21" fmla="*/ 0 h 180"/>
                    <a:gd name="T22" fmla="*/ 65 w 90"/>
                    <a:gd name="T23" fmla="*/ 17 h 180"/>
                    <a:gd name="T24" fmla="*/ 57 w 90"/>
                    <a:gd name="T25" fmla="*/ 17 h 180"/>
                    <a:gd name="T26" fmla="*/ 57 w 90"/>
                    <a:gd name="T27" fmla="*/ 32 h 180"/>
                    <a:gd name="T28" fmla="*/ 17 w 90"/>
                    <a:gd name="T29" fmla="*/ 57 h 180"/>
                    <a:gd name="T30" fmla="*/ 9 w 90"/>
                    <a:gd name="T31" fmla="*/ 73 h 180"/>
                    <a:gd name="T32" fmla="*/ 17 w 90"/>
                    <a:gd name="T33" fmla="*/ 105 h 180"/>
                    <a:gd name="T34" fmla="*/ 0 w 90"/>
                    <a:gd name="T35" fmla="*/ 12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6" name="Freeform 273">
                  <a:extLst>
                    <a:ext uri="{FF2B5EF4-FFF2-40B4-BE49-F238E27FC236}">
                      <a16:creationId xmlns:a16="http://schemas.microsoft.com/office/drawing/2014/main" id="{AB6D7B9F-FEB1-A022-488A-392BE2BE1283}"/>
                    </a:ext>
                  </a:extLst>
                </p:cNvPr>
                <p:cNvSpPr>
                  <a:spLocks/>
                </p:cNvSpPr>
                <p:nvPr/>
              </p:nvSpPr>
              <p:spPr bwMode="gray">
                <a:xfrm>
                  <a:off x="5443197" y="4309828"/>
                  <a:ext cx="54061" cy="27868"/>
                </a:xfrm>
                <a:custGeom>
                  <a:avLst/>
                  <a:gdLst>
                    <a:gd name="T0" fmla="*/ 0 w 35"/>
                    <a:gd name="T1" fmla="*/ 8 h 18"/>
                    <a:gd name="T2" fmla="*/ 10 w 35"/>
                    <a:gd name="T3" fmla="*/ 17 h 18"/>
                    <a:gd name="T4" fmla="*/ 18 w 35"/>
                    <a:gd name="T5" fmla="*/ 17 h 18"/>
                    <a:gd name="T6" fmla="*/ 25 w 35"/>
                    <a:gd name="T7" fmla="*/ 8 h 18"/>
                    <a:gd name="T8" fmla="*/ 34 w 35"/>
                    <a:gd name="T9" fmla="*/ 0 h 18"/>
                    <a:gd name="T10" fmla="*/ 0 w 35"/>
                    <a:gd name="T11" fmla="*/ 8 h 18"/>
                  </a:gdLst>
                  <a:ahLst/>
                  <a:cxnLst>
                    <a:cxn ang="0">
                      <a:pos x="T0" y="T1"/>
                    </a:cxn>
                    <a:cxn ang="0">
                      <a:pos x="T2" y="T3"/>
                    </a:cxn>
                    <a:cxn ang="0">
                      <a:pos x="T4" y="T5"/>
                    </a:cxn>
                    <a:cxn ang="0">
                      <a:pos x="T6" y="T7"/>
                    </a:cxn>
                    <a:cxn ang="0">
                      <a:pos x="T8" y="T9"/>
                    </a:cxn>
                    <a:cxn ang="0">
                      <a:pos x="T10" y="T11"/>
                    </a:cxn>
                  </a:cxnLst>
                  <a:rect l="0" t="0" r="r" b="b"/>
                  <a:pathLst>
                    <a:path w="35" h="18">
                      <a:moveTo>
                        <a:pt x="0" y="8"/>
                      </a:moveTo>
                      <a:lnTo>
                        <a:pt x="10" y="17"/>
                      </a:lnTo>
                      <a:lnTo>
                        <a:pt x="18" y="17"/>
                      </a:lnTo>
                      <a:lnTo>
                        <a:pt x="25" y="8"/>
                      </a:lnTo>
                      <a:lnTo>
                        <a:pt x="34" y="0"/>
                      </a:lnTo>
                      <a:lnTo>
                        <a:pt x="0" y="8"/>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7" name="Freeform 313">
                  <a:extLst>
                    <a:ext uri="{FF2B5EF4-FFF2-40B4-BE49-F238E27FC236}">
                      <a16:creationId xmlns:a16="http://schemas.microsoft.com/office/drawing/2014/main" id="{4F060956-162F-62C0-603D-751A1C6CD28F}"/>
                    </a:ext>
                  </a:extLst>
                </p:cNvPr>
                <p:cNvSpPr>
                  <a:spLocks/>
                </p:cNvSpPr>
                <p:nvPr/>
              </p:nvSpPr>
              <p:spPr bwMode="gray">
                <a:xfrm>
                  <a:off x="5346659" y="5610790"/>
                  <a:ext cx="50200" cy="49404"/>
                </a:xfrm>
                <a:custGeom>
                  <a:avLst/>
                  <a:gdLst>
                    <a:gd name="T0" fmla="*/ 32 w 33"/>
                    <a:gd name="T1" fmla="*/ 15 h 33"/>
                    <a:gd name="T2" fmla="*/ 23 w 33"/>
                    <a:gd name="T3" fmla="*/ 25 h 33"/>
                    <a:gd name="T4" fmla="*/ 8 w 33"/>
                    <a:gd name="T5" fmla="*/ 32 h 33"/>
                    <a:gd name="T6" fmla="*/ 0 w 33"/>
                    <a:gd name="T7" fmla="*/ 25 h 33"/>
                    <a:gd name="T8" fmla="*/ 16 w 33"/>
                    <a:gd name="T9" fmla="*/ 0 h 33"/>
                    <a:gd name="T10" fmla="*/ 23 w 33"/>
                    <a:gd name="T11" fmla="*/ 7 h 33"/>
                    <a:gd name="T12" fmla="*/ 32 w 3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32" y="15"/>
                      </a:moveTo>
                      <a:lnTo>
                        <a:pt x="23" y="25"/>
                      </a:lnTo>
                      <a:lnTo>
                        <a:pt x="8" y="32"/>
                      </a:lnTo>
                      <a:lnTo>
                        <a:pt x="0" y="25"/>
                      </a:lnTo>
                      <a:lnTo>
                        <a:pt x="16" y="0"/>
                      </a:lnTo>
                      <a:lnTo>
                        <a:pt x="23" y="7"/>
                      </a:lnTo>
                      <a:lnTo>
                        <a:pt x="32" y="15"/>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8" name="Freeform 325">
                  <a:extLst>
                    <a:ext uri="{FF2B5EF4-FFF2-40B4-BE49-F238E27FC236}">
                      <a16:creationId xmlns:a16="http://schemas.microsoft.com/office/drawing/2014/main" id="{31C41D5F-3966-6B58-18BC-1E8DEC5B594B}"/>
                    </a:ext>
                  </a:extLst>
                </p:cNvPr>
                <p:cNvSpPr>
                  <a:spLocks/>
                </p:cNvSpPr>
                <p:nvPr/>
              </p:nvSpPr>
              <p:spPr bwMode="gray">
                <a:xfrm>
                  <a:off x="5082787" y="4579648"/>
                  <a:ext cx="200799" cy="320490"/>
                </a:xfrm>
                <a:custGeom>
                  <a:avLst/>
                  <a:gdLst>
                    <a:gd name="T0" fmla="*/ 17 w 130"/>
                    <a:gd name="T1" fmla="*/ 8 h 212"/>
                    <a:gd name="T2" fmla="*/ 17 w 130"/>
                    <a:gd name="T3" fmla="*/ 24 h 212"/>
                    <a:gd name="T4" fmla="*/ 32 w 130"/>
                    <a:gd name="T5" fmla="*/ 40 h 212"/>
                    <a:gd name="T6" fmla="*/ 25 w 130"/>
                    <a:gd name="T7" fmla="*/ 89 h 212"/>
                    <a:gd name="T8" fmla="*/ 0 w 130"/>
                    <a:gd name="T9" fmla="*/ 120 h 212"/>
                    <a:gd name="T10" fmla="*/ 0 w 130"/>
                    <a:gd name="T11" fmla="*/ 130 h 212"/>
                    <a:gd name="T12" fmla="*/ 8 w 130"/>
                    <a:gd name="T13" fmla="*/ 137 h 212"/>
                    <a:gd name="T14" fmla="*/ 8 w 130"/>
                    <a:gd name="T15" fmla="*/ 145 h 212"/>
                    <a:gd name="T16" fmla="*/ 25 w 130"/>
                    <a:gd name="T17" fmla="*/ 177 h 212"/>
                    <a:gd name="T18" fmla="*/ 8 w 130"/>
                    <a:gd name="T19" fmla="*/ 177 h 212"/>
                    <a:gd name="T20" fmla="*/ 8 w 130"/>
                    <a:gd name="T21" fmla="*/ 186 h 212"/>
                    <a:gd name="T22" fmla="*/ 17 w 130"/>
                    <a:gd name="T23" fmla="*/ 193 h 212"/>
                    <a:gd name="T24" fmla="*/ 25 w 130"/>
                    <a:gd name="T25" fmla="*/ 211 h 212"/>
                    <a:gd name="T26" fmla="*/ 65 w 130"/>
                    <a:gd name="T27" fmla="*/ 202 h 212"/>
                    <a:gd name="T28" fmla="*/ 73 w 130"/>
                    <a:gd name="T29" fmla="*/ 193 h 212"/>
                    <a:gd name="T30" fmla="*/ 65 w 130"/>
                    <a:gd name="T31" fmla="*/ 193 h 212"/>
                    <a:gd name="T32" fmla="*/ 88 w 130"/>
                    <a:gd name="T33" fmla="*/ 186 h 212"/>
                    <a:gd name="T34" fmla="*/ 106 w 130"/>
                    <a:gd name="T35" fmla="*/ 170 h 212"/>
                    <a:gd name="T36" fmla="*/ 113 w 130"/>
                    <a:gd name="T37" fmla="*/ 162 h 212"/>
                    <a:gd name="T38" fmla="*/ 122 w 130"/>
                    <a:gd name="T39" fmla="*/ 162 h 212"/>
                    <a:gd name="T40" fmla="*/ 106 w 130"/>
                    <a:gd name="T41" fmla="*/ 137 h 212"/>
                    <a:gd name="T42" fmla="*/ 122 w 130"/>
                    <a:gd name="T43" fmla="*/ 105 h 212"/>
                    <a:gd name="T44" fmla="*/ 129 w 130"/>
                    <a:gd name="T45" fmla="*/ 105 h 212"/>
                    <a:gd name="T46" fmla="*/ 129 w 130"/>
                    <a:gd name="T47" fmla="*/ 96 h 212"/>
                    <a:gd name="T48" fmla="*/ 129 w 130"/>
                    <a:gd name="T49" fmla="*/ 55 h 212"/>
                    <a:gd name="T50" fmla="*/ 32 w 130"/>
                    <a:gd name="T51" fmla="*/ 0 h 212"/>
                    <a:gd name="T52" fmla="*/ 17 w 130"/>
                    <a:gd name="T53" fmla="*/ 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49" name="Freeform 326">
                  <a:extLst>
                    <a:ext uri="{FF2B5EF4-FFF2-40B4-BE49-F238E27FC236}">
                      <a16:creationId xmlns:a16="http://schemas.microsoft.com/office/drawing/2014/main" id="{B86D0BDF-298C-E4DF-BD69-8DAA27FF6E50}"/>
                    </a:ext>
                  </a:extLst>
                </p:cNvPr>
                <p:cNvSpPr>
                  <a:spLocks/>
                </p:cNvSpPr>
                <p:nvPr/>
              </p:nvSpPr>
              <p:spPr bwMode="gray">
                <a:xfrm>
                  <a:off x="4709507" y="4745593"/>
                  <a:ext cx="150599" cy="114008"/>
                </a:xfrm>
                <a:custGeom>
                  <a:avLst/>
                  <a:gdLst>
                    <a:gd name="T0" fmla="*/ 0 w 98"/>
                    <a:gd name="T1" fmla="*/ 58 h 75"/>
                    <a:gd name="T2" fmla="*/ 6 w 98"/>
                    <a:gd name="T3" fmla="*/ 50 h 75"/>
                    <a:gd name="T4" fmla="*/ 23 w 98"/>
                    <a:gd name="T5" fmla="*/ 25 h 75"/>
                    <a:gd name="T6" fmla="*/ 40 w 98"/>
                    <a:gd name="T7" fmla="*/ 18 h 75"/>
                    <a:gd name="T8" fmla="*/ 56 w 98"/>
                    <a:gd name="T9" fmla="*/ 0 h 75"/>
                    <a:gd name="T10" fmla="*/ 72 w 98"/>
                    <a:gd name="T11" fmla="*/ 0 h 75"/>
                    <a:gd name="T12" fmla="*/ 72 w 98"/>
                    <a:gd name="T13" fmla="*/ 18 h 75"/>
                    <a:gd name="T14" fmla="*/ 88 w 98"/>
                    <a:gd name="T15" fmla="*/ 33 h 75"/>
                    <a:gd name="T16" fmla="*/ 97 w 98"/>
                    <a:gd name="T17" fmla="*/ 33 h 75"/>
                    <a:gd name="T18" fmla="*/ 97 w 98"/>
                    <a:gd name="T19" fmla="*/ 40 h 75"/>
                    <a:gd name="T20" fmla="*/ 80 w 98"/>
                    <a:gd name="T21" fmla="*/ 50 h 75"/>
                    <a:gd name="T22" fmla="*/ 63 w 98"/>
                    <a:gd name="T23" fmla="*/ 50 h 75"/>
                    <a:gd name="T24" fmla="*/ 31 w 98"/>
                    <a:gd name="T25" fmla="*/ 50 h 75"/>
                    <a:gd name="T26" fmla="*/ 31 w 98"/>
                    <a:gd name="T27" fmla="*/ 58 h 75"/>
                    <a:gd name="T28" fmla="*/ 31 w 98"/>
                    <a:gd name="T29" fmla="*/ 74 h 75"/>
                    <a:gd name="T30" fmla="*/ 23 w 98"/>
                    <a:gd name="T31" fmla="*/ 65 h 75"/>
                    <a:gd name="T32" fmla="*/ 6 w 98"/>
                    <a:gd name="T33" fmla="*/ 65 h 75"/>
                    <a:gd name="T34" fmla="*/ 0 w 98"/>
                    <a:gd name="T35" fmla="*/ 5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50" name="Freeform 327">
                  <a:extLst>
                    <a:ext uri="{FF2B5EF4-FFF2-40B4-BE49-F238E27FC236}">
                      <a16:creationId xmlns:a16="http://schemas.microsoft.com/office/drawing/2014/main" id="{C6FE31FA-2EF4-22A7-9BAE-AD95D2239611}"/>
                    </a:ext>
                  </a:extLst>
                </p:cNvPr>
                <p:cNvSpPr>
                  <a:spLocks/>
                </p:cNvSpPr>
                <p:nvPr/>
              </p:nvSpPr>
              <p:spPr bwMode="gray">
                <a:xfrm>
                  <a:off x="4833076" y="4796264"/>
                  <a:ext cx="50200" cy="124142"/>
                </a:xfrm>
                <a:custGeom>
                  <a:avLst/>
                  <a:gdLst>
                    <a:gd name="T0" fmla="*/ 17 w 33"/>
                    <a:gd name="T1" fmla="*/ 7 h 82"/>
                    <a:gd name="T2" fmla="*/ 0 w 33"/>
                    <a:gd name="T3" fmla="*/ 17 h 82"/>
                    <a:gd name="T4" fmla="*/ 0 w 33"/>
                    <a:gd name="T5" fmla="*/ 25 h 82"/>
                    <a:gd name="T6" fmla="*/ 8 w 33"/>
                    <a:gd name="T7" fmla="*/ 32 h 82"/>
                    <a:gd name="T8" fmla="*/ 8 w 33"/>
                    <a:gd name="T9" fmla="*/ 48 h 82"/>
                    <a:gd name="T10" fmla="*/ 8 w 33"/>
                    <a:gd name="T11" fmla="*/ 81 h 82"/>
                    <a:gd name="T12" fmla="*/ 23 w 33"/>
                    <a:gd name="T13" fmla="*/ 81 h 82"/>
                    <a:gd name="T14" fmla="*/ 23 w 33"/>
                    <a:gd name="T15" fmla="*/ 57 h 82"/>
                    <a:gd name="T16" fmla="*/ 32 w 33"/>
                    <a:gd name="T17" fmla="*/ 25 h 82"/>
                    <a:gd name="T18" fmla="*/ 32 w 33"/>
                    <a:gd name="T19" fmla="*/ 7 h 82"/>
                    <a:gd name="T20" fmla="*/ 23 w 33"/>
                    <a:gd name="T21" fmla="*/ 0 h 82"/>
                    <a:gd name="T22" fmla="*/ 17 w 33"/>
                    <a:gd name="T23" fmla="*/ 0 h 82"/>
                    <a:gd name="T24" fmla="*/ 17 w 33"/>
                    <a:gd name="T25"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6350" cap="rnd" cmpd="sng">
                  <a:solidFill>
                    <a:srgbClr val="D0D0D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651" name="Freeform 169">
                  <a:extLst>
                    <a:ext uri="{FF2B5EF4-FFF2-40B4-BE49-F238E27FC236}">
                      <a16:creationId xmlns:a16="http://schemas.microsoft.com/office/drawing/2014/main" id="{71AEE577-9F6E-B9ED-22BB-DB4FCF4AFBA0}"/>
                    </a:ext>
                  </a:extLst>
                </p:cNvPr>
                <p:cNvSpPr>
                  <a:spLocks/>
                </p:cNvSpPr>
                <p:nvPr/>
              </p:nvSpPr>
              <p:spPr bwMode="gray">
                <a:xfrm>
                  <a:off x="4960506" y="4273093"/>
                  <a:ext cx="73369" cy="162146"/>
                </a:xfrm>
                <a:custGeom>
                  <a:avLst/>
                  <a:gdLst>
                    <a:gd name="T0" fmla="*/ 47 w 48"/>
                    <a:gd name="T1" fmla="*/ 66 h 107"/>
                    <a:gd name="T2" fmla="*/ 47 w 48"/>
                    <a:gd name="T3" fmla="*/ 72 h 107"/>
                    <a:gd name="T4" fmla="*/ 31 w 48"/>
                    <a:gd name="T5" fmla="*/ 90 h 107"/>
                    <a:gd name="T6" fmla="*/ 31 w 48"/>
                    <a:gd name="T7" fmla="*/ 97 h 107"/>
                    <a:gd name="T8" fmla="*/ 25 w 48"/>
                    <a:gd name="T9" fmla="*/ 106 h 107"/>
                    <a:gd name="T10" fmla="*/ 25 w 48"/>
                    <a:gd name="T11" fmla="*/ 81 h 107"/>
                    <a:gd name="T12" fmla="*/ 6 w 48"/>
                    <a:gd name="T13" fmla="*/ 72 h 107"/>
                    <a:gd name="T14" fmla="*/ 0 w 48"/>
                    <a:gd name="T15" fmla="*/ 56 h 107"/>
                    <a:gd name="T16" fmla="*/ 15 w 48"/>
                    <a:gd name="T17" fmla="*/ 41 h 107"/>
                    <a:gd name="T18" fmla="*/ 6 w 48"/>
                    <a:gd name="T19" fmla="*/ 9 h 107"/>
                    <a:gd name="T20" fmla="*/ 15 w 48"/>
                    <a:gd name="T21" fmla="*/ 0 h 107"/>
                    <a:gd name="T22" fmla="*/ 31 w 48"/>
                    <a:gd name="T23" fmla="*/ 0 h 107"/>
                    <a:gd name="T24" fmla="*/ 40 w 48"/>
                    <a:gd name="T25" fmla="*/ 9 h 107"/>
                    <a:gd name="T26" fmla="*/ 47 w 48"/>
                    <a:gd name="T27" fmla="*/ 0 h 107"/>
                    <a:gd name="T28" fmla="*/ 40 w 48"/>
                    <a:gd name="T29" fmla="*/ 16 h 107"/>
                    <a:gd name="T30" fmla="*/ 47 w 48"/>
                    <a:gd name="T31" fmla="*/ 32 h 107"/>
                    <a:gd name="T32" fmla="*/ 31 w 48"/>
                    <a:gd name="T33" fmla="*/ 49 h 107"/>
                    <a:gd name="T34" fmla="*/ 31 w 48"/>
                    <a:gd name="T35" fmla="*/ 56 h 107"/>
                    <a:gd name="T36" fmla="*/ 47 w 48"/>
                    <a:gd name="T37" fmla="*/ 56 h 107"/>
                    <a:gd name="T38" fmla="*/ 47 w 48"/>
                    <a:gd name="T39" fmla="*/ 6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6350" cap="rnd" cmpd="sng">
                  <a:solidFill>
                    <a:srgbClr val="D0D0D0"/>
                  </a:solidFill>
                  <a:prstDash val="solid"/>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dirty="0"/>
                </a:p>
              </p:txBody>
            </p:sp>
          </p:grpSp>
        </p:grpSp>
        <p:grpSp>
          <p:nvGrpSpPr>
            <p:cNvPr id="411" name="Gruppieren 244">
              <a:extLst>
                <a:ext uri="{FF2B5EF4-FFF2-40B4-BE49-F238E27FC236}">
                  <a16:creationId xmlns:a16="http://schemas.microsoft.com/office/drawing/2014/main" id="{313D382C-D122-1A64-BFA3-D2881FAA6A26}"/>
                </a:ext>
              </a:extLst>
            </p:cNvPr>
            <p:cNvGrpSpPr/>
            <p:nvPr/>
          </p:nvGrpSpPr>
          <p:grpSpPr>
            <a:xfrm>
              <a:off x="1441569" y="1616873"/>
              <a:ext cx="2400102" cy="4260399"/>
              <a:chOff x="1441569" y="1616873"/>
              <a:chExt cx="2400102" cy="4260399"/>
            </a:xfrm>
            <a:solidFill>
              <a:srgbClr val="D0D0D0"/>
            </a:solidFill>
          </p:grpSpPr>
          <p:sp>
            <p:nvSpPr>
              <p:cNvPr id="412" name="Freeform 3">
                <a:extLst>
                  <a:ext uri="{FF2B5EF4-FFF2-40B4-BE49-F238E27FC236}">
                    <a16:creationId xmlns:a16="http://schemas.microsoft.com/office/drawing/2014/main" id="{A3C6B37E-BC6F-105E-2F1F-D3FB8BC7A463}"/>
                  </a:ext>
                </a:extLst>
              </p:cNvPr>
              <p:cNvSpPr>
                <a:spLocks/>
              </p:cNvSpPr>
              <p:nvPr/>
            </p:nvSpPr>
            <p:spPr bwMode="gray">
              <a:xfrm>
                <a:off x="2321293" y="2542247"/>
                <a:ext cx="333282" cy="297835"/>
              </a:xfrm>
              <a:custGeom>
                <a:avLst/>
                <a:gdLst>
                  <a:gd name="T0" fmla="*/ 0 w 237"/>
                  <a:gd name="T1" fmla="*/ 89 h 203"/>
                  <a:gd name="T2" fmla="*/ 16 w 237"/>
                  <a:gd name="T3" fmla="*/ 97 h 203"/>
                  <a:gd name="T4" fmla="*/ 9 w 237"/>
                  <a:gd name="T5" fmla="*/ 114 h 203"/>
                  <a:gd name="T6" fmla="*/ 25 w 237"/>
                  <a:gd name="T7" fmla="*/ 121 h 203"/>
                  <a:gd name="T8" fmla="*/ 65 w 237"/>
                  <a:gd name="T9" fmla="*/ 121 h 203"/>
                  <a:gd name="T10" fmla="*/ 81 w 237"/>
                  <a:gd name="T11" fmla="*/ 139 h 203"/>
                  <a:gd name="T12" fmla="*/ 65 w 237"/>
                  <a:gd name="T13" fmla="*/ 146 h 203"/>
                  <a:gd name="T14" fmla="*/ 25 w 237"/>
                  <a:gd name="T15" fmla="*/ 146 h 203"/>
                  <a:gd name="T16" fmla="*/ 34 w 237"/>
                  <a:gd name="T17" fmla="*/ 170 h 203"/>
                  <a:gd name="T18" fmla="*/ 49 w 237"/>
                  <a:gd name="T19" fmla="*/ 177 h 203"/>
                  <a:gd name="T20" fmla="*/ 65 w 237"/>
                  <a:gd name="T21" fmla="*/ 177 h 203"/>
                  <a:gd name="T22" fmla="*/ 74 w 237"/>
                  <a:gd name="T23" fmla="*/ 202 h 203"/>
                  <a:gd name="T24" fmla="*/ 114 w 237"/>
                  <a:gd name="T25" fmla="*/ 195 h 203"/>
                  <a:gd name="T26" fmla="*/ 155 w 237"/>
                  <a:gd name="T27" fmla="*/ 177 h 203"/>
                  <a:gd name="T28" fmla="*/ 162 w 237"/>
                  <a:gd name="T29" fmla="*/ 170 h 203"/>
                  <a:gd name="T30" fmla="*/ 196 w 237"/>
                  <a:gd name="T31" fmla="*/ 195 h 203"/>
                  <a:gd name="T32" fmla="*/ 211 w 237"/>
                  <a:gd name="T33" fmla="*/ 186 h 203"/>
                  <a:gd name="T34" fmla="*/ 220 w 237"/>
                  <a:gd name="T35" fmla="*/ 177 h 203"/>
                  <a:gd name="T36" fmla="*/ 220 w 237"/>
                  <a:gd name="T37" fmla="*/ 162 h 203"/>
                  <a:gd name="T38" fmla="*/ 227 w 237"/>
                  <a:gd name="T39" fmla="*/ 162 h 203"/>
                  <a:gd name="T40" fmla="*/ 236 w 237"/>
                  <a:gd name="T41" fmla="*/ 146 h 203"/>
                  <a:gd name="T42" fmla="*/ 196 w 237"/>
                  <a:gd name="T43" fmla="*/ 121 h 203"/>
                  <a:gd name="T44" fmla="*/ 180 w 237"/>
                  <a:gd name="T45" fmla="*/ 114 h 203"/>
                  <a:gd name="T46" fmla="*/ 180 w 237"/>
                  <a:gd name="T47" fmla="*/ 89 h 203"/>
                  <a:gd name="T48" fmla="*/ 171 w 237"/>
                  <a:gd name="T49" fmla="*/ 49 h 203"/>
                  <a:gd name="T50" fmla="*/ 186 w 237"/>
                  <a:gd name="T51" fmla="*/ 8 h 203"/>
                  <a:gd name="T52" fmla="*/ 180 w 237"/>
                  <a:gd name="T53" fmla="*/ 0 h 203"/>
                  <a:gd name="T54" fmla="*/ 155 w 237"/>
                  <a:gd name="T55" fmla="*/ 0 h 203"/>
                  <a:gd name="T56" fmla="*/ 139 w 237"/>
                  <a:gd name="T57" fmla="*/ 40 h 203"/>
                  <a:gd name="T58" fmla="*/ 121 w 237"/>
                  <a:gd name="T59" fmla="*/ 33 h 203"/>
                  <a:gd name="T60" fmla="*/ 106 w 237"/>
                  <a:gd name="T61" fmla="*/ 33 h 203"/>
                  <a:gd name="T62" fmla="*/ 89 w 237"/>
                  <a:gd name="T63" fmla="*/ 25 h 203"/>
                  <a:gd name="T64" fmla="*/ 74 w 237"/>
                  <a:gd name="T65" fmla="*/ 40 h 203"/>
                  <a:gd name="T66" fmla="*/ 65 w 237"/>
                  <a:gd name="T67" fmla="*/ 15 h 203"/>
                  <a:gd name="T68" fmla="*/ 49 w 237"/>
                  <a:gd name="T69" fmla="*/ 15 h 203"/>
                  <a:gd name="T70" fmla="*/ 9 w 237"/>
                  <a:gd name="T71" fmla="*/ 49 h 203"/>
                  <a:gd name="T72" fmla="*/ 9 w 237"/>
                  <a:gd name="T73" fmla="*/ 56 h 203"/>
                  <a:gd name="T74" fmla="*/ 0 w 237"/>
                  <a:gd name="T75" fmla="*/ 74 h 203"/>
                  <a:gd name="T76" fmla="*/ 0 w 237"/>
                  <a:gd name="T77" fmla="*/ 8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13" name="Freeform 4">
                <a:extLst>
                  <a:ext uri="{FF2B5EF4-FFF2-40B4-BE49-F238E27FC236}">
                    <a16:creationId xmlns:a16="http://schemas.microsoft.com/office/drawing/2014/main" id="{B807890C-CFAC-47EF-0F5D-C1066DB94B9C}"/>
                  </a:ext>
                </a:extLst>
              </p:cNvPr>
              <p:cNvSpPr>
                <a:spLocks/>
              </p:cNvSpPr>
              <p:nvPr/>
            </p:nvSpPr>
            <p:spPr bwMode="gray">
              <a:xfrm>
                <a:off x="2846536" y="2528766"/>
                <a:ext cx="516999" cy="606703"/>
              </a:xfrm>
              <a:custGeom>
                <a:avLst/>
                <a:gdLst>
                  <a:gd name="T0" fmla="*/ 34 w 367"/>
                  <a:gd name="T1" fmla="*/ 148 h 414"/>
                  <a:gd name="T2" fmla="*/ 99 w 367"/>
                  <a:gd name="T3" fmla="*/ 163 h 414"/>
                  <a:gd name="T4" fmla="*/ 131 w 367"/>
                  <a:gd name="T5" fmla="*/ 171 h 414"/>
                  <a:gd name="T6" fmla="*/ 146 w 367"/>
                  <a:gd name="T7" fmla="*/ 148 h 414"/>
                  <a:gd name="T8" fmla="*/ 179 w 367"/>
                  <a:gd name="T9" fmla="*/ 186 h 414"/>
                  <a:gd name="T10" fmla="*/ 187 w 367"/>
                  <a:gd name="T11" fmla="*/ 195 h 414"/>
                  <a:gd name="T12" fmla="*/ 211 w 367"/>
                  <a:gd name="T13" fmla="*/ 226 h 414"/>
                  <a:gd name="T14" fmla="*/ 196 w 367"/>
                  <a:gd name="T15" fmla="*/ 292 h 414"/>
                  <a:gd name="T16" fmla="*/ 196 w 367"/>
                  <a:gd name="T17" fmla="*/ 317 h 414"/>
                  <a:gd name="T18" fmla="*/ 155 w 367"/>
                  <a:gd name="T19" fmla="*/ 325 h 414"/>
                  <a:gd name="T20" fmla="*/ 146 w 367"/>
                  <a:gd name="T21" fmla="*/ 350 h 414"/>
                  <a:gd name="T22" fmla="*/ 179 w 367"/>
                  <a:gd name="T23" fmla="*/ 341 h 414"/>
                  <a:gd name="T24" fmla="*/ 227 w 367"/>
                  <a:gd name="T25" fmla="*/ 365 h 414"/>
                  <a:gd name="T26" fmla="*/ 261 w 367"/>
                  <a:gd name="T27" fmla="*/ 397 h 414"/>
                  <a:gd name="T28" fmla="*/ 301 w 367"/>
                  <a:gd name="T29" fmla="*/ 413 h 414"/>
                  <a:gd name="T30" fmla="*/ 268 w 367"/>
                  <a:gd name="T31" fmla="*/ 373 h 414"/>
                  <a:gd name="T32" fmla="*/ 310 w 367"/>
                  <a:gd name="T33" fmla="*/ 390 h 414"/>
                  <a:gd name="T34" fmla="*/ 326 w 367"/>
                  <a:gd name="T35" fmla="*/ 365 h 414"/>
                  <a:gd name="T36" fmla="*/ 317 w 367"/>
                  <a:gd name="T37" fmla="*/ 341 h 414"/>
                  <a:gd name="T38" fmla="*/ 285 w 367"/>
                  <a:gd name="T39" fmla="*/ 300 h 414"/>
                  <a:gd name="T40" fmla="*/ 310 w 367"/>
                  <a:gd name="T41" fmla="*/ 300 h 414"/>
                  <a:gd name="T42" fmla="*/ 333 w 367"/>
                  <a:gd name="T43" fmla="*/ 325 h 414"/>
                  <a:gd name="T44" fmla="*/ 350 w 367"/>
                  <a:gd name="T45" fmla="*/ 308 h 414"/>
                  <a:gd name="T46" fmla="*/ 317 w 367"/>
                  <a:gd name="T47" fmla="*/ 226 h 414"/>
                  <a:gd name="T48" fmla="*/ 276 w 367"/>
                  <a:gd name="T49" fmla="*/ 211 h 414"/>
                  <a:gd name="T50" fmla="*/ 293 w 367"/>
                  <a:gd name="T51" fmla="*/ 186 h 414"/>
                  <a:gd name="T52" fmla="*/ 285 w 367"/>
                  <a:gd name="T53" fmla="*/ 163 h 414"/>
                  <a:gd name="T54" fmla="*/ 251 w 367"/>
                  <a:gd name="T55" fmla="*/ 130 h 414"/>
                  <a:gd name="T56" fmla="*/ 220 w 367"/>
                  <a:gd name="T57" fmla="*/ 98 h 414"/>
                  <a:gd name="T58" fmla="*/ 196 w 367"/>
                  <a:gd name="T59" fmla="*/ 58 h 414"/>
                  <a:gd name="T60" fmla="*/ 155 w 367"/>
                  <a:gd name="T61" fmla="*/ 49 h 414"/>
                  <a:gd name="T62" fmla="*/ 122 w 367"/>
                  <a:gd name="T63" fmla="*/ 58 h 414"/>
                  <a:gd name="T64" fmla="*/ 114 w 367"/>
                  <a:gd name="T65" fmla="*/ 49 h 414"/>
                  <a:gd name="T66" fmla="*/ 106 w 367"/>
                  <a:gd name="T67" fmla="*/ 9 h 414"/>
                  <a:gd name="T68" fmla="*/ 90 w 367"/>
                  <a:gd name="T69" fmla="*/ 0 h 414"/>
                  <a:gd name="T70" fmla="*/ 49 w 367"/>
                  <a:gd name="T71" fmla="*/ 74 h 414"/>
                  <a:gd name="T72" fmla="*/ 40 w 367"/>
                  <a:gd name="T73" fmla="*/ 83 h 414"/>
                  <a:gd name="T74" fmla="*/ 59 w 367"/>
                  <a:gd name="T75" fmla="*/ 17 h 414"/>
                  <a:gd name="T76" fmla="*/ 34 w 367"/>
                  <a:gd name="T77" fmla="*/ 0 h 414"/>
                  <a:gd name="T78" fmla="*/ 0 w 367"/>
                  <a:gd name="T79" fmla="*/ 6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14" name="Freeform 5">
                <a:extLst>
                  <a:ext uri="{FF2B5EF4-FFF2-40B4-BE49-F238E27FC236}">
                    <a16:creationId xmlns:a16="http://schemas.microsoft.com/office/drawing/2014/main" id="{475B152F-CAC9-0949-913F-A593A2505343}"/>
                  </a:ext>
                </a:extLst>
              </p:cNvPr>
              <p:cNvSpPr>
                <a:spLocks/>
              </p:cNvSpPr>
              <p:nvPr/>
            </p:nvSpPr>
            <p:spPr bwMode="gray">
              <a:xfrm>
                <a:off x="2220013" y="3552193"/>
                <a:ext cx="1038710" cy="579739"/>
              </a:xfrm>
              <a:custGeom>
                <a:avLst/>
                <a:gdLst>
                  <a:gd name="T0" fmla="*/ 380 w 738"/>
                  <a:gd name="T1" fmla="*/ 0 h 396"/>
                  <a:gd name="T2" fmla="*/ 420 w 738"/>
                  <a:gd name="T3" fmla="*/ 32 h 396"/>
                  <a:gd name="T4" fmla="*/ 429 w 738"/>
                  <a:gd name="T5" fmla="*/ 48 h 396"/>
                  <a:gd name="T6" fmla="*/ 461 w 738"/>
                  <a:gd name="T7" fmla="*/ 56 h 396"/>
                  <a:gd name="T8" fmla="*/ 504 w 738"/>
                  <a:gd name="T9" fmla="*/ 56 h 396"/>
                  <a:gd name="T10" fmla="*/ 519 w 738"/>
                  <a:gd name="T11" fmla="*/ 72 h 396"/>
                  <a:gd name="T12" fmla="*/ 479 w 738"/>
                  <a:gd name="T13" fmla="*/ 88 h 396"/>
                  <a:gd name="T14" fmla="*/ 470 w 738"/>
                  <a:gd name="T15" fmla="*/ 145 h 396"/>
                  <a:gd name="T16" fmla="*/ 485 w 738"/>
                  <a:gd name="T17" fmla="*/ 103 h 396"/>
                  <a:gd name="T18" fmla="*/ 504 w 738"/>
                  <a:gd name="T19" fmla="*/ 72 h 396"/>
                  <a:gd name="T20" fmla="*/ 519 w 738"/>
                  <a:gd name="T21" fmla="*/ 113 h 396"/>
                  <a:gd name="T22" fmla="*/ 544 w 738"/>
                  <a:gd name="T23" fmla="*/ 122 h 396"/>
                  <a:gd name="T24" fmla="*/ 551 w 738"/>
                  <a:gd name="T25" fmla="*/ 145 h 396"/>
                  <a:gd name="T26" fmla="*/ 616 w 738"/>
                  <a:gd name="T27" fmla="*/ 113 h 396"/>
                  <a:gd name="T28" fmla="*/ 672 w 738"/>
                  <a:gd name="T29" fmla="*/ 88 h 396"/>
                  <a:gd name="T30" fmla="*/ 713 w 738"/>
                  <a:gd name="T31" fmla="*/ 48 h 396"/>
                  <a:gd name="T32" fmla="*/ 730 w 738"/>
                  <a:gd name="T33" fmla="*/ 72 h 396"/>
                  <a:gd name="T34" fmla="*/ 730 w 738"/>
                  <a:gd name="T35" fmla="*/ 97 h 396"/>
                  <a:gd name="T36" fmla="*/ 690 w 738"/>
                  <a:gd name="T37" fmla="*/ 145 h 396"/>
                  <a:gd name="T38" fmla="*/ 672 w 738"/>
                  <a:gd name="T39" fmla="*/ 145 h 396"/>
                  <a:gd name="T40" fmla="*/ 641 w 738"/>
                  <a:gd name="T41" fmla="*/ 194 h 396"/>
                  <a:gd name="T42" fmla="*/ 624 w 738"/>
                  <a:gd name="T43" fmla="*/ 218 h 396"/>
                  <a:gd name="T44" fmla="*/ 616 w 738"/>
                  <a:gd name="T45" fmla="*/ 178 h 396"/>
                  <a:gd name="T46" fmla="*/ 624 w 738"/>
                  <a:gd name="T47" fmla="*/ 242 h 396"/>
                  <a:gd name="T48" fmla="*/ 559 w 738"/>
                  <a:gd name="T49" fmla="*/ 299 h 396"/>
                  <a:gd name="T50" fmla="*/ 567 w 738"/>
                  <a:gd name="T51" fmla="*/ 396 h 396"/>
                  <a:gd name="T52" fmla="*/ 535 w 738"/>
                  <a:gd name="T53" fmla="*/ 371 h 396"/>
                  <a:gd name="T54" fmla="*/ 504 w 738"/>
                  <a:gd name="T55" fmla="*/ 331 h 396"/>
                  <a:gd name="T56" fmla="*/ 445 w 738"/>
                  <a:gd name="T57" fmla="*/ 331 h 396"/>
                  <a:gd name="T58" fmla="*/ 420 w 738"/>
                  <a:gd name="T59" fmla="*/ 331 h 396"/>
                  <a:gd name="T60" fmla="*/ 348 w 738"/>
                  <a:gd name="T61" fmla="*/ 364 h 396"/>
                  <a:gd name="T62" fmla="*/ 292 w 738"/>
                  <a:gd name="T63" fmla="*/ 331 h 396"/>
                  <a:gd name="T64" fmla="*/ 268 w 738"/>
                  <a:gd name="T65" fmla="*/ 339 h 396"/>
                  <a:gd name="T66" fmla="*/ 234 w 738"/>
                  <a:gd name="T67" fmla="*/ 299 h 396"/>
                  <a:gd name="T68" fmla="*/ 97 w 738"/>
                  <a:gd name="T69" fmla="*/ 290 h 396"/>
                  <a:gd name="T70" fmla="*/ 81 w 738"/>
                  <a:gd name="T71" fmla="*/ 267 h 396"/>
                  <a:gd name="T72" fmla="*/ 32 w 738"/>
                  <a:gd name="T73" fmla="*/ 234 h 396"/>
                  <a:gd name="T74" fmla="*/ 24 w 738"/>
                  <a:gd name="T75" fmla="*/ 210 h 396"/>
                  <a:gd name="T76" fmla="*/ 24 w 738"/>
                  <a:gd name="T77" fmla="*/ 202 h 396"/>
                  <a:gd name="T78" fmla="*/ 0 w 738"/>
                  <a:gd name="T79" fmla="*/ 169 h 396"/>
                  <a:gd name="T80" fmla="*/ 7 w 738"/>
                  <a:gd name="T81" fmla="*/ 63 h 396"/>
                  <a:gd name="T82" fmla="*/ 16 w 738"/>
                  <a:gd name="T83" fmla="*/ 4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15" name="Freeform 6">
                <a:extLst>
                  <a:ext uri="{FF2B5EF4-FFF2-40B4-BE49-F238E27FC236}">
                    <a16:creationId xmlns:a16="http://schemas.microsoft.com/office/drawing/2014/main" id="{3D4F9C79-253A-337D-D135-869F1D2AB73E}"/>
                  </a:ext>
                </a:extLst>
              </p:cNvPr>
              <p:cNvSpPr>
                <a:spLocks/>
              </p:cNvSpPr>
              <p:nvPr/>
            </p:nvSpPr>
            <p:spPr bwMode="gray">
              <a:xfrm>
                <a:off x="1441569" y="2684425"/>
                <a:ext cx="675985" cy="724366"/>
              </a:xfrm>
              <a:custGeom>
                <a:avLst/>
                <a:gdLst>
                  <a:gd name="T0" fmla="*/ 479 w 480"/>
                  <a:gd name="T1" fmla="*/ 453 h 494"/>
                  <a:gd name="T2" fmla="*/ 432 w 480"/>
                  <a:gd name="T3" fmla="*/ 388 h 494"/>
                  <a:gd name="T4" fmla="*/ 414 w 480"/>
                  <a:gd name="T5" fmla="*/ 365 h 494"/>
                  <a:gd name="T6" fmla="*/ 389 w 480"/>
                  <a:gd name="T7" fmla="*/ 381 h 494"/>
                  <a:gd name="T8" fmla="*/ 366 w 480"/>
                  <a:gd name="T9" fmla="*/ 348 h 494"/>
                  <a:gd name="T10" fmla="*/ 341 w 480"/>
                  <a:gd name="T11" fmla="*/ 348 h 494"/>
                  <a:gd name="T12" fmla="*/ 317 w 480"/>
                  <a:gd name="T13" fmla="*/ 49 h 494"/>
                  <a:gd name="T14" fmla="*/ 276 w 480"/>
                  <a:gd name="T15" fmla="*/ 49 h 494"/>
                  <a:gd name="T16" fmla="*/ 236 w 480"/>
                  <a:gd name="T17" fmla="*/ 33 h 494"/>
                  <a:gd name="T18" fmla="*/ 196 w 480"/>
                  <a:gd name="T19" fmla="*/ 17 h 494"/>
                  <a:gd name="T20" fmla="*/ 162 w 480"/>
                  <a:gd name="T21" fmla="*/ 8 h 494"/>
                  <a:gd name="T22" fmla="*/ 131 w 480"/>
                  <a:gd name="T23" fmla="*/ 17 h 494"/>
                  <a:gd name="T24" fmla="*/ 90 w 480"/>
                  <a:gd name="T25" fmla="*/ 42 h 494"/>
                  <a:gd name="T26" fmla="*/ 65 w 480"/>
                  <a:gd name="T27" fmla="*/ 57 h 494"/>
                  <a:gd name="T28" fmla="*/ 25 w 480"/>
                  <a:gd name="T29" fmla="*/ 98 h 494"/>
                  <a:gd name="T30" fmla="*/ 50 w 480"/>
                  <a:gd name="T31" fmla="*/ 139 h 494"/>
                  <a:gd name="T32" fmla="*/ 74 w 480"/>
                  <a:gd name="T33" fmla="*/ 179 h 494"/>
                  <a:gd name="T34" fmla="*/ 50 w 480"/>
                  <a:gd name="T35" fmla="*/ 186 h 494"/>
                  <a:gd name="T36" fmla="*/ 40 w 480"/>
                  <a:gd name="T37" fmla="*/ 170 h 494"/>
                  <a:gd name="T38" fmla="*/ 0 w 480"/>
                  <a:gd name="T39" fmla="*/ 202 h 494"/>
                  <a:gd name="T40" fmla="*/ 18 w 480"/>
                  <a:gd name="T41" fmla="*/ 219 h 494"/>
                  <a:gd name="T42" fmla="*/ 34 w 480"/>
                  <a:gd name="T43" fmla="*/ 235 h 494"/>
                  <a:gd name="T44" fmla="*/ 65 w 480"/>
                  <a:gd name="T45" fmla="*/ 235 h 494"/>
                  <a:gd name="T46" fmla="*/ 82 w 480"/>
                  <a:gd name="T47" fmla="*/ 235 h 494"/>
                  <a:gd name="T48" fmla="*/ 82 w 480"/>
                  <a:gd name="T49" fmla="*/ 267 h 494"/>
                  <a:gd name="T50" fmla="*/ 59 w 480"/>
                  <a:gd name="T51" fmla="*/ 276 h 494"/>
                  <a:gd name="T52" fmla="*/ 40 w 480"/>
                  <a:gd name="T53" fmla="*/ 276 h 494"/>
                  <a:gd name="T54" fmla="*/ 50 w 480"/>
                  <a:gd name="T55" fmla="*/ 365 h 494"/>
                  <a:gd name="T56" fmla="*/ 74 w 480"/>
                  <a:gd name="T57" fmla="*/ 356 h 494"/>
                  <a:gd name="T58" fmla="*/ 74 w 480"/>
                  <a:gd name="T59" fmla="*/ 381 h 494"/>
                  <a:gd name="T60" fmla="*/ 106 w 480"/>
                  <a:gd name="T61" fmla="*/ 388 h 494"/>
                  <a:gd name="T62" fmla="*/ 114 w 480"/>
                  <a:gd name="T63" fmla="*/ 388 h 494"/>
                  <a:gd name="T64" fmla="*/ 131 w 480"/>
                  <a:gd name="T65" fmla="*/ 406 h 494"/>
                  <a:gd name="T66" fmla="*/ 90 w 480"/>
                  <a:gd name="T67" fmla="*/ 453 h 494"/>
                  <a:gd name="T68" fmla="*/ 59 w 480"/>
                  <a:gd name="T69" fmla="*/ 471 h 494"/>
                  <a:gd name="T70" fmla="*/ 40 w 480"/>
                  <a:gd name="T71" fmla="*/ 493 h 494"/>
                  <a:gd name="T72" fmla="*/ 114 w 480"/>
                  <a:gd name="T73" fmla="*/ 453 h 494"/>
                  <a:gd name="T74" fmla="*/ 139 w 480"/>
                  <a:gd name="T75" fmla="*/ 429 h 494"/>
                  <a:gd name="T76" fmla="*/ 187 w 480"/>
                  <a:gd name="T77" fmla="*/ 388 h 494"/>
                  <a:gd name="T78" fmla="*/ 179 w 480"/>
                  <a:gd name="T79" fmla="*/ 372 h 494"/>
                  <a:gd name="T80" fmla="*/ 196 w 480"/>
                  <a:gd name="T81" fmla="*/ 341 h 494"/>
                  <a:gd name="T82" fmla="*/ 227 w 480"/>
                  <a:gd name="T83" fmla="*/ 325 h 494"/>
                  <a:gd name="T84" fmla="*/ 211 w 480"/>
                  <a:gd name="T85" fmla="*/ 341 h 494"/>
                  <a:gd name="T86" fmla="*/ 211 w 480"/>
                  <a:gd name="T87" fmla="*/ 372 h 494"/>
                  <a:gd name="T88" fmla="*/ 211 w 480"/>
                  <a:gd name="T89" fmla="*/ 381 h 494"/>
                  <a:gd name="T90" fmla="*/ 243 w 480"/>
                  <a:gd name="T91" fmla="*/ 365 h 494"/>
                  <a:gd name="T92" fmla="*/ 243 w 480"/>
                  <a:gd name="T93" fmla="*/ 332 h 494"/>
                  <a:gd name="T94" fmla="*/ 301 w 480"/>
                  <a:gd name="T95" fmla="*/ 356 h 494"/>
                  <a:gd name="T96" fmla="*/ 349 w 480"/>
                  <a:gd name="T97" fmla="*/ 365 h 494"/>
                  <a:gd name="T98" fmla="*/ 358 w 480"/>
                  <a:gd name="T99" fmla="*/ 372 h 494"/>
                  <a:gd name="T100" fmla="*/ 423 w 480"/>
                  <a:gd name="T101" fmla="*/ 453 h 494"/>
                  <a:gd name="T102" fmla="*/ 407 w 480"/>
                  <a:gd name="T103" fmla="*/ 406 h 494"/>
                  <a:gd name="T104" fmla="*/ 414 w 480"/>
                  <a:gd name="T105" fmla="*/ 388 h 494"/>
                  <a:gd name="T106" fmla="*/ 432 w 480"/>
                  <a:gd name="T107" fmla="*/ 421 h 494"/>
                  <a:gd name="T108" fmla="*/ 432 w 480"/>
                  <a:gd name="T109" fmla="*/ 429 h 494"/>
                  <a:gd name="T110" fmla="*/ 432 w 480"/>
                  <a:gd name="T111" fmla="*/ 453 h 494"/>
                  <a:gd name="T112" fmla="*/ 438 w 480"/>
                  <a:gd name="T113" fmla="*/ 462 h 494"/>
                  <a:gd name="T114" fmla="*/ 455 w 480"/>
                  <a:gd name="T115" fmla="*/ 471 h 494"/>
                  <a:gd name="T116" fmla="*/ 455 w 480"/>
                  <a:gd name="T117" fmla="*/ 453 h 494"/>
                  <a:gd name="T118" fmla="*/ 463 w 480"/>
                  <a:gd name="T119" fmla="*/ 478 h 494"/>
                  <a:gd name="T120" fmla="*/ 479 w 480"/>
                  <a:gd name="T121" fmla="*/ 478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16" name="Freeform 7">
                <a:extLst>
                  <a:ext uri="{FF2B5EF4-FFF2-40B4-BE49-F238E27FC236}">
                    <a16:creationId xmlns:a16="http://schemas.microsoft.com/office/drawing/2014/main" id="{B46305C2-BCD7-1193-9F0B-7F67CCD8FE8A}"/>
                  </a:ext>
                </a:extLst>
              </p:cNvPr>
              <p:cNvSpPr>
                <a:spLocks/>
              </p:cNvSpPr>
              <p:nvPr/>
            </p:nvSpPr>
            <p:spPr bwMode="gray">
              <a:xfrm>
                <a:off x="1922060" y="2505478"/>
                <a:ext cx="1542755" cy="1259979"/>
              </a:xfrm>
              <a:custGeom>
                <a:avLst/>
                <a:gdLst>
                  <a:gd name="T0" fmla="*/ 756 w 1096"/>
                  <a:gd name="T1" fmla="*/ 851 h 860"/>
                  <a:gd name="T2" fmla="*/ 763 w 1096"/>
                  <a:gd name="T3" fmla="*/ 827 h 860"/>
                  <a:gd name="T4" fmla="*/ 771 w 1096"/>
                  <a:gd name="T5" fmla="*/ 786 h 860"/>
                  <a:gd name="T6" fmla="*/ 706 w 1096"/>
                  <a:gd name="T7" fmla="*/ 746 h 860"/>
                  <a:gd name="T8" fmla="*/ 632 w 1096"/>
                  <a:gd name="T9" fmla="*/ 746 h 860"/>
                  <a:gd name="T10" fmla="*/ 585 w 1096"/>
                  <a:gd name="T11" fmla="*/ 722 h 860"/>
                  <a:gd name="T12" fmla="*/ 171 w 1096"/>
                  <a:gd name="T13" fmla="*/ 680 h 860"/>
                  <a:gd name="T14" fmla="*/ 138 w 1096"/>
                  <a:gd name="T15" fmla="*/ 615 h 860"/>
                  <a:gd name="T16" fmla="*/ 91 w 1096"/>
                  <a:gd name="T17" fmla="*/ 510 h 860"/>
                  <a:gd name="T18" fmla="*/ 48 w 1096"/>
                  <a:gd name="T19" fmla="*/ 503 h 860"/>
                  <a:gd name="T20" fmla="*/ 0 w 1096"/>
                  <a:gd name="T21" fmla="*/ 470 h 860"/>
                  <a:gd name="T22" fmla="*/ 66 w 1096"/>
                  <a:gd name="T23" fmla="*/ 202 h 860"/>
                  <a:gd name="T24" fmla="*/ 147 w 1096"/>
                  <a:gd name="T25" fmla="*/ 164 h 860"/>
                  <a:gd name="T26" fmla="*/ 187 w 1096"/>
                  <a:gd name="T27" fmla="*/ 171 h 860"/>
                  <a:gd name="T28" fmla="*/ 212 w 1096"/>
                  <a:gd name="T29" fmla="*/ 195 h 860"/>
                  <a:gd name="T30" fmla="*/ 268 w 1096"/>
                  <a:gd name="T31" fmla="*/ 195 h 860"/>
                  <a:gd name="T32" fmla="*/ 341 w 1096"/>
                  <a:gd name="T33" fmla="*/ 220 h 860"/>
                  <a:gd name="T34" fmla="*/ 358 w 1096"/>
                  <a:gd name="T35" fmla="*/ 261 h 860"/>
                  <a:gd name="T36" fmla="*/ 415 w 1096"/>
                  <a:gd name="T37" fmla="*/ 236 h 860"/>
                  <a:gd name="T38" fmla="*/ 504 w 1096"/>
                  <a:gd name="T39" fmla="*/ 252 h 860"/>
                  <a:gd name="T40" fmla="*/ 552 w 1096"/>
                  <a:gd name="T41" fmla="*/ 227 h 860"/>
                  <a:gd name="T42" fmla="*/ 569 w 1096"/>
                  <a:gd name="T43" fmla="*/ 202 h 860"/>
                  <a:gd name="T44" fmla="*/ 577 w 1096"/>
                  <a:gd name="T45" fmla="*/ 261 h 860"/>
                  <a:gd name="T46" fmla="*/ 601 w 1096"/>
                  <a:gd name="T47" fmla="*/ 195 h 860"/>
                  <a:gd name="T48" fmla="*/ 592 w 1096"/>
                  <a:gd name="T49" fmla="*/ 105 h 860"/>
                  <a:gd name="T50" fmla="*/ 617 w 1096"/>
                  <a:gd name="T51" fmla="*/ 0 h 860"/>
                  <a:gd name="T52" fmla="*/ 617 w 1096"/>
                  <a:gd name="T53" fmla="*/ 65 h 860"/>
                  <a:gd name="T54" fmla="*/ 632 w 1096"/>
                  <a:gd name="T55" fmla="*/ 171 h 860"/>
                  <a:gd name="T56" fmla="*/ 666 w 1096"/>
                  <a:gd name="T57" fmla="*/ 202 h 860"/>
                  <a:gd name="T58" fmla="*/ 697 w 1096"/>
                  <a:gd name="T59" fmla="*/ 267 h 860"/>
                  <a:gd name="T60" fmla="*/ 731 w 1096"/>
                  <a:gd name="T61" fmla="*/ 179 h 860"/>
                  <a:gd name="T62" fmla="*/ 763 w 1096"/>
                  <a:gd name="T63" fmla="*/ 227 h 860"/>
                  <a:gd name="T64" fmla="*/ 763 w 1096"/>
                  <a:gd name="T65" fmla="*/ 276 h 860"/>
                  <a:gd name="T66" fmla="*/ 697 w 1096"/>
                  <a:gd name="T67" fmla="*/ 292 h 860"/>
                  <a:gd name="T68" fmla="*/ 673 w 1096"/>
                  <a:gd name="T69" fmla="*/ 373 h 860"/>
                  <a:gd name="T70" fmla="*/ 626 w 1096"/>
                  <a:gd name="T71" fmla="*/ 413 h 860"/>
                  <a:gd name="T72" fmla="*/ 592 w 1096"/>
                  <a:gd name="T73" fmla="*/ 478 h 860"/>
                  <a:gd name="T74" fmla="*/ 626 w 1096"/>
                  <a:gd name="T75" fmla="*/ 560 h 860"/>
                  <a:gd name="T76" fmla="*/ 716 w 1096"/>
                  <a:gd name="T77" fmla="*/ 593 h 860"/>
                  <a:gd name="T78" fmla="*/ 788 w 1096"/>
                  <a:gd name="T79" fmla="*/ 680 h 860"/>
                  <a:gd name="T80" fmla="*/ 819 w 1096"/>
                  <a:gd name="T81" fmla="*/ 575 h 860"/>
                  <a:gd name="T82" fmla="*/ 812 w 1096"/>
                  <a:gd name="T83" fmla="*/ 503 h 860"/>
                  <a:gd name="T84" fmla="*/ 803 w 1096"/>
                  <a:gd name="T85" fmla="*/ 429 h 860"/>
                  <a:gd name="T86" fmla="*/ 859 w 1096"/>
                  <a:gd name="T87" fmla="*/ 413 h 860"/>
                  <a:gd name="T88" fmla="*/ 918 w 1096"/>
                  <a:gd name="T89" fmla="*/ 454 h 860"/>
                  <a:gd name="T90" fmla="*/ 967 w 1096"/>
                  <a:gd name="T91" fmla="*/ 487 h 860"/>
                  <a:gd name="T92" fmla="*/ 1015 w 1096"/>
                  <a:gd name="T93" fmla="*/ 575 h 860"/>
                  <a:gd name="T94" fmla="*/ 1055 w 1096"/>
                  <a:gd name="T95" fmla="*/ 600 h 860"/>
                  <a:gd name="T96" fmla="*/ 1070 w 1096"/>
                  <a:gd name="T97" fmla="*/ 633 h 860"/>
                  <a:gd name="T98" fmla="*/ 1095 w 1096"/>
                  <a:gd name="T99" fmla="*/ 665 h 860"/>
                  <a:gd name="T100" fmla="*/ 1015 w 1096"/>
                  <a:gd name="T101" fmla="*/ 705 h 860"/>
                  <a:gd name="T102" fmla="*/ 933 w 1096"/>
                  <a:gd name="T103" fmla="*/ 722 h 860"/>
                  <a:gd name="T104" fmla="*/ 925 w 1096"/>
                  <a:gd name="T105" fmla="*/ 737 h 860"/>
                  <a:gd name="T106" fmla="*/ 983 w 1096"/>
                  <a:gd name="T107" fmla="*/ 737 h 860"/>
                  <a:gd name="T108" fmla="*/ 974 w 1096"/>
                  <a:gd name="T109" fmla="*/ 746 h 860"/>
                  <a:gd name="T110" fmla="*/ 1015 w 1096"/>
                  <a:gd name="T111" fmla="*/ 786 h 860"/>
                  <a:gd name="T112" fmla="*/ 1039 w 1096"/>
                  <a:gd name="T113" fmla="*/ 777 h 860"/>
                  <a:gd name="T114" fmla="*/ 967 w 1096"/>
                  <a:gd name="T115" fmla="*/ 827 h 860"/>
                  <a:gd name="T116" fmla="*/ 974 w 1096"/>
                  <a:gd name="T117" fmla="*/ 786 h 860"/>
                  <a:gd name="T118" fmla="*/ 933 w 1096"/>
                  <a:gd name="T119" fmla="*/ 762 h 860"/>
                  <a:gd name="T120" fmla="*/ 902 w 1096"/>
                  <a:gd name="T121" fmla="*/ 795 h 860"/>
                  <a:gd name="T122" fmla="*/ 819 w 1096"/>
                  <a:gd name="T123" fmla="*/ 81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17" name="Line 36">
                <a:extLst>
                  <a:ext uri="{FF2B5EF4-FFF2-40B4-BE49-F238E27FC236}">
                    <a16:creationId xmlns:a16="http://schemas.microsoft.com/office/drawing/2014/main" id="{BEBA055E-3D56-0371-95C6-5DA24EAEA57E}"/>
                  </a:ext>
                </a:extLst>
              </p:cNvPr>
              <p:cNvSpPr>
                <a:spLocks noChangeShapeType="1"/>
              </p:cNvSpPr>
              <p:nvPr/>
            </p:nvSpPr>
            <p:spPr bwMode="gray">
              <a:xfrm>
                <a:off x="1626464" y="4214050"/>
                <a:ext cx="10599" cy="0"/>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418" name="Line 38">
                <a:extLst>
                  <a:ext uri="{FF2B5EF4-FFF2-40B4-BE49-F238E27FC236}">
                    <a16:creationId xmlns:a16="http://schemas.microsoft.com/office/drawing/2014/main" id="{FB430C04-5FA3-BCD5-FEB3-6A2657D84AD3}"/>
                  </a:ext>
                </a:extLst>
              </p:cNvPr>
              <p:cNvSpPr>
                <a:spLocks noChangeShapeType="1"/>
              </p:cNvSpPr>
              <p:nvPr/>
            </p:nvSpPr>
            <p:spPr bwMode="gray">
              <a:xfrm flipV="1">
                <a:off x="3098558" y="3906408"/>
                <a:ext cx="11777" cy="12256"/>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419" name="Freeform 47">
                <a:extLst>
                  <a:ext uri="{FF2B5EF4-FFF2-40B4-BE49-F238E27FC236}">
                    <a16:creationId xmlns:a16="http://schemas.microsoft.com/office/drawing/2014/main" id="{CDBB1EB3-5F19-D915-40DC-DCBFE69C1E6A}"/>
                  </a:ext>
                </a:extLst>
              </p:cNvPr>
              <p:cNvSpPr>
                <a:spLocks/>
              </p:cNvSpPr>
              <p:nvPr/>
            </p:nvSpPr>
            <p:spPr bwMode="gray">
              <a:xfrm>
                <a:off x="2881866" y="3644117"/>
                <a:ext cx="150742" cy="121341"/>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6350" cap="rnd" cmpd="sng">
                <a:solidFill>
                  <a:srgbClr val="D0D0D0"/>
                </a:solidFill>
                <a:prstDash val="solid"/>
                <a:round/>
                <a:headEnd/>
                <a:tailEnd/>
              </a:ln>
              <a:effectLst/>
            </p:spPr>
            <p:txBody>
              <a:bodyPr/>
              <a:lstStyle/>
              <a:p>
                <a:endParaRPr lang="de-DE" dirty="0"/>
              </a:p>
            </p:txBody>
          </p:sp>
          <p:sp>
            <p:nvSpPr>
              <p:cNvPr id="420" name="Freeform 48">
                <a:extLst>
                  <a:ext uri="{FF2B5EF4-FFF2-40B4-BE49-F238E27FC236}">
                    <a16:creationId xmlns:a16="http://schemas.microsoft.com/office/drawing/2014/main" id="{7F7F22D5-0A42-3D53-CAEC-2C9463FE9074}"/>
                  </a:ext>
                </a:extLst>
              </p:cNvPr>
              <p:cNvSpPr>
                <a:spLocks/>
              </p:cNvSpPr>
              <p:nvPr/>
            </p:nvSpPr>
            <p:spPr bwMode="gray">
              <a:xfrm>
                <a:off x="2881866" y="3644117"/>
                <a:ext cx="150742" cy="121341"/>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21" name="Freeform 49">
                <a:extLst>
                  <a:ext uri="{FF2B5EF4-FFF2-40B4-BE49-F238E27FC236}">
                    <a16:creationId xmlns:a16="http://schemas.microsoft.com/office/drawing/2014/main" id="{98678201-9C7B-98E2-45E7-5C4901B49992}"/>
                  </a:ext>
                </a:extLst>
              </p:cNvPr>
              <p:cNvSpPr>
                <a:spLocks/>
              </p:cNvSpPr>
              <p:nvPr/>
            </p:nvSpPr>
            <p:spPr bwMode="gray">
              <a:xfrm>
                <a:off x="2802961" y="3563224"/>
                <a:ext cx="136610" cy="72314"/>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6350" cap="rnd" cmpd="sng">
                <a:solidFill>
                  <a:srgbClr val="D0D0D0"/>
                </a:solidFill>
                <a:prstDash val="solid"/>
                <a:round/>
                <a:headEnd/>
                <a:tailEnd/>
              </a:ln>
              <a:effectLst/>
            </p:spPr>
            <p:txBody>
              <a:bodyPr/>
              <a:lstStyle/>
              <a:p>
                <a:endParaRPr lang="de-DE" dirty="0"/>
              </a:p>
            </p:txBody>
          </p:sp>
          <p:sp>
            <p:nvSpPr>
              <p:cNvPr id="422" name="Freeform 50">
                <a:extLst>
                  <a:ext uri="{FF2B5EF4-FFF2-40B4-BE49-F238E27FC236}">
                    <a16:creationId xmlns:a16="http://schemas.microsoft.com/office/drawing/2014/main" id="{47FF93A9-E667-BD5B-AB86-4210DD77F7A0}"/>
                  </a:ext>
                </a:extLst>
              </p:cNvPr>
              <p:cNvSpPr>
                <a:spLocks/>
              </p:cNvSpPr>
              <p:nvPr/>
            </p:nvSpPr>
            <p:spPr bwMode="gray">
              <a:xfrm>
                <a:off x="2802961" y="3563224"/>
                <a:ext cx="136610" cy="72314"/>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23" name="Freeform 51">
                <a:extLst>
                  <a:ext uri="{FF2B5EF4-FFF2-40B4-BE49-F238E27FC236}">
                    <a16:creationId xmlns:a16="http://schemas.microsoft.com/office/drawing/2014/main" id="{ABA134CB-B87A-6E84-0990-E4B2CEF590C6}"/>
                  </a:ext>
                </a:extLst>
              </p:cNvPr>
              <p:cNvSpPr>
                <a:spLocks/>
              </p:cNvSpPr>
              <p:nvPr/>
            </p:nvSpPr>
            <p:spPr bwMode="gray">
              <a:xfrm>
                <a:off x="2960771" y="3731139"/>
                <a:ext cx="82437" cy="3431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59" h="24">
                    <a:moveTo>
                      <a:pt x="0" y="23"/>
                    </a:moveTo>
                    <a:lnTo>
                      <a:pt x="18" y="15"/>
                    </a:lnTo>
                    <a:lnTo>
                      <a:pt x="25" y="6"/>
                    </a:lnTo>
                    <a:lnTo>
                      <a:pt x="58" y="0"/>
                    </a:lnTo>
                    <a:lnTo>
                      <a:pt x="25" y="23"/>
                    </a:lnTo>
                    <a:lnTo>
                      <a:pt x="9" y="23"/>
                    </a:lnTo>
                    <a:lnTo>
                      <a:pt x="0" y="23"/>
                    </a:lnTo>
                  </a:path>
                </a:pathLst>
              </a:custGeom>
              <a:grpFill/>
              <a:ln w="6350" cap="rnd" cmpd="sng">
                <a:solidFill>
                  <a:srgbClr val="D0D0D0"/>
                </a:solidFill>
                <a:prstDash val="solid"/>
                <a:round/>
                <a:headEnd/>
                <a:tailEnd/>
              </a:ln>
              <a:effectLst/>
            </p:spPr>
            <p:txBody>
              <a:bodyPr/>
              <a:lstStyle/>
              <a:p>
                <a:endParaRPr lang="de-DE" dirty="0"/>
              </a:p>
            </p:txBody>
          </p:sp>
          <p:sp>
            <p:nvSpPr>
              <p:cNvPr id="424" name="Freeform 52">
                <a:extLst>
                  <a:ext uri="{FF2B5EF4-FFF2-40B4-BE49-F238E27FC236}">
                    <a16:creationId xmlns:a16="http://schemas.microsoft.com/office/drawing/2014/main" id="{FAB6CD22-0868-A912-8718-896C9DDEA7D5}"/>
                  </a:ext>
                </a:extLst>
              </p:cNvPr>
              <p:cNvSpPr>
                <a:spLocks/>
              </p:cNvSpPr>
              <p:nvPr/>
            </p:nvSpPr>
            <p:spPr bwMode="gray">
              <a:xfrm>
                <a:off x="2960771" y="3731139"/>
                <a:ext cx="82437" cy="3431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59" h="24">
                    <a:moveTo>
                      <a:pt x="0" y="23"/>
                    </a:moveTo>
                    <a:lnTo>
                      <a:pt x="18" y="15"/>
                    </a:lnTo>
                    <a:lnTo>
                      <a:pt x="25" y="6"/>
                    </a:lnTo>
                    <a:lnTo>
                      <a:pt x="58" y="0"/>
                    </a:lnTo>
                    <a:lnTo>
                      <a:pt x="25" y="23"/>
                    </a:lnTo>
                    <a:lnTo>
                      <a:pt x="9" y="23"/>
                    </a:lnTo>
                    <a:lnTo>
                      <a:pt x="0" y="23"/>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25" name="Freeform 53">
                <a:extLst>
                  <a:ext uri="{FF2B5EF4-FFF2-40B4-BE49-F238E27FC236}">
                    <a16:creationId xmlns:a16="http://schemas.microsoft.com/office/drawing/2014/main" id="{C63A62BC-83A8-D312-B32C-6EB2E2439005}"/>
                  </a:ext>
                </a:extLst>
              </p:cNvPr>
              <p:cNvSpPr>
                <a:spLocks/>
              </p:cNvSpPr>
              <p:nvPr/>
            </p:nvSpPr>
            <p:spPr bwMode="gray">
              <a:xfrm>
                <a:off x="3042030" y="3694369"/>
                <a:ext cx="47107" cy="24513"/>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Lst>
                <a:ahLst/>
                <a:cxnLst>
                  <a:cxn ang="0">
                    <a:pos x="T0" y="T1"/>
                  </a:cxn>
                  <a:cxn ang="0">
                    <a:pos x="T2" y="T3"/>
                  </a:cxn>
                  <a:cxn ang="0">
                    <a:pos x="T4" y="T5"/>
                  </a:cxn>
                  <a:cxn ang="0">
                    <a:pos x="T6" y="T7"/>
                  </a:cxn>
                  <a:cxn ang="0">
                    <a:pos x="T8" y="T9"/>
                  </a:cxn>
                  <a:cxn ang="0">
                    <a:pos x="T10" y="T11"/>
                  </a:cxn>
                </a:cxnLst>
                <a:rect l="0" t="0" r="r" b="b"/>
                <a:pathLst>
                  <a:path w="33" h="17">
                    <a:moveTo>
                      <a:pt x="0" y="16"/>
                    </a:moveTo>
                    <a:lnTo>
                      <a:pt x="0" y="6"/>
                    </a:lnTo>
                    <a:lnTo>
                      <a:pt x="23" y="6"/>
                    </a:lnTo>
                    <a:lnTo>
                      <a:pt x="32" y="0"/>
                    </a:lnTo>
                    <a:lnTo>
                      <a:pt x="32" y="16"/>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426" name="Freeform 54">
                <a:extLst>
                  <a:ext uri="{FF2B5EF4-FFF2-40B4-BE49-F238E27FC236}">
                    <a16:creationId xmlns:a16="http://schemas.microsoft.com/office/drawing/2014/main" id="{2BF3BF1F-2F08-C24E-7086-0B7789631F26}"/>
                  </a:ext>
                </a:extLst>
              </p:cNvPr>
              <p:cNvSpPr>
                <a:spLocks/>
              </p:cNvSpPr>
              <p:nvPr/>
            </p:nvSpPr>
            <p:spPr bwMode="gray">
              <a:xfrm>
                <a:off x="3042030" y="3694369"/>
                <a:ext cx="47107" cy="24513"/>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Lst>
                <a:ahLst/>
                <a:cxnLst>
                  <a:cxn ang="0">
                    <a:pos x="T0" y="T1"/>
                  </a:cxn>
                  <a:cxn ang="0">
                    <a:pos x="T2" y="T3"/>
                  </a:cxn>
                  <a:cxn ang="0">
                    <a:pos x="T4" y="T5"/>
                  </a:cxn>
                  <a:cxn ang="0">
                    <a:pos x="T6" y="T7"/>
                  </a:cxn>
                  <a:cxn ang="0">
                    <a:pos x="T8" y="T9"/>
                  </a:cxn>
                  <a:cxn ang="0">
                    <a:pos x="T10" y="T11"/>
                  </a:cxn>
                </a:cxnLst>
                <a:rect l="0" t="0" r="r" b="b"/>
                <a:pathLst>
                  <a:path w="33" h="17">
                    <a:moveTo>
                      <a:pt x="0" y="16"/>
                    </a:moveTo>
                    <a:lnTo>
                      <a:pt x="0" y="6"/>
                    </a:lnTo>
                    <a:lnTo>
                      <a:pt x="23" y="6"/>
                    </a:lnTo>
                    <a:lnTo>
                      <a:pt x="32" y="0"/>
                    </a:lnTo>
                    <a:lnTo>
                      <a:pt x="32" y="16"/>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27" name="Freeform 60">
                <a:extLst>
                  <a:ext uri="{FF2B5EF4-FFF2-40B4-BE49-F238E27FC236}">
                    <a16:creationId xmlns:a16="http://schemas.microsoft.com/office/drawing/2014/main" id="{0BCE3A87-79E6-11AC-A1E1-E3249631B1D8}"/>
                  </a:ext>
                </a:extLst>
              </p:cNvPr>
              <p:cNvSpPr>
                <a:spLocks/>
              </p:cNvSpPr>
              <p:nvPr/>
            </p:nvSpPr>
            <p:spPr bwMode="gray">
              <a:xfrm>
                <a:off x="3098558" y="4950672"/>
                <a:ext cx="150742" cy="854286"/>
              </a:xfrm>
              <a:custGeom>
                <a:avLst/>
                <a:gdLst>
                  <a:gd name="T0" fmla="*/ 82 w 107"/>
                  <a:gd name="T1" fmla="*/ 0 h 583"/>
                  <a:gd name="T2" fmla="*/ 89 w 107"/>
                  <a:gd name="T3" fmla="*/ 32 h 583"/>
                  <a:gd name="T4" fmla="*/ 106 w 107"/>
                  <a:gd name="T5" fmla="*/ 72 h 583"/>
                  <a:gd name="T6" fmla="*/ 89 w 107"/>
                  <a:gd name="T7" fmla="*/ 97 h 583"/>
                  <a:gd name="T8" fmla="*/ 82 w 107"/>
                  <a:gd name="T9" fmla="*/ 146 h 583"/>
                  <a:gd name="T10" fmla="*/ 72 w 107"/>
                  <a:gd name="T11" fmla="*/ 227 h 583"/>
                  <a:gd name="T12" fmla="*/ 66 w 107"/>
                  <a:gd name="T13" fmla="*/ 268 h 583"/>
                  <a:gd name="T14" fmla="*/ 57 w 107"/>
                  <a:gd name="T15" fmla="*/ 308 h 583"/>
                  <a:gd name="T16" fmla="*/ 48 w 107"/>
                  <a:gd name="T17" fmla="*/ 357 h 583"/>
                  <a:gd name="T18" fmla="*/ 48 w 107"/>
                  <a:gd name="T19" fmla="*/ 405 h 583"/>
                  <a:gd name="T20" fmla="*/ 57 w 107"/>
                  <a:gd name="T21" fmla="*/ 414 h 583"/>
                  <a:gd name="T22" fmla="*/ 41 w 107"/>
                  <a:gd name="T23" fmla="*/ 460 h 583"/>
                  <a:gd name="T24" fmla="*/ 32 w 107"/>
                  <a:gd name="T25" fmla="*/ 502 h 583"/>
                  <a:gd name="T26" fmla="*/ 32 w 107"/>
                  <a:gd name="T27" fmla="*/ 526 h 583"/>
                  <a:gd name="T28" fmla="*/ 41 w 107"/>
                  <a:gd name="T29" fmla="*/ 542 h 583"/>
                  <a:gd name="T30" fmla="*/ 72 w 107"/>
                  <a:gd name="T31" fmla="*/ 551 h 583"/>
                  <a:gd name="T32" fmla="*/ 89 w 107"/>
                  <a:gd name="T33" fmla="*/ 559 h 583"/>
                  <a:gd name="T34" fmla="*/ 66 w 107"/>
                  <a:gd name="T35" fmla="*/ 566 h 583"/>
                  <a:gd name="T36" fmla="*/ 57 w 107"/>
                  <a:gd name="T37" fmla="*/ 582 h 583"/>
                  <a:gd name="T38" fmla="*/ 57 w 107"/>
                  <a:gd name="T39" fmla="*/ 575 h 583"/>
                  <a:gd name="T40" fmla="*/ 41 w 107"/>
                  <a:gd name="T41" fmla="*/ 575 h 583"/>
                  <a:gd name="T42" fmla="*/ 32 w 107"/>
                  <a:gd name="T43" fmla="*/ 559 h 583"/>
                  <a:gd name="T44" fmla="*/ 17 w 107"/>
                  <a:gd name="T45" fmla="*/ 551 h 583"/>
                  <a:gd name="T46" fmla="*/ 8 w 107"/>
                  <a:gd name="T47" fmla="*/ 551 h 583"/>
                  <a:gd name="T48" fmla="*/ 17 w 107"/>
                  <a:gd name="T49" fmla="*/ 534 h 583"/>
                  <a:gd name="T50" fmla="*/ 17 w 107"/>
                  <a:gd name="T51" fmla="*/ 534 h 583"/>
                  <a:gd name="T52" fmla="*/ 17 w 107"/>
                  <a:gd name="T53" fmla="*/ 534 h 583"/>
                  <a:gd name="T54" fmla="*/ 17 w 107"/>
                  <a:gd name="T55" fmla="*/ 510 h 583"/>
                  <a:gd name="T56" fmla="*/ 0 w 107"/>
                  <a:gd name="T57" fmla="*/ 502 h 583"/>
                  <a:gd name="T58" fmla="*/ 8 w 107"/>
                  <a:gd name="T59" fmla="*/ 470 h 583"/>
                  <a:gd name="T60" fmla="*/ 17 w 107"/>
                  <a:gd name="T61" fmla="*/ 477 h 583"/>
                  <a:gd name="T62" fmla="*/ 8 w 107"/>
                  <a:gd name="T63" fmla="*/ 445 h 583"/>
                  <a:gd name="T64" fmla="*/ 8 w 107"/>
                  <a:gd name="T65" fmla="*/ 429 h 583"/>
                  <a:gd name="T66" fmla="*/ 17 w 107"/>
                  <a:gd name="T67" fmla="*/ 405 h 583"/>
                  <a:gd name="T68" fmla="*/ 23 w 107"/>
                  <a:gd name="T69" fmla="*/ 414 h 583"/>
                  <a:gd name="T70" fmla="*/ 41 w 107"/>
                  <a:gd name="T71" fmla="*/ 357 h 583"/>
                  <a:gd name="T72" fmla="*/ 23 w 107"/>
                  <a:gd name="T73" fmla="*/ 348 h 583"/>
                  <a:gd name="T74" fmla="*/ 32 w 107"/>
                  <a:gd name="T75" fmla="*/ 315 h 583"/>
                  <a:gd name="T76" fmla="*/ 32 w 107"/>
                  <a:gd name="T77" fmla="*/ 283 h 583"/>
                  <a:gd name="T78" fmla="*/ 48 w 107"/>
                  <a:gd name="T79" fmla="*/ 186 h 583"/>
                  <a:gd name="T80" fmla="*/ 57 w 107"/>
                  <a:gd name="T81" fmla="*/ 153 h 583"/>
                  <a:gd name="T82" fmla="*/ 66 w 107"/>
                  <a:gd name="T83" fmla="*/ 72 h 583"/>
                  <a:gd name="T84" fmla="*/ 66 w 107"/>
                  <a:gd name="T85" fmla="*/ 7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6350" cap="rnd" cmpd="sng">
                <a:solidFill>
                  <a:srgbClr val="D0D0D0"/>
                </a:solidFill>
                <a:prstDash val="solid"/>
                <a:round/>
                <a:headEnd/>
                <a:tailEnd/>
              </a:ln>
              <a:effectLst/>
            </p:spPr>
            <p:txBody>
              <a:bodyPr/>
              <a:lstStyle/>
              <a:p>
                <a:endParaRPr lang="de-DE" dirty="0"/>
              </a:p>
            </p:txBody>
          </p:sp>
          <p:sp>
            <p:nvSpPr>
              <p:cNvPr id="428" name="Freeform 61">
                <a:extLst>
                  <a:ext uri="{FF2B5EF4-FFF2-40B4-BE49-F238E27FC236}">
                    <a16:creationId xmlns:a16="http://schemas.microsoft.com/office/drawing/2014/main" id="{8554ECC5-9CAD-DA58-DEBB-6B08135F5D26}"/>
                  </a:ext>
                </a:extLst>
              </p:cNvPr>
              <p:cNvSpPr>
                <a:spLocks/>
              </p:cNvSpPr>
              <p:nvPr/>
            </p:nvSpPr>
            <p:spPr bwMode="gray">
              <a:xfrm>
                <a:off x="3130355" y="5770640"/>
                <a:ext cx="95392" cy="93151"/>
              </a:xfrm>
              <a:custGeom>
                <a:avLst/>
                <a:gdLst>
                  <a:gd name="T0" fmla="*/ 66 w 67"/>
                  <a:gd name="T1" fmla="*/ 48 h 64"/>
                  <a:gd name="T2" fmla="*/ 66 w 67"/>
                  <a:gd name="T3" fmla="*/ 0 h 64"/>
                  <a:gd name="T4" fmla="*/ 49 w 67"/>
                  <a:gd name="T5" fmla="*/ 7 h 64"/>
                  <a:gd name="T6" fmla="*/ 49 w 67"/>
                  <a:gd name="T7" fmla="*/ 23 h 64"/>
                  <a:gd name="T8" fmla="*/ 43 w 67"/>
                  <a:gd name="T9" fmla="*/ 32 h 64"/>
                  <a:gd name="T10" fmla="*/ 34 w 67"/>
                  <a:gd name="T11" fmla="*/ 32 h 64"/>
                  <a:gd name="T12" fmla="*/ 9 w 67"/>
                  <a:gd name="T13" fmla="*/ 16 h 64"/>
                  <a:gd name="T14" fmla="*/ 0 w 67"/>
                  <a:gd name="T15" fmla="*/ 23 h 64"/>
                  <a:gd name="T16" fmla="*/ 9 w 67"/>
                  <a:gd name="T17" fmla="*/ 32 h 64"/>
                  <a:gd name="T18" fmla="*/ 18 w 67"/>
                  <a:gd name="T19" fmla="*/ 32 h 64"/>
                  <a:gd name="T20" fmla="*/ 18 w 67"/>
                  <a:gd name="T21" fmla="*/ 40 h 64"/>
                  <a:gd name="T22" fmla="*/ 25 w 67"/>
                  <a:gd name="T23" fmla="*/ 40 h 64"/>
                  <a:gd name="T24" fmla="*/ 25 w 67"/>
                  <a:gd name="T25" fmla="*/ 48 h 64"/>
                  <a:gd name="T26" fmla="*/ 43 w 67"/>
                  <a:gd name="T27" fmla="*/ 57 h 64"/>
                  <a:gd name="T28" fmla="*/ 49 w 67"/>
                  <a:gd name="T29" fmla="*/ 57 h 64"/>
                  <a:gd name="T30" fmla="*/ 59 w 67"/>
                  <a:gd name="T31" fmla="*/ 63 h 64"/>
                  <a:gd name="T32" fmla="*/ 66 w 67"/>
                  <a:gd name="T33"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6350" cap="rnd" cmpd="sng">
                <a:solidFill>
                  <a:srgbClr val="D0D0D0"/>
                </a:solidFill>
                <a:prstDash val="solid"/>
                <a:round/>
                <a:headEnd/>
                <a:tailEnd/>
              </a:ln>
              <a:effectLst/>
            </p:spPr>
            <p:txBody>
              <a:bodyPr/>
              <a:lstStyle/>
              <a:p>
                <a:endParaRPr lang="de-DE" dirty="0"/>
              </a:p>
            </p:txBody>
          </p:sp>
          <p:sp>
            <p:nvSpPr>
              <p:cNvPr id="429" name="Freeform 62">
                <a:extLst>
                  <a:ext uri="{FF2B5EF4-FFF2-40B4-BE49-F238E27FC236}">
                    <a16:creationId xmlns:a16="http://schemas.microsoft.com/office/drawing/2014/main" id="{9DD8E4A7-3542-3E4F-02E2-13A2ED4B8F80}"/>
                  </a:ext>
                </a:extLst>
              </p:cNvPr>
              <p:cNvSpPr>
                <a:spLocks/>
              </p:cNvSpPr>
              <p:nvPr/>
            </p:nvSpPr>
            <p:spPr bwMode="gray">
              <a:xfrm>
                <a:off x="3223392" y="5770640"/>
                <a:ext cx="70660" cy="106632"/>
              </a:xfrm>
              <a:custGeom>
                <a:avLst/>
                <a:gdLst>
                  <a:gd name="T0" fmla="*/ 0 w 50"/>
                  <a:gd name="T1" fmla="*/ 48 h 73"/>
                  <a:gd name="T2" fmla="*/ 0 w 50"/>
                  <a:gd name="T3" fmla="*/ 0 h 73"/>
                  <a:gd name="T4" fmla="*/ 8 w 50"/>
                  <a:gd name="T5" fmla="*/ 23 h 73"/>
                  <a:gd name="T6" fmla="*/ 33 w 50"/>
                  <a:gd name="T7" fmla="*/ 40 h 73"/>
                  <a:gd name="T8" fmla="*/ 49 w 50"/>
                  <a:gd name="T9" fmla="*/ 48 h 73"/>
                  <a:gd name="T10" fmla="*/ 42 w 50"/>
                  <a:gd name="T11" fmla="*/ 57 h 73"/>
                  <a:gd name="T12" fmla="*/ 17 w 50"/>
                  <a:gd name="T13" fmla="*/ 63 h 73"/>
                  <a:gd name="T14" fmla="*/ 8 w 50"/>
                  <a:gd name="T15" fmla="*/ 72 h 73"/>
                  <a:gd name="T16" fmla="*/ 0 w 50"/>
                  <a:gd name="T17"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grpFill/>
              <a:ln w="6350" cap="rnd" cmpd="sng">
                <a:solidFill>
                  <a:srgbClr val="D0D0D0"/>
                </a:solidFill>
                <a:prstDash val="solid"/>
                <a:round/>
                <a:headEnd/>
                <a:tailEnd/>
              </a:ln>
              <a:effectLst/>
            </p:spPr>
            <p:txBody>
              <a:bodyPr/>
              <a:lstStyle/>
              <a:p>
                <a:endParaRPr lang="de-DE" dirty="0"/>
              </a:p>
            </p:txBody>
          </p:sp>
          <p:sp>
            <p:nvSpPr>
              <p:cNvPr id="430" name="Freeform 63">
                <a:extLst>
                  <a:ext uri="{FF2B5EF4-FFF2-40B4-BE49-F238E27FC236}">
                    <a16:creationId xmlns:a16="http://schemas.microsoft.com/office/drawing/2014/main" id="{064ACB23-4A4C-345C-BC39-36275B40FE6F}"/>
                  </a:ext>
                </a:extLst>
              </p:cNvPr>
              <p:cNvSpPr>
                <a:spLocks/>
              </p:cNvSpPr>
              <p:nvPr/>
            </p:nvSpPr>
            <p:spPr bwMode="gray">
              <a:xfrm>
                <a:off x="3143310" y="5032791"/>
                <a:ext cx="356836" cy="726817"/>
              </a:xfrm>
              <a:custGeom>
                <a:avLst/>
                <a:gdLst>
                  <a:gd name="T0" fmla="*/ 202 w 253"/>
                  <a:gd name="T1" fmla="*/ 122 h 496"/>
                  <a:gd name="T2" fmla="*/ 252 w 253"/>
                  <a:gd name="T3" fmla="*/ 74 h 496"/>
                  <a:gd name="T4" fmla="*/ 236 w 253"/>
                  <a:gd name="T5" fmla="*/ 50 h 496"/>
                  <a:gd name="T6" fmla="*/ 221 w 253"/>
                  <a:gd name="T7" fmla="*/ 74 h 496"/>
                  <a:gd name="T8" fmla="*/ 187 w 253"/>
                  <a:gd name="T9" fmla="*/ 74 h 496"/>
                  <a:gd name="T10" fmla="*/ 196 w 253"/>
                  <a:gd name="T11" fmla="*/ 50 h 496"/>
                  <a:gd name="T12" fmla="*/ 155 w 253"/>
                  <a:gd name="T13" fmla="*/ 34 h 496"/>
                  <a:gd name="T14" fmla="*/ 122 w 253"/>
                  <a:gd name="T15" fmla="*/ 0 h 496"/>
                  <a:gd name="T16" fmla="*/ 90 w 253"/>
                  <a:gd name="T17" fmla="*/ 0 h 496"/>
                  <a:gd name="T18" fmla="*/ 74 w 253"/>
                  <a:gd name="T19" fmla="*/ 34 h 496"/>
                  <a:gd name="T20" fmla="*/ 65 w 253"/>
                  <a:gd name="T21" fmla="*/ 65 h 496"/>
                  <a:gd name="T22" fmla="*/ 34 w 253"/>
                  <a:gd name="T23" fmla="*/ 137 h 496"/>
                  <a:gd name="T24" fmla="*/ 34 w 253"/>
                  <a:gd name="T25" fmla="*/ 196 h 496"/>
                  <a:gd name="T26" fmla="*/ 25 w 253"/>
                  <a:gd name="T27" fmla="*/ 219 h 496"/>
                  <a:gd name="T28" fmla="*/ 16 w 253"/>
                  <a:gd name="T29" fmla="*/ 267 h 496"/>
                  <a:gd name="T30" fmla="*/ 16 w 253"/>
                  <a:gd name="T31" fmla="*/ 317 h 496"/>
                  <a:gd name="T32" fmla="*/ 25 w 253"/>
                  <a:gd name="T33" fmla="*/ 349 h 496"/>
                  <a:gd name="T34" fmla="*/ 16 w 253"/>
                  <a:gd name="T35" fmla="*/ 389 h 496"/>
                  <a:gd name="T36" fmla="*/ 9 w 253"/>
                  <a:gd name="T37" fmla="*/ 421 h 496"/>
                  <a:gd name="T38" fmla="*/ 0 w 253"/>
                  <a:gd name="T39" fmla="*/ 463 h 496"/>
                  <a:gd name="T40" fmla="*/ 9 w 253"/>
                  <a:gd name="T41" fmla="*/ 463 h 496"/>
                  <a:gd name="T42" fmla="*/ 16 w 253"/>
                  <a:gd name="T43" fmla="*/ 495 h 496"/>
                  <a:gd name="T44" fmla="*/ 57 w 253"/>
                  <a:gd name="T45" fmla="*/ 495 h 496"/>
                  <a:gd name="T46" fmla="*/ 57 w 253"/>
                  <a:gd name="T47" fmla="*/ 463 h 496"/>
                  <a:gd name="T48" fmla="*/ 74 w 253"/>
                  <a:gd name="T49" fmla="*/ 429 h 496"/>
                  <a:gd name="T50" fmla="*/ 99 w 253"/>
                  <a:gd name="T51" fmla="*/ 398 h 496"/>
                  <a:gd name="T52" fmla="*/ 74 w 253"/>
                  <a:gd name="T53" fmla="*/ 381 h 496"/>
                  <a:gd name="T54" fmla="*/ 82 w 253"/>
                  <a:gd name="T55" fmla="*/ 364 h 496"/>
                  <a:gd name="T56" fmla="*/ 99 w 253"/>
                  <a:gd name="T57" fmla="*/ 349 h 496"/>
                  <a:gd name="T58" fmla="*/ 106 w 253"/>
                  <a:gd name="T59" fmla="*/ 333 h 496"/>
                  <a:gd name="T60" fmla="*/ 115 w 253"/>
                  <a:gd name="T61" fmla="*/ 317 h 496"/>
                  <a:gd name="T62" fmla="*/ 122 w 253"/>
                  <a:gd name="T63" fmla="*/ 308 h 496"/>
                  <a:gd name="T64" fmla="*/ 106 w 253"/>
                  <a:gd name="T65" fmla="*/ 284 h 496"/>
                  <a:gd name="T66" fmla="*/ 139 w 253"/>
                  <a:gd name="T67" fmla="*/ 284 h 496"/>
                  <a:gd name="T68" fmla="*/ 139 w 253"/>
                  <a:gd name="T69" fmla="*/ 252 h 496"/>
                  <a:gd name="T70" fmla="*/ 162 w 253"/>
                  <a:gd name="T71" fmla="*/ 252 h 496"/>
                  <a:gd name="T72" fmla="*/ 211 w 253"/>
                  <a:gd name="T73" fmla="*/ 219 h 496"/>
                  <a:gd name="T74" fmla="*/ 202 w 253"/>
                  <a:gd name="T75" fmla="*/ 202 h 496"/>
                  <a:gd name="T76" fmla="*/ 187 w 253"/>
                  <a:gd name="T77" fmla="*/ 18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31" name="Freeform 64">
                <a:extLst>
                  <a:ext uri="{FF2B5EF4-FFF2-40B4-BE49-F238E27FC236}">
                    <a16:creationId xmlns:a16="http://schemas.microsoft.com/office/drawing/2014/main" id="{DAD5ECE2-4ACB-2B9F-FF57-254E355311C3}"/>
                  </a:ext>
                </a:extLst>
              </p:cNvPr>
              <p:cNvSpPr>
                <a:spLocks/>
              </p:cNvSpPr>
              <p:nvPr/>
            </p:nvSpPr>
            <p:spPr bwMode="gray">
              <a:xfrm>
                <a:off x="3361180" y="5733869"/>
                <a:ext cx="60062" cy="37996"/>
              </a:xfrm>
              <a:custGeom>
                <a:avLst/>
                <a:gdLst>
                  <a:gd name="T0" fmla="*/ 0 w 42"/>
                  <a:gd name="T1" fmla="*/ 8 h 26"/>
                  <a:gd name="T2" fmla="*/ 16 w 42"/>
                  <a:gd name="T3" fmla="*/ 17 h 26"/>
                  <a:gd name="T4" fmla="*/ 24 w 42"/>
                  <a:gd name="T5" fmla="*/ 25 h 26"/>
                  <a:gd name="T6" fmla="*/ 41 w 42"/>
                  <a:gd name="T7" fmla="*/ 8 h 26"/>
                  <a:gd name="T8" fmla="*/ 41 w 42"/>
                  <a:gd name="T9" fmla="*/ 0 h 26"/>
                  <a:gd name="T10" fmla="*/ 16 w 42"/>
                  <a:gd name="T11" fmla="*/ 0 h 26"/>
                  <a:gd name="T12" fmla="*/ 7 w 42"/>
                  <a:gd name="T13" fmla="*/ 0 h 26"/>
                  <a:gd name="T14" fmla="*/ 0 w 42"/>
                  <a:gd name="T15" fmla="*/ 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0" y="8"/>
                    </a:moveTo>
                    <a:lnTo>
                      <a:pt x="16" y="17"/>
                    </a:lnTo>
                    <a:lnTo>
                      <a:pt x="24" y="25"/>
                    </a:lnTo>
                    <a:lnTo>
                      <a:pt x="41" y="8"/>
                    </a:lnTo>
                    <a:lnTo>
                      <a:pt x="41" y="0"/>
                    </a:lnTo>
                    <a:lnTo>
                      <a:pt x="16" y="0"/>
                    </a:lnTo>
                    <a:lnTo>
                      <a:pt x="7"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432" name="Freeform 65">
                <a:extLst>
                  <a:ext uri="{FF2B5EF4-FFF2-40B4-BE49-F238E27FC236}">
                    <a16:creationId xmlns:a16="http://schemas.microsoft.com/office/drawing/2014/main" id="{1BEF4F0B-B280-F247-ACD4-F04230B4F7B4}"/>
                  </a:ext>
                </a:extLst>
              </p:cNvPr>
              <p:cNvSpPr>
                <a:spLocks/>
              </p:cNvSpPr>
              <p:nvPr/>
            </p:nvSpPr>
            <p:spPr bwMode="gray">
              <a:xfrm>
                <a:off x="3143310" y="3776489"/>
                <a:ext cx="36508" cy="24513"/>
              </a:xfrm>
              <a:custGeom>
                <a:avLst/>
                <a:gdLst>
                  <a:gd name="T0" fmla="*/ 0 w 26"/>
                  <a:gd name="T1" fmla="*/ 16 h 17"/>
                  <a:gd name="T2" fmla="*/ 9 w 26"/>
                  <a:gd name="T3" fmla="*/ 16 h 17"/>
                  <a:gd name="T4" fmla="*/ 25 w 26"/>
                  <a:gd name="T5" fmla="*/ 0 h 17"/>
                  <a:gd name="T6" fmla="*/ 16 w 26"/>
                  <a:gd name="T7" fmla="*/ 0 h 17"/>
                  <a:gd name="T8" fmla="*/ 0 w 26"/>
                  <a:gd name="T9" fmla="*/ 16 h 17"/>
                </a:gdLst>
                <a:ahLst/>
                <a:cxnLst>
                  <a:cxn ang="0">
                    <a:pos x="T0" y="T1"/>
                  </a:cxn>
                  <a:cxn ang="0">
                    <a:pos x="T2" y="T3"/>
                  </a:cxn>
                  <a:cxn ang="0">
                    <a:pos x="T4" y="T5"/>
                  </a:cxn>
                  <a:cxn ang="0">
                    <a:pos x="T6" y="T7"/>
                  </a:cxn>
                  <a:cxn ang="0">
                    <a:pos x="T8" y="T9"/>
                  </a:cxn>
                </a:cxnLst>
                <a:rect l="0" t="0" r="r" b="b"/>
                <a:pathLst>
                  <a:path w="26" h="17">
                    <a:moveTo>
                      <a:pt x="0" y="16"/>
                    </a:moveTo>
                    <a:lnTo>
                      <a:pt x="9" y="16"/>
                    </a:lnTo>
                    <a:lnTo>
                      <a:pt x="25" y="0"/>
                    </a:lnTo>
                    <a:lnTo>
                      <a:pt x="16"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433" name="Freeform 66">
                <a:extLst>
                  <a:ext uri="{FF2B5EF4-FFF2-40B4-BE49-F238E27FC236}">
                    <a16:creationId xmlns:a16="http://schemas.microsoft.com/office/drawing/2014/main" id="{298B51BD-6E2D-10AF-FA0C-1DE4CE644A2C}"/>
                  </a:ext>
                </a:extLst>
              </p:cNvPr>
              <p:cNvSpPr>
                <a:spLocks/>
              </p:cNvSpPr>
              <p:nvPr/>
            </p:nvSpPr>
            <p:spPr bwMode="gray">
              <a:xfrm>
                <a:off x="3143310" y="3776489"/>
                <a:ext cx="36508" cy="24513"/>
              </a:xfrm>
              <a:custGeom>
                <a:avLst/>
                <a:gdLst>
                  <a:gd name="T0" fmla="*/ 0 w 26"/>
                  <a:gd name="T1" fmla="*/ 16 h 17"/>
                  <a:gd name="T2" fmla="*/ 9 w 26"/>
                  <a:gd name="T3" fmla="*/ 16 h 17"/>
                  <a:gd name="T4" fmla="*/ 25 w 26"/>
                  <a:gd name="T5" fmla="*/ 0 h 17"/>
                  <a:gd name="T6" fmla="*/ 16 w 26"/>
                  <a:gd name="T7" fmla="*/ 0 h 17"/>
                  <a:gd name="T8" fmla="*/ 0 w 26"/>
                  <a:gd name="T9" fmla="*/ 16 h 17"/>
                </a:gdLst>
                <a:ahLst/>
                <a:cxnLst>
                  <a:cxn ang="0">
                    <a:pos x="T0" y="T1"/>
                  </a:cxn>
                  <a:cxn ang="0">
                    <a:pos x="T2" y="T3"/>
                  </a:cxn>
                  <a:cxn ang="0">
                    <a:pos x="T4" y="T5"/>
                  </a:cxn>
                  <a:cxn ang="0">
                    <a:pos x="T6" y="T7"/>
                  </a:cxn>
                  <a:cxn ang="0">
                    <a:pos x="T8" y="T9"/>
                  </a:cxn>
                </a:cxnLst>
                <a:rect l="0" t="0" r="r" b="b"/>
                <a:pathLst>
                  <a:path w="26" h="17">
                    <a:moveTo>
                      <a:pt x="0" y="16"/>
                    </a:moveTo>
                    <a:lnTo>
                      <a:pt x="9" y="16"/>
                    </a:lnTo>
                    <a:lnTo>
                      <a:pt x="25" y="0"/>
                    </a:lnTo>
                    <a:lnTo>
                      <a:pt x="16" y="0"/>
                    </a:lnTo>
                    <a:lnTo>
                      <a:pt x="0"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34" name="Freeform 67">
                <a:extLst>
                  <a:ext uri="{FF2B5EF4-FFF2-40B4-BE49-F238E27FC236}">
                    <a16:creationId xmlns:a16="http://schemas.microsoft.com/office/drawing/2014/main" id="{03AD20C1-7379-4262-B1BD-E16D57D3018D}"/>
                  </a:ext>
                </a:extLst>
              </p:cNvPr>
              <p:cNvSpPr>
                <a:spLocks/>
              </p:cNvSpPr>
              <p:nvPr/>
            </p:nvSpPr>
            <p:spPr bwMode="gray">
              <a:xfrm>
                <a:off x="3305829" y="3538711"/>
                <a:ext cx="45930" cy="26964"/>
              </a:xfrm>
              <a:custGeom>
                <a:avLst/>
                <a:gdLst>
                  <a:gd name="T0" fmla="*/ 0 w 33"/>
                  <a:gd name="T1" fmla="*/ 0 h 18"/>
                  <a:gd name="T2" fmla="*/ 16 w 33"/>
                  <a:gd name="T3" fmla="*/ 17 h 18"/>
                  <a:gd name="T4" fmla="*/ 32 w 33"/>
                  <a:gd name="T5" fmla="*/ 17 h 18"/>
                  <a:gd name="T6" fmla="*/ 16 w 33"/>
                  <a:gd name="T7" fmla="*/ 9 h 18"/>
                  <a:gd name="T8" fmla="*/ 0 w 33"/>
                  <a:gd name="T9" fmla="*/ 0 h 18"/>
                </a:gdLst>
                <a:ahLst/>
                <a:cxnLst>
                  <a:cxn ang="0">
                    <a:pos x="T0" y="T1"/>
                  </a:cxn>
                  <a:cxn ang="0">
                    <a:pos x="T2" y="T3"/>
                  </a:cxn>
                  <a:cxn ang="0">
                    <a:pos x="T4" y="T5"/>
                  </a:cxn>
                  <a:cxn ang="0">
                    <a:pos x="T6" y="T7"/>
                  </a:cxn>
                  <a:cxn ang="0">
                    <a:pos x="T8" y="T9"/>
                  </a:cxn>
                </a:cxnLst>
                <a:rect l="0" t="0" r="r" b="b"/>
                <a:pathLst>
                  <a:path w="33" h="18">
                    <a:moveTo>
                      <a:pt x="0" y="0"/>
                    </a:moveTo>
                    <a:lnTo>
                      <a:pt x="16" y="17"/>
                    </a:lnTo>
                    <a:lnTo>
                      <a:pt x="32" y="17"/>
                    </a:lnTo>
                    <a:lnTo>
                      <a:pt x="16" y="9"/>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435" name="Freeform 68">
                <a:extLst>
                  <a:ext uri="{FF2B5EF4-FFF2-40B4-BE49-F238E27FC236}">
                    <a16:creationId xmlns:a16="http://schemas.microsoft.com/office/drawing/2014/main" id="{DAFD4D84-5DA8-6E32-E337-69A6C3AAFA62}"/>
                  </a:ext>
                </a:extLst>
              </p:cNvPr>
              <p:cNvSpPr>
                <a:spLocks/>
              </p:cNvSpPr>
              <p:nvPr/>
            </p:nvSpPr>
            <p:spPr bwMode="gray">
              <a:xfrm>
                <a:off x="3305829" y="3538711"/>
                <a:ext cx="45930" cy="26964"/>
              </a:xfrm>
              <a:custGeom>
                <a:avLst/>
                <a:gdLst>
                  <a:gd name="T0" fmla="*/ 0 w 33"/>
                  <a:gd name="T1" fmla="*/ 0 h 18"/>
                  <a:gd name="T2" fmla="*/ 16 w 33"/>
                  <a:gd name="T3" fmla="*/ 17 h 18"/>
                  <a:gd name="T4" fmla="*/ 32 w 33"/>
                  <a:gd name="T5" fmla="*/ 17 h 18"/>
                  <a:gd name="T6" fmla="*/ 16 w 33"/>
                  <a:gd name="T7" fmla="*/ 9 h 18"/>
                  <a:gd name="T8" fmla="*/ 0 w 33"/>
                  <a:gd name="T9" fmla="*/ 0 h 18"/>
                </a:gdLst>
                <a:ahLst/>
                <a:cxnLst>
                  <a:cxn ang="0">
                    <a:pos x="T0" y="T1"/>
                  </a:cxn>
                  <a:cxn ang="0">
                    <a:pos x="T2" y="T3"/>
                  </a:cxn>
                  <a:cxn ang="0">
                    <a:pos x="T4" y="T5"/>
                  </a:cxn>
                  <a:cxn ang="0">
                    <a:pos x="T6" y="T7"/>
                  </a:cxn>
                  <a:cxn ang="0">
                    <a:pos x="T8" y="T9"/>
                  </a:cxn>
                </a:cxnLst>
                <a:rect l="0" t="0" r="r" b="b"/>
                <a:pathLst>
                  <a:path w="33" h="18">
                    <a:moveTo>
                      <a:pt x="0" y="0"/>
                    </a:moveTo>
                    <a:lnTo>
                      <a:pt x="16" y="17"/>
                    </a:lnTo>
                    <a:lnTo>
                      <a:pt x="32" y="17"/>
                    </a:lnTo>
                    <a:lnTo>
                      <a:pt x="16" y="9"/>
                    </a:lnTo>
                    <a:lnTo>
                      <a:pt x="0"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36" name="Freeform 69">
                <a:extLst>
                  <a:ext uri="{FF2B5EF4-FFF2-40B4-BE49-F238E27FC236}">
                    <a16:creationId xmlns:a16="http://schemas.microsoft.com/office/drawing/2014/main" id="{F152F7E5-0380-174F-3C05-4535C4D8A2B6}"/>
                  </a:ext>
                </a:extLst>
              </p:cNvPr>
              <p:cNvSpPr>
                <a:spLocks/>
              </p:cNvSpPr>
              <p:nvPr/>
            </p:nvSpPr>
            <p:spPr bwMode="gray">
              <a:xfrm>
                <a:off x="3305829" y="3622055"/>
                <a:ext cx="45930" cy="36769"/>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0" y="8"/>
                    </a:moveTo>
                    <a:lnTo>
                      <a:pt x="24" y="24"/>
                    </a:lnTo>
                    <a:lnTo>
                      <a:pt x="24" y="15"/>
                    </a:lnTo>
                    <a:lnTo>
                      <a:pt x="32" y="8"/>
                    </a:lnTo>
                    <a:lnTo>
                      <a:pt x="16" y="8"/>
                    </a:lnTo>
                    <a:lnTo>
                      <a:pt x="7"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437" name="Freeform 70">
                <a:extLst>
                  <a:ext uri="{FF2B5EF4-FFF2-40B4-BE49-F238E27FC236}">
                    <a16:creationId xmlns:a16="http://schemas.microsoft.com/office/drawing/2014/main" id="{918C5077-BEA4-24AF-5D8F-1AF8B7517903}"/>
                  </a:ext>
                </a:extLst>
              </p:cNvPr>
              <p:cNvSpPr>
                <a:spLocks/>
              </p:cNvSpPr>
              <p:nvPr/>
            </p:nvSpPr>
            <p:spPr bwMode="gray">
              <a:xfrm>
                <a:off x="3305829" y="3622055"/>
                <a:ext cx="45930" cy="36769"/>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0" y="8"/>
                    </a:moveTo>
                    <a:lnTo>
                      <a:pt x="24" y="24"/>
                    </a:lnTo>
                    <a:lnTo>
                      <a:pt x="24" y="15"/>
                    </a:lnTo>
                    <a:lnTo>
                      <a:pt x="32" y="8"/>
                    </a:lnTo>
                    <a:lnTo>
                      <a:pt x="16" y="8"/>
                    </a:lnTo>
                    <a:lnTo>
                      <a:pt x="7" y="0"/>
                    </a:lnTo>
                    <a:lnTo>
                      <a:pt x="0"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38" name="Freeform 71">
                <a:extLst>
                  <a:ext uri="{FF2B5EF4-FFF2-40B4-BE49-F238E27FC236}">
                    <a16:creationId xmlns:a16="http://schemas.microsoft.com/office/drawing/2014/main" id="{5DA05E2E-4B96-7CA2-FD21-3F7B1464DBF4}"/>
                  </a:ext>
                </a:extLst>
              </p:cNvPr>
              <p:cNvSpPr>
                <a:spLocks/>
              </p:cNvSpPr>
              <p:nvPr/>
            </p:nvSpPr>
            <p:spPr bwMode="gray">
              <a:xfrm>
                <a:off x="3395333" y="3493361"/>
                <a:ext cx="116590" cy="142177"/>
              </a:xfrm>
              <a:custGeom>
                <a:avLst/>
                <a:gdLst>
                  <a:gd name="T0" fmla="*/ 0 w 83"/>
                  <a:gd name="T1" fmla="*/ 72 h 97"/>
                  <a:gd name="T2" fmla="*/ 0 w 83"/>
                  <a:gd name="T3" fmla="*/ 80 h 97"/>
                  <a:gd name="T4" fmla="*/ 48 w 83"/>
                  <a:gd name="T5" fmla="*/ 80 h 97"/>
                  <a:gd name="T6" fmla="*/ 48 w 83"/>
                  <a:gd name="T7" fmla="*/ 88 h 97"/>
                  <a:gd name="T8" fmla="*/ 57 w 83"/>
                  <a:gd name="T9" fmla="*/ 80 h 97"/>
                  <a:gd name="T10" fmla="*/ 73 w 83"/>
                  <a:gd name="T11" fmla="*/ 88 h 97"/>
                  <a:gd name="T12" fmla="*/ 73 w 83"/>
                  <a:gd name="T13" fmla="*/ 96 h 97"/>
                  <a:gd name="T14" fmla="*/ 82 w 83"/>
                  <a:gd name="T15" fmla="*/ 96 h 97"/>
                  <a:gd name="T16" fmla="*/ 82 w 83"/>
                  <a:gd name="T17" fmla="*/ 80 h 97"/>
                  <a:gd name="T18" fmla="*/ 65 w 83"/>
                  <a:gd name="T19" fmla="*/ 72 h 97"/>
                  <a:gd name="T20" fmla="*/ 73 w 83"/>
                  <a:gd name="T21" fmla="*/ 63 h 97"/>
                  <a:gd name="T22" fmla="*/ 65 w 83"/>
                  <a:gd name="T23" fmla="*/ 56 h 97"/>
                  <a:gd name="T24" fmla="*/ 73 w 83"/>
                  <a:gd name="T25" fmla="*/ 48 h 97"/>
                  <a:gd name="T26" fmla="*/ 48 w 83"/>
                  <a:gd name="T27" fmla="*/ 48 h 97"/>
                  <a:gd name="T28" fmla="*/ 42 w 83"/>
                  <a:gd name="T29" fmla="*/ 40 h 97"/>
                  <a:gd name="T30" fmla="*/ 48 w 83"/>
                  <a:gd name="T31" fmla="*/ 31 h 97"/>
                  <a:gd name="T32" fmla="*/ 42 w 83"/>
                  <a:gd name="T33" fmla="*/ 31 h 97"/>
                  <a:gd name="T34" fmla="*/ 48 w 83"/>
                  <a:gd name="T35" fmla="*/ 0 h 97"/>
                  <a:gd name="T36" fmla="*/ 32 w 83"/>
                  <a:gd name="T37" fmla="*/ 6 h 97"/>
                  <a:gd name="T38" fmla="*/ 8 w 83"/>
                  <a:gd name="T39" fmla="*/ 56 h 97"/>
                  <a:gd name="T40" fmla="*/ 8 w 83"/>
                  <a:gd name="T41" fmla="*/ 63 h 97"/>
                  <a:gd name="T42" fmla="*/ 0 w 83"/>
                  <a:gd name="T43" fmla="*/ 7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6350" cap="rnd" cmpd="sng">
                <a:solidFill>
                  <a:srgbClr val="D0D0D0"/>
                </a:solidFill>
                <a:prstDash val="solid"/>
                <a:round/>
                <a:headEnd/>
                <a:tailEnd/>
              </a:ln>
              <a:effectLst/>
            </p:spPr>
            <p:txBody>
              <a:bodyPr/>
              <a:lstStyle/>
              <a:p>
                <a:endParaRPr lang="de-DE" dirty="0"/>
              </a:p>
            </p:txBody>
          </p:sp>
          <p:sp>
            <p:nvSpPr>
              <p:cNvPr id="439" name="Freeform 77">
                <a:extLst>
                  <a:ext uri="{FF2B5EF4-FFF2-40B4-BE49-F238E27FC236}">
                    <a16:creationId xmlns:a16="http://schemas.microsoft.com/office/drawing/2014/main" id="{1C1F275F-938E-EC5D-D945-D1EDC1D45116}"/>
                  </a:ext>
                </a:extLst>
              </p:cNvPr>
              <p:cNvSpPr>
                <a:spLocks/>
              </p:cNvSpPr>
              <p:nvPr/>
            </p:nvSpPr>
            <p:spPr bwMode="gray">
              <a:xfrm>
                <a:off x="2356623" y="3977497"/>
                <a:ext cx="539375" cy="368925"/>
              </a:xfrm>
              <a:custGeom>
                <a:avLst/>
                <a:gdLst>
                  <a:gd name="T0" fmla="*/ 243 w 383"/>
                  <a:gd name="T1" fmla="*/ 114 h 252"/>
                  <a:gd name="T2" fmla="*/ 251 w 383"/>
                  <a:gd name="T3" fmla="*/ 155 h 252"/>
                  <a:gd name="T4" fmla="*/ 268 w 383"/>
                  <a:gd name="T5" fmla="*/ 196 h 252"/>
                  <a:gd name="T6" fmla="*/ 317 w 383"/>
                  <a:gd name="T7" fmla="*/ 196 h 252"/>
                  <a:gd name="T8" fmla="*/ 323 w 383"/>
                  <a:gd name="T9" fmla="*/ 196 h 252"/>
                  <a:gd name="T10" fmla="*/ 341 w 383"/>
                  <a:gd name="T11" fmla="*/ 162 h 252"/>
                  <a:gd name="T12" fmla="*/ 373 w 383"/>
                  <a:gd name="T13" fmla="*/ 155 h 252"/>
                  <a:gd name="T14" fmla="*/ 373 w 383"/>
                  <a:gd name="T15" fmla="*/ 196 h 252"/>
                  <a:gd name="T16" fmla="*/ 364 w 383"/>
                  <a:gd name="T17" fmla="*/ 196 h 252"/>
                  <a:gd name="T18" fmla="*/ 332 w 383"/>
                  <a:gd name="T19" fmla="*/ 203 h 252"/>
                  <a:gd name="T20" fmla="*/ 341 w 383"/>
                  <a:gd name="T21" fmla="*/ 227 h 252"/>
                  <a:gd name="T22" fmla="*/ 317 w 383"/>
                  <a:gd name="T23" fmla="*/ 251 h 252"/>
                  <a:gd name="T24" fmla="*/ 276 w 383"/>
                  <a:gd name="T25" fmla="*/ 227 h 252"/>
                  <a:gd name="T26" fmla="*/ 243 w 383"/>
                  <a:gd name="T27" fmla="*/ 227 h 252"/>
                  <a:gd name="T28" fmla="*/ 195 w 383"/>
                  <a:gd name="T29" fmla="*/ 203 h 252"/>
                  <a:gd name="T30" fmla="*/ 155 w 383"/>
                  <a:gd name="T31" fmla="*/ 186 h 252"/>
                  <a:gd name="T32" fmla="*/ 155 w 383"/>
                  <a:gd name="T33" fmla="*/ 162 h 252"/>
                  <a:gd name="T34" fmla="*/ 114 w 383"/>
                  <a:gd name="T35" fmla="*/ 106 h 252"/>
                  <a:gd name="T36" fmla="*/ 96 w 383"/>
                  <a:gd name="T37" fmla="*/ 90 h 252"/>
                  <a:gd name="T38" fmla="*/ 81 w 383"/>
                  <a:gd name="T39" fmla="*/ 65 h 252"/>
                  <a:gd name="T40" fmla="*/ 64 w 383"/>
                  <a:gd name="T41" fmla="*/ 49 h 252"/>
                  <a:gd name="T42" fmla="*/ 40 w 383"/>
                  <a:gd name="T43" fmla="*/ 18 h 252"/>
                  <a:gd name="T44" fmla="*/ 32 w 383"/>
                  <a:gd name="T45" fmla="*/ 34 h 252"/>
                  <a:gd name="T46" fmla="*/ 81 w 383"/>
                  <a:gd name="T47" fmla="*/ 122 h 252"/>
                  <a:gd name="T48" fmla="*/ 96 w 383"/>
                  <a:gd name="T49" fmla="*/ 131 h 252"/>
                  <a:gd name="T50" fmla="*/ 81 w 383"/>
                  <a:gd name="T51" fmla="*/ 131 h 252"/>
                  <a:gd name="T52" fmla="*/ 64 w 383"/>
                  <a:gd name="T53" fmla="*/ 106 h 252"/>
                  <a:gd name="T54" fmla="*/ 32 w 383"/>
                  <a:gd name="T55" fmla="*/ 81 h 252"/>
                  <a:gd name="T56" fmla="*/ 32 w 383"/>
                  <a:gd name="T57" fmla="*/ 74 h 252"/>
                  <a:gd name="T58" fmla="*/ 16 w 383"/>
                  <a:gd name="T59" fmla="*/ 41 h 252"/>
                  <a:gd name="T60" fmla="*/ 24 w 383"/>
                  <a:gd name="T61" fmla="*/ 0 h 252"/>
                  <a:gd name="T62" fmla="*/ 137 w 383"/>
                  <a:gd name="T63" fmla="*/ 9 h 252"/>
                  <a:gd name="T64" fmla="*/ 155 w 383"/>
                  <a:gd name="T65" fmla="*/ 41 h 252"/>
                  <a:gd name="T66" fmla="*/ 179 w 383"/>
                  <a:gd name="T67" fmla="*/ 49 h 252"/>
                  <a:gd name="T68" fmla="*/ 195 w 383"/>
                  <a:gd name="T69" fmla="*/ 41 h 252"/>
                  <a:gd name="T70" fmla="*/ 251 w 383"/>
                  <a:gd name="T71" fmla="*/ 9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40" name="Freeform 78">
                <a:extLst>
                  <a:ext uri="{FF2B5EF4-FFF2-40B4-BE49-F238E27FC236}">
                    <a16:creationId xmlns:a16="http://schemas.microsoft.com/office/drawing/2014/main" id="{B76E5CF3-D827-1973-B928-09C1E021DB4A}"/>
                  </a:ext>
                </a:extLst>
              </p:cNvPr>
              <p:cNvSpPr>
                <a:spLocks/>
              </p:cNvSpPr>
              <p:nvPr/>
            </p:nvSpPr>
            <p:spPr bwMode="gray">
              <a:xfrm>
                <a:off x="2859491" y="4264302"/>
                <a:ext cx="23553" cy="46574"/>
              </a:xfrm>
              <a:custGeom>
                <a:avLst/>
                <a:gdLst>
                  <a:gd name="T0" fmla="*/ 0 w 17"/>
                  <a:gd name="T1" fmla="*/ 31 h 32"/>
                  <a:gd name="T2" fmla="*/ 16 w 17"/>
                  <a:gd name="T3" fmla="*/ 31 h 32"/>
                  <a:gd name="T4" fmla="*/ 16 w 17"/>
                  <a:gd name="T5" fmla="*/ 0 h 32"/>
                  <a:gd name="T6" fmla="*/ 0 w 17"/>
                  <a:gd name="T7" fmla="*/ 7 h 32"/>
                  <a:gd name="T8" fmla="*/ 0 w 17"/>
                  <a:gd name="T9" fmla="*/ 31 h 32"/>
                </a:gdLst>
                <a:ahLst/>
                <a:cxnLst>
                  <a:cxn ang="0">
                    <a:pos x="T0" y="T1"/>
                  </a:cxn>
                  <a:cxn ang="0">
                    <a:pos x="T2" y="T3"/>
                  </a:cxn>
                  <a:cxn ang="0">
                    <a:pos x="T4" y="T5"/>
                  </a:cxn>
                  <a:cxn ang="0">
                    <a:pos x="T6" y="T7"/>
                  </a:cxn>
                  <a:cxn ang="0">
                    <a:pos x="T8" y="T9"/>
                  </a:cxn>
                </a:cxnLst>
                <a:rect l="0" t="0" r="r" b="b"/>
                <a:pathLst>
                  <a:path w="17" h="32">
                    <a:moveTo>
                      <a:pt x="0" y="31"/>
                    </a:moveTo>
                    <a:lnTo>
                      <a:pt x="16" y="31"/>
                    </a:lnTo>
                    <a:lnTo>
                      <a:pt x="16" y="0"/>
                    </a:lnTo>
                    <a:lnTo>
                      <a:pt x="0" y="7"/>
                    </a:lnTo>
                    <a:lnTo>
                      <a:pt x="0" y="31"/>
                    </a:lnTo>
                  </a:path>
                </a:pathLst>
              </a:custGeom>
              <a:grpFill/>
              <a:ln w="6350" cap="rnd" cmpd="sng">
                <a:solidFill>
                  <a:srgbClr val="D0D0D0"/>
                </a:solidFill>
                <a:prstDash val="solid"/>
                <a:round/>
                <a:headEnd/>
                <a:tailEnd/>
              </a:ln>
              <a:effectLst/>
            </p:spPr>
            <p:txBody>
              <a:bodyPr/>
              <a:lstStyle/>
              <a:p>
                <a:endParaRPr lang="de-DE" dirty="0"/>
              </a:p>
            </p:txBody>
          </p:sp>
          <p:sp>
            <p:nvSpPr>
              <p:cNvPr id="441" name="Freeform 79">
                <a:extLst>
                  <a:ext uri="{FF2B5EF4-FFF2-40B4-BE49-F238E27FC236}">
                    <a16:creationId xmlns:a16="http://schemas.microsoft.com/office/drawing/2014/main" id="{CFBB6766-91BA-D95E-186F-65DC578EC63E}"/>
                  </a:ext>
                </a:extLst>
              </p:cNvPr>
              <p:cNvSpPr>
                <a:spLocks/>
              </p:cNvSpPr>
              <p:nvPr/>
            </p:nvSpPr>
            <p:spPr bwMode="gray">
              <a:xfrm>
                <a:off x="2802961" y="4274107"/>
                <a:ext cx="67128" cy="87022"/>
              </a:xfrm>
              <a:custGeom>
                <a:avLst/>
                <a:gdLst>
                  <a:gd name="T0" fmla="*/ 40 w 48"/>
                  <a:gd name="T1" fmla="*/ 24 h 59"/>
                  <a:gd name="T2" fmla="*/ 47 w 48"/>
                  <a:gd name="T3" fmla="*/ 33 h 59"/>
                  <a:gd name="T4" fmla="*/ 31 w 48"/>
                  <a:gd name="T5" fmla="*/ 48 h 59"/>
                  <a:gd name="T6" fmla="*/ 24 w 48"/>
                  <a:gd name="T7" fmla="*/ 58 h 59"/>
                  <a:gd name="T8" fmla="*/ 0 w 48"/>
                  <a:gd name="T9" fmla="*/ 48 h 59"/>
                  <a:gd name="T10" fmla="*/ 6 w 48"/>
                  <a:gd name="T11" fmla="*/ 24 h 59"/>
                  <a:gd name="T12" fmla="*/ 24 w 48"/>
                  <a:gd name="T13" fmla="*/ 24 h 59"/>
                  <a:gd name="T14" fmla="*/ 6 w 48"/>
                  <a:gd name="T15" fmla="*/ 8 h 59"/>
                  <a:gd name="T16" fmla="*/ 15 w 48"/>
                  <a:gd name="T17" fmla="*/ 0 h 59"/>
                  <a:gd name="T18" fmla="*/ 40 w 48"/>
                  <a:gd name="T19" fmla="*/ 0 h 59"/>
                  <a:gd name="T20" fmla="*/ 40 w 48"/>
                  <a:gd name="T21"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6350" cap="rnd" cmpd="sng">
                <a:solidFill>
                  <a:srgbClr val="D0D0D0"/>
                </a:solidFill>
                <a:prstDash val="solid"/>
                <a:round/>
                <a:headEnd/>
                <a:tailEnd/>
              </a:ln>
              <a:effectLst/>
            </p:spPr>
            <p:txBody>
              <a:bodyPr/>
              <a:lstStyle/>
              <a:p>
                <a:endParaRPr lang="de-DE" dirty="0"/>
              </a:p>
            </p:txBody>
          </p:sp>
          <p:sp>
            <p:nvSpPr>
              <p:cNvPr id="442" name="Freeform 80">
                <a:extLst>
                  <a:ext uri="{FF2B5EF4-FFF2-40B4-BE49-F238E27FC236}">
                    <a16:creationId xmlns:a16="http://schemas.microsoft.com/office/drawing/2014/main" id="{68DA13F3-3429-733C-694A-65F5B0D3761C}"/>
                  </a:ext>
                </a:extLst>
              </p:cNvPr>
              <p:cNvSpPr>
                <a:spLocks/>
              </p:cNvSpPr>
              <p:nvPr/>
            </p:nvSpPr>
            <p:spPr bwMode="gray">
              <a:xfrm>
                <a:off x="2846536" y="4323133"/>
                <a:ext cx="115412" cy="47801"/>
              </a:xfrm>
              <a:custGeom>
                <a:avLst/>
                <a:gdLst>
                  <a:gd name="T0" fmla="*/ 16 w 82"/>
                  <a:gd name="T1" fmla="*/ 0 h 33"/>
                  <a:gd name="T2" fmla="*/ 59 w 82"/>
                  <a:gd name="T3" fmla="*/ 0 h 33"/>
                  <a:gd name="T4" fmla="*/ 81 w 82"/>
                  <a:gd name="T5" fmla="*/ 7 h 33"/>
                  <a:gd name="T6" fmla="*/ 65 w 82"/>
                  <a:gd name="T7" fmla="*/ 15 h 33"/>
                  <a:gd name="T8" fmla="*/ 34 w 82"/>
                  <a:gd name="T9" fmla="*/ 32 h 33"/>
                  <a:gd name="T10" fmla="*/ 25 w 82"/>
                  <a:gd name="T11" fmla="*/ 32 h 33"/>
                  <a:gd name="T12" fmla="*/ 25 w 82"/>
                  <a:gd name="T13" fmla="*/ 25 h 33"/>
                  <a:gd name="T14" fmla="*/ 0 w 82"/>
                  <a:gd name="T15" fmla="*/ 15 h 33"/>
                  <a:gd name="T16" fmla="*/ 16 w 82"/>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grpFill/>
              <a:ln w="6350" cap="rnd" cmpd="sng">
                <a:solidFill>
                  <a:srgbClr val="D0D0D0"/>
                </a:solidFill>
                <a:prstDash val="solid"/>
                <a:round/>
                <a:headEnd/>
                <a:tailEnd/>
              </a:ln>
              <a:effectLst/>
            </p:spPr>
            <p:txBody>
              <a:bodyPr/>
              <a:lstStyle/>
              <a:p>
                <a:endParaRPr lang="de-DE" dirty="0"/>
              </a:p>
            </p:txBody>
          </p:sp>
          <p:sp>
            <p:nvSpPr>
              <p:cNvPr id="443" name="Freeform 81">
                <a:extLst>
                  <a:ext uri="{FF2B5EF4-FFF2-40B4-BE49-F238E27FC236}">
                    <a16:creationId xmlns:a16="http://schemas.microsoft.com/office/drawing/2014/main" id="{056480EE-5722-252F-48DD-94BFAEEC12A0}"/>
                  </a:ext>
                </a:extLst>
              </p:cNvPr>
              <p:cNvSpPr>
                <a:spLocks/>
              </p:cNvSpPr>
              <p:nvPr/>
            </p:nvSpPr>
            <p:spPr bwMode="gray">
              <a:xfrm>
                <a:off x="2837114" y="4345195"/>
                <a:ext cx="45930" cy="25739"/>
              </a:xfrm>
              <a:custGeom>
                <a:avLst/>
                <a:gdLst>
                  <a:gd name="T0" fmla="*/ 7 w 33"/>
                  <a:gd name="T1" fmla="*/ 0 h 18"/>
                  <a:gd name="T2" fmla="*/ 0 w 33"/>
                  <a:gd name="T3" fmla="*/ 10 h 18"/>
                  <a:gd name="T4" fmla="*/ 7 w 33"/>
                  <a:gd name="T5" fmla="*/ 17 h 18"/>
                  <a:gd name="T6" fmla="*/ 32 w 33"/>
                  <a:gd name="T7" fmla="*/ 17 h 18"/>
                  <a:gd name="T8" fmla="*/ 32 w 33"/>
                  <a:gd name="T9" fmla="*/ 10 h 18"/>
                  <a:gd name="T10" fmla="*/ 7 w 33"/>
                  <a:gd name="T11" fmla="*/ 0 h 18"/>
                </a:gdLst>
                <a:ahLst/>
                <a:cxnLst>
                  <a:cxn ang="0">
                    <a:pos x="T0" y="T1"/>
                  </a:cxn>
                  <a:cxn ang="0">
                    <a:pos x="T2" y="T3"/>
                  </a:cxn>
                  <a:cxn ang="0">
                    <a:pos x="T4" y="T5"/>
                  </a:cxn>
                  <a:cxn ang="0">
                    <a:pos x="T6" y="T7"/>
                  </a:cxn>
                  <a:cxn ang="0">
                    <a:pos x="T8" y="T9"/>
                  </a:cxn>
                  <a:cxn ang="0">
                    <a:pos x="T10" y="T11"/>
                  </a:cxn>
                </a:cxnLst>
                <a:rect l="0" t="0" r="r" b="b"/>
                <a:pathLst>
                  <a:path w="33" h="18">
                    <a:moveTo>
                      <a:pt x="7" y="0"/>
                    </a:moveTo>
                    <a:lnTo>
                      <a:pt x="0" y="10"/>
                    </a:lnTo>
                    <a:lnTo>
                      <a:pt x="7" y="17"/>
                    </a:lnTo>
                    <a:lnTo>
                      <a:pt x="32" y="17"/>
                    </a:lnTo>
                    <a:lnTo>
                      <a:pt x="32" y="10"/>
                    </a:lnTo>
                    <a:lnTo>
                      <a:pt x="7" y="0"/>
                    </a:lnTo>
                  </a:path>
                </a:pathLst>
              </a:custGeom>
              <a:grpFill/>
              <a:ln w="6350" cap="rnd" cmpd="sng">
                <a:solidFill>
                  <a:srgbClr val="D0D0D0"/>
                </a:solidFill>
                <a:prstDash val="solid"/>
                <a:round/>
                <a:headEnd/>
                <a:tailEnd/>
              </a:ln>
              <a:effectLst/>
            </p:spPr>
            <p:txBody>
              <a:bodyPr/>
              <a:lstStyle/>
              <a:p>
                <a:endParaRPr lang="de-DE" dirty="0"/>
              </a:p>
            </p:txBody>
          </p:sp>
          <p:sp>
            <p:nvSpPr>
              <p:cNvPr id="444" name="Freeform 82">
                <a:extLst>
                  <a:ext uri="{FF2B5EF4-FFF2-40B4-BE49-F238E27FC236}">
                    <a16:creationId xmlns:a16="http://schemas.microsoft.com/office/drawing/2014/main" id="{136FF160-50F8-1BD1-1CC6-286D5358B5BE}"/>
                  </a:ext>
                </a:extLst>
              </p:cNvPr>
              <p:cNvSpPr>
                <a:spLocks/>
              </p:cNvSpPr>
              <p:nvPr/>
            </p:nvSpPr>
            <p:spPr bwMode="gray">
              <a:xfrm>
                <a:off x="2894821" y="4332939"/>
                <a:ext cx="67128" cy="87022"/>
              </a:xfrm>
              <a:custGeom>
                <a:avLst/>
                <a:gdLst>
                  <a:gd name="T0" fmla="*/ 47 w 48"/>
                  <a:gd name="T1" fmla="*/ 0 h 59"/>
                  <a:gd name="T2" fmla="*/ 47 w 48"/>
                  <a:gd name="T3" fmla="*/ 8 h 59"/>
                  <a:gd name="T4" fmla="*/ 40 w 48"/>
                  <a:gd name="T5" fmla="*/ 50 h 59"/>
                  <a:gd name="T6" fmla="*/ 47 w 48"/>
                  <a:gd name="T7" fmla="*/ 58 h 59"/>
                  <a:gd name="T8" fmla="*/ 40 w 48"/>
                  <a:gd name="T9" fmla="*/ 58 h 59"/>
                  <a:gd name="T10" fmla="*/ 15 w 48"/>
                  <a:gd name="T11" fmla="*/ 50 h 59"/>
                  <a:gd name="T12" fmla="*/ 0 w 48"/>
                  <a:gd name="T13" fmla="*/ 33 h 59"/>
                  <a:gd name="T14" fmla="*/ 0 w 48"/>
                  <a:gd name="T15" fmla="*/ 25 h 59"/>
                  <a:gd name="T16" fmla="*/ 31 w 48"/>
                  <a:gd name="T17" fmla="*/ 8 h 59"/>
                  <a:gd name="T18" fmla="*/ 47 w 48"/>
                  <a:gd name="T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6350" cap="rnd" cmpd="sng">
                <a:solidFill>
                  <a:srgbClr val="D0D0D0"/>
                </a:solidFill>
                <a:prstDash val="solid"/>
                <a:round/>
                <a:headEnd/>
                <a:tailEnd/>
              </a:ln>
              <a:effectLst/>
            </p:spPr>
            <p:txBody>
              <a:bodyPr/>
              <a:lstStyle/>
              <a:p>
                <a:endParaRPr lang="de-DE" dirty="0"/>
              </a:p>
            </p:txBody>
          </p:sp>
          <p:sp>
            <p:nvSpPr>
              <p:cNvPr id="445" name="Freeform 83">
                <a:extLst>
                  <a:ext uri="{FF2B5EF4-FFF2-40B4-BE49-F238E27FC236}">
                    <a16:creationId xmlns:a16="http://schemas.microsoft.com/office/drawing/2014/main" id="{54C55974-FBED-8440-E101-BCF07D8D9B60}"/>
                  </a:ext>
                </a:extLst>
              </p:cNvPr>
              <p:cNvSpPr>
                <a:spLocks/>
              </p:cNvSpPr>
              <p:nvPr/>
            </p:nvSpPr>
            <p:spPr bwMode="gray">
              <a:xfrm>
                <a:off x="2916019" y="4406479"/>
                <a:ext cx="58884" cy="60057"/>
              </a:xfrm>
              <a:custGeom>
                <a:avLst/>
                <a:gdLst>
                  <a:gd name="T0" fmla="*/ 41 w 42"/>
                  <a:gd name="T1" fmla="*/ 40 h 41"/>
                  <a:gd name="T2" fmla="*/ 41 w 42"/>
                  <a:gd name="T3" fmla="*/ 24 h 41"/>
                  <a:gd name="T4" fmla="*/ 32 w 42"/>
                  <a:gd name="T5" fmla="*/ 15 h 41"/>
                  <a:gd name="T6" fmla="*/ 32 w 42"/>
                  <a:gd name="T7" fmla="*/ 8 h 41"/>
                  <a:gd name="T8" fmla="*/ 25 w 42"/>
                  <a:gd name="T9" fmla="*/ 8 h 41"/>
                  <a:gd name="T10" fmla="*/ 0 w 42"/>
                  <a:gd name="T11" fmla="*/ 0 h 41"/>
                  <a:gd name="T12" fmla="*/ 0 w 42"/>
                  <a:gd name="T13" fmla="*/ 15 h 41"/>
                  <a:gd name="T14" fmla="*/ 10 w 42"/>
                  <a:gd name="T15" fmla="*/ 24 h 41"/>
                  <a:gd name="T16" fmla="*/ 16 w 42"/>
                  <a:gd name="T17" fmla="*/ 15 h 41"/>
                  <a:gd name="T18" fmla="*/ 25 w 42"/>
                  <a:gd name="T19" fmla="*/ 31 h 41"/>
                  <a:gd name="T20" fmla="*/ 41 w 42"/>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6350" cap="rnd" cmpd="sng">
                <a:solidFill>
                  <a:srgbClr val="D0D0D0"/>
                </a:solidFill>
                <a:prstDash val="solid"/>
                <a:round/>
                <a:headEnd/>
                <a:tailEnd/>
              </a:ln>
              <a:effectLst/>
            </p:spPr>
            <p:txBody>
              <a:bodyPr/>
              <a:lstStyle/>
              <a:p>
                <a:endParaRPr lang="de-DE" dirty="0"/>
              </a:p>
            </p:txBody>
          </p:sp>
          <p:sp>
            <p:nvSpPr>
              <p:cNvPr id="446" name="Freeform 84">
                <a:extLst>
                  <a:ext uri="{FF2B5EF4-FFF2-40B4-BE49-F238E27FC236}">
                    <a16:creationId xmlns:a16="http://schemas.microsoft.com/office/drawing/2014/main" id="{AF22F34F-539F-3AA5-E04A-D7D4C9090636}"/>
                  </a:ext>
                </a:extLst>
              </p:cNvPr>
              <p:cNvSpPr>
                <a:spLocks/>
              </p:cNvSpPr>
              <p:nvPr/>
            </p:nvSpPr>
            <p:spPr bwMode="gray">
              <a:xfrm>
                <a:off x="2973725" y="4440797"/>
                <a:ext cx="58884" cy="47801"/>
              </a:xfrm>
              <a:custGeom>
                <a:avLst/>
                <a:gdLst>
                  <a:gd name="T0" fmla="*/ 0 w 42"/>
                  <a:gd name="T1" fmla="*/ 16 h 32"/>
                  <a:gd name="T2" fmla="*/ 24 w 42"/>
                  <a:gd name="T3" fmla="*/ 25 h 32"/>
                  <a:gd name="T4" fmla="*/ 24 w 42"/>
                  <a:gd name="T5" fmla="*/ 31 h 32"/>
                  <a:gd name="T6" fmla="*/ 32 w 42"/>
                  <a:gd name="T7" fmla="*/ 25 h 32"/>
                  <a:gd name="T8" fmla="*/ 24 w 42"/>
                  <a:gd name="T9" fmla="*/ 16 h 32"/>
                  <a:gd name="T10" fmla="*/ 41 w 42"/>
                  <a:gd name="T11" fmla="*/ 7 h 32"/>
                  <a:gd name="T12" fmla="*/ 32 w 42"/>
                  <a:gd name="T13" fmla="*/ 0 h 32"/>
                  <a:gd name="T14" fmla="*/ 16 w 42"/>
                  <a:gd name="T15" fmla="*/ 7 h 32"/>
                  <a:gd name="T16" fmla="*/ 9 w 42"/>
                  <a:gd name="T17" fmla="*/ 7 h 32"/>
                  <a:gd name="T18" fmla="*/ 0 w 42"/>
                  <a:gd name="T19" fmla="*/ 0 h 32"/>
                  <a:gd name="T20" fmla="*/ 0 w 42"/>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6350" cap="rnd" cmpd="sng">
                <a:solidFill>
                  <a:srgbClr val="D0D0D0"/>
                </a:solidFill>
                <a:prstDash val="solid"/>
                <a:round/>
                <a:headEnd/>
                <a:tailEnd/>
              </a:ln>
              <a:effectLst/>
            </p:spPr>
            <p:txBody>
              <a:bodyPr/>
              <a:lstStyle/>
              <a:p>
                <a:endParaRPr lang="de-DE" dirty="0"/>
              </a:p>
            </p:txBody>
          </p:sp>
          <p:sp>
            <p:nvSpPr>
              <p:cNvPr id="447" name="Freeform 85">
                <a:extLst>
                  <a:ext uri="{FF2B5EF4-FFF2-40B4-BE49-F238E27FC236}">
                    <a16:creationId xmlns:a16="http://schemas.microsoft.com/office/drawing/2014/main" id="{C847BBE2-8660-3FB7-12BB-D8F4A71CBE57}"/>
                  </a:ext>
                </a:extLst>
              </p:cNvPr>
              <p:cNvSpPr>
                <a:spLocks/>
              </p:cNvSpPr>
              <p:nvPr/>
            </p:nvSpPr>
            <p:spPr bwMode="gray">
              <a:xfrm>
                <a:off x="3031431" y="4440797"/>
                <a:ext cx="44752" cy="47801"/>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6350" cap="rnd" cmpd="sng">
                <a:solidFill>
                  <a:srgbClr val="D0D0D0"/>
                </a:solidFill>
                <a:prstDash val="solid"/>
                <a:round/>
                <a:headEnd/>
                <a:tailEnd/>
              </a:ln>
              <a:effectLst/>
            </p:spPr>
            <p:txBody>
              <a:bodyPr/>
              <a:lstStyle/>
              <a:p>
                <a:endParaRPr lang="de-DE" dirty="0"/>
              </a:p>
            </p:txBody>
          </p:sp>
          <p:sp>
            <p:nvSpPr>
              <p:cNvPr id="448" name="Freeform 86">
                <a:extLst>
                  <a:ext uri="{FF2B5EF4-FFF2-40B4-BE49-F238E27FC236}">
                    <a16:creationId xmlns:a16="http://schemas.microsoft.com/office/drawing/2014/main" id="{A14FF0A6-4D09-5BFE-6C78-4DFD7975434F}"/>
                  </a:ext>
                </a:extLst>
              </p:cNvPr>
              <p:cNvSpPr>
                <a:spLocks/>
              </p:cNvSpPr>
              <p:nvPr/>
            </p:nvSpPr>
            <p:spPr bwMode="gray">
              <a:xfrm>
                <a:off x="3031431" y="4440797"/>
                <a:ext cx="44752" cy="47801"/>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49" name="Freeform 87">
                <a:extLst>
                  <a:ext uri="{FF2B5EF4-FFF2-40B4-BE49-F238E27FC236}">
                    <a16:creationId xmlns:a16="http://schemas.microsoft.com/office/drawing/2014/main" id="{BC524E13-2184-8262-0C24-6E31EB9A63DF}"/>
                  </a:ext>
                </a:extLst>
              </p:cNvPr>
              <p:cNvSpPr>
                <a:spLocks/>
              </p:cNvSpPr>
              <p:nvPr/>
            </p:nvSpPr>
            <p:spPr bwMode="gray">
              <a:xfrm>
                <a:off x="3018476" y="4440797"/>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grpFill/>
              <a:ln w="6350" cap="rnd" cmpd="sng">
                <a:solidFill>
                  <a:srgbClr val="D0D0D0"/>
                </a:solidFill>
                <a:prstDash val="solid"/>
                <a:round/>
                <a:headEnd/>
                <a:tailEnd/>
              </a:ln>
              <a:effectLst/>
            </p:spPr>
            <p:txBody>
              <a:bodyPr/>
              <a:lstStyle/>
              <a:p>
                <a:endParaRPr lang="de-DE" dirty="0"/>
              </a:p>
            </p:txBody>
          </p:sp>
          <p:sp>
            <p:nvSpPr>
              <p:cNvPr id="450" name="Freeform 88">
                <a:extLst>
                  <a:ext uri="{FF2B5EF4-FFF2-40B4-BE49-F238E27FC236}">
                    <a16:creationId xmlns:a16="http://schemas.microsoft.com/office/drawing/2014/main" id="{0755CBB4-F9A0-4EDC-0547-7943FC49CBEC}"/>
                  </a:ext>
                </a:extLst>
              </p:cNvPr>
              <p:cNvSpPr>
                <a:spLocks/>
              </p:cNvSpPr>
              <p:nvPr/>
            </p:nvSpPr>
            <p:spPr bwMode="gray">
              <a:xfrm>
                <a:off x="3018476" y="4440797"/>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51" name="Freeform 89">
                <a:extLst>
                  <a:ext uri="{FF2B5EF4-FFF2-40B4-BE49-F238E27FC236}">
                    <a16:creationId xmlns:a16="http://schemas.microsoft.com/office/drawing/2014/main" id="{09CCB211-3981-546A-DEF5-7EE912E607C9}"/>
                  </a:ext>
                </a:extLst>
              </p:cNvPr>
              <p:cNvSpPr>
                <a:spLocks/>
              </p:cNvSpPr>
              <p:nvPr/>
            </p:nvSpPr>
            <p:spPr bwMode="gray">
              <a:xfrm>
                <a:off x="3018476" y="4440797"/>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grpFill/>
              <a:ln w="6350" cap="rnd" cmpd="sng">
                <a:solidFill>
                  <a:srgbClr val="D0D0D0"/>
                </a:solidFill>
                <a:prstDash val="solid"/>
                <a:round/>
                <a:headEnd/>
                <a:tailEnd/>
              </a:ln>
              <a:effectLst/>
            </p:spPr>
            <p:txBody>
              <a:bodyPr/>
              <a:lstStyle/>
              <a:p>
                <a:endParaRPr lang="de-DE" dirty="0"/>
              </a:p>
            </p:txBody>
          </p:sp>
          <p:sp>
            <p:nvSpPr>
              <p:cNvPr id="452" name="Freeform 90">
                <a:extLst>
                  <a:ext uri="{FF2B5EF4-FFF2-40B4-BE49-F238E27FC236}">
                    <a16:creationId xmlns:a16="http://schemas.microsoft.com/office/drawing/2014/main" id="{0AC28B91-F198-BBB6-A9AA-20C3AB6FC36F}"/>
                  </a:ext>
                </a:extLst>
              </p:cNvPr>
              <p:cNvSpPr>
                <a:spLocks/>
              </p:cNvSpPr>
              <p:nvPr/>
            </p:nvSpPr>
            <p:spPr bwMode="gray">
              <a:xfrm>
                <a:off x="3165685" y="4241014"/>
                <a:ext cx="70660" cy="46574"/>
              </a:xfrm>
              <a:custGeom>
                <a:avLst/>
                <a:gdLst>
                  <a:gd name="T0" fmla="*/ 0 w 50"/>
                  <a:gd name="T1" fmla="*/ 23 h 32"/>
                  <a:gd name="T2" fmla="*/ 0 w 50"/>
                  <a:gd name="T3" fmla="*/ 0 h 32"/>
                  <a:gd name="T4" fmla="*/ 24 w 50"/>
                  <a:gd name="T5" fmla="*/ 0 h 32"/>
                  <a:gd name="T6" fmla="*/ 24 w 50"/>
                  <a:gd name="T7" fmla="*/ 6 h 32"/>
                  <a:gd name="T8" fmla="*/ 34 w 50"/>
                  <a:gd name="T9" fmla="*/ 6 h 32"/>
                  <a:gd name="T10" fmla="*/ 49 w 50"/>
                  <a:gd name="T11" fmla="*/ 16 h 32"/>
                  <a:gd name="T12" fmla="*/ 41 w 50"/>
                  <a:gd name="T13" fmla="*/ 23 h 32"/>
                  <a:gd name="T14" fmla="*/ 41 w 50"/>
                  <a:gd name="T15" fmla="*/ 16 h 32"/>
                  <a:gd name="T16" fmla="*/ 18 w 50"/>
                  <a:gd name="T17" fmla="*/ 23 h 32"/>
                  <a:gd name="T18" fmla="*/ 18 w 50"/>
                  <a:gd name="T19" fmla="*/ 16 h 32"/>
                  <a:gd name="T20" fmla="*/ 9 w 50"/>
                  <a:gd name="T21" fmla="*/ 23 h 32"/>
                  <a:gd name="T22" fmla="*/ 9 w 50"/>
                  <a:gd name="T23" fmla="*/ 31 h 32"/>
                  <a:gd name="T24" fmla="*/ 0 w 50"/>
                  <a:gd name="T2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6350" cap="rnd" cmpd="sng">
                <a:solidFill>
                  <a:srgbClr val="D0D0D0"/>
                </a:solidFill>
                <a:prstDash val="solid"/>
                <a:round/>
                <a:headEnd/>
                <a:tailEnd/>
              </a:ln>
              <a:effectLst/>
            </p:spPr>
            <p:txBody>
              <a:bodyPr/>
              <a:lstStyle/>
              <a:p>
                <a:endParaRPr lang="de-DE" dirty="0"/>
              </a:p>
            </p:txBody>
          </p:sp>
          <p:sp>
            <p:nvSpPr>
              <p:cNvPr id="453" name="Freeform 91">
                <a:extLst>
                  <a:ext uri="{FF2B5EF4-FFF2-40B4-BE49-F238E27FC236}">
                    <a16:creationId xmlns:a16="http://schemas.microsoft.com/office/drawing/2014/main" id="{9CC0F5F4-9527-42B5-7BD4-5A3AF2639A73}"/>
                  </a:ext>
                </a:extLst>
              </p:cNvPr>
              <p:cNvSpPr>
                <a:spLocks/>
              </p:cNvSpPr>
              <p:nvPr/>
            </p:nvSpPr>
            <p:spPr bwMode="gray">
              <a:xfrm>
                <a:off x="3122112" y="4241014"/>
                <a:ext cx="45930" cy="34318"/>
              </a:xfrm>
              <a:custGeom>
                <a:avLst/>
                <a:gdLst>
                  <a:gd name="T0" fmla="*/ 31 w 32"/>
                  <a:gd name="T1" fmla="*/ 23 h 24"/>
                  <a:gd name="T2" fmla="*/ 31 w 32"/>
                  <a:gd name="T3" fmla="*/ 0 h 24"/>
                  <a:gd name="T4" fmla="*/ 15 w 32"/>
                  <a:gd name="T5" fmla="*/ 0 h 24"/>
                  <a:gd name="T6" fmla="*/ 24 w 32"/>
                  <a:gd name="T7" fmla="*/ 16 h 24"/>
                  <a:gd name="T8" fmla="*/ 0 w 32"/>
                  <a:gd name="T9" fmla="*/ 23 h 24"/>
                  <a:gd name="T10" fmla="*/ 6 w 32"/>
                  <a:gd name="T11" fmla="*/ 23 h 24"/>
                  <a:gd name="T12" fmla="*/ 31 w 32"/>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31" y="23"/>
                    </a:moveTo>
                    <a:lnTo>
                      <a:pt x="31" y="0"/>
                    </a:lnTo>
                    <a:lnTo>
                      <a:pt x="15" y="0"/>
                    </a:lnTo>
                    <a:lnTo>
                      <a:pt x="24" y="16"/>
                    </a:lnTo>
                    <a:lnTo>
                      <a:pt x="0" y="23"/>
                    </a:lnTo>
                    <a:lnTo>
                      <a:pt x="6" y="23"/>
                    </a:lnTo>
                    <a:lnTo>
                      <a:pt x="31" y="23"/>
                    </a:lnTo>
                  </a:path>
                </a:pathLst>
              </a:custGeom>
              <a:grpFill/>
              <a:ln w="6350" cap="rnd" cmpd="sng">
                <a:solidFill>
                  <a:srgbClr val="D0D0D0"/>
                </a:solidFill>
                <a:prstDash val="solid"/>
                <a:round/>
                <a:headEnd/>
                <a:tailEnd/>
              </a:ln>
              <a:effectLst/>
            </p:spPr>
            <p:txBody>
              <a:bodyPr/>
              <a:lstStyle/>
              <a:p>
                <a:endParaRPr lang="de-DE" dirty="0"/>
              </a:p>
            </p:txBody>
          </p:sp>
          <p:sp>
            <p:nvSpPr>
              <p:cNvPr id="454" name="Freeform 92">
                <a:extLst>
                  <a:ext uri="{FF2B5EF4-FFF2-40B4-BE49-F238E27FC236}">
                    <a16:creationId xmlns:a16="http://schemas.microsoft.com/office/drawing/2014/main" id="{62F43088-A6C5-CE8B-4949-3E4AE3578BE8}"/>
                  </a:ext>
                </a:extLst>
              </p:cNvPr>
              <p:cNvSpPr>
                <a:spLocks/>
              </p:cNvSpPr>
              <p:nvPr/>
            </p:nvSpPr>
            <p:spPr bwMode="gray">
              <a:xfrm>
                <a:off x="3042030" y="4380740"/>
                <a:ext cx="207271" cy="311318"/>
              </a:xfrm>
              <a:custGeom>
                <a:avLst/>
                <a:gdLst>
                  <a:gd name="T0" fmla="*/ 112 w 147"/>
                  <a:gd name="T1" fmla="*/ 211 h 212"/>
                  <a:gd name="T2" fmla="*/ 122 w 147"/>
                  <a:gd name="T3" fmla="*/ 178 h 212"/>
                  <a:gd name="T4" fmla="*/ 112 w 147"/>
                  <a:gd name="T5" fmla="*/ 154 h 212"/>
                  <a:gd name="T6" fmla="*/ 122 w 147"/>
                  <a:gd name="T7" fmla="*/ 154 h 212"/>
                  <a:gd name="T8" fmla="*/ 112 w 147"/>
                  <a:gd name="T9" fmla="*/ 146 h 212"/>
                  <a:gd name="T10" fmla="*/ 112 w 147"/>
                  <a:gd name="T11" fmla="*/ 137 h 212"/>
                  <a:gd name="T12" fmla="*/ 146 w 147"/>
                  <a:gd name="T13" fmla="*/ 137 h 212"/>
                  <a:gd name="T14" fmla="*/ 146 w 147"/>
                  <a:gd name="T15" fmla="*/ 122 h 212"/>
                  <a:gd name="T16" fmla="*/ 137 w 147"/>
                  <a:gd name="T17" fmla="*/ 106 h 212"/>
                  <a:gd name="T18" fmla="*/ 146 w 147"/>
                  <a:gd name="T19" fmla="*/ 81 h 212"/>
                  <a:gd name="T20" fmla="*/ 122 w 147"/>
                  <a:gd name="T21" fmla="*/ 81 h 212"/>
                  <a:gd name="T22" fmla="*/ 112 w 147"/>
                  <a:gd name="T23" fmla="*/ 72 h 212"/>
                  <a:gd name="T24" fmla="*/ 88 w 147"/>
                  <a:gd name="T25" fmla="*/ 72 h 212"/>
                  <a:gd name="T26" fmla="*/ 81 w 147"/>
                  <a:gd name="T27" fmla="*/ 66 h 212"/>
                  <a:gd name="T28" fmla="*/ 81 w 147"/>
                  <a:gd name="T29" fmla="*/ 57 h 212"/>
                  <a:gd name="T30" fmla="*/ 72 w 147"/>
                  <a:gd name="T31" fmla="*/ 41 h 212"/>
                  <a:gd name="T32" fmla="*/ 81 w 147"/>
                  <a:gd name="T33" fmla="*/ 25 h 212"/>
                  <a:gd name="T34" fmla="*/ 88 w 147"/>
                  <a:gd name="T35" fmla="*/ 17 h 212"/>
                  <a:gd name="T36" fmla="*/ 97 w 147"/>
                  <a:gd name="T37" fmla="*/ 7 h 212"/>
                  <a:gd name="T38" fmla="*/ 88 w 147"/>
                  <a:gd name="T39" fmla="*/ 0 h 212"/>
                  <a:gd name="T40" fmla="*/ 72 w 147"/>
                  <a:gd name="T41" fmla="*/ 17 h 212"/>
                  <a:gd name="T42" fmla="*/ 48 w 147"/>
                  <a:gd name="T43" fmla="*/ 25 h 212"/>
                  <a:gd name="T44" fmla="*/ 40 w 147"/>
                  <a:gd name="T45" fmla="*/ 41 h 212"/>
                  <a:gd name="T46" fmla="*/ 23 w 147"/>
                  <a:gd name="T47" fmla="*/ 48 h 212"/>
                  <a:gd name="T48" fmla="*/ 23 w 147"/>
                  <a:gd name="T49" fmla="*/ 66 h 212"/>
                  <a:gd name="T50" fmla="*/ 16 w 147"/>
                  <a:gd name="T51" fmla="*/ 48 h 212"/>
                  <a:gd name="T52" fmla="*/ 23 w 147"/>
                  <a:gd name="T53" fmla="*/ 57 h 212"/>
                  <a:gd name="T54" fmla="*/ 16 w 147"/>
                  <a:gd name="T55" fmla="*/ 66 h 212"/>
                  <a:gd name="T56" fmla="*/ 16 w 147"/>
                  <a:gd name="T57" fmla="*/ 72 h 212"/>
                  <a:gd name="T58" fmla="*/ 16 w 147"/>
                  <a:gd name="T59" fmla="*/ 81 h 212"/>
                  <a:gd name="T60" fmla="*/ 16 w 147"/>
                  <a:gd name="T61" fmla="*/ 113 h 212"/>
                  <a:gd name="T62" fmla="*/ 23 w 147"/>
                  <a:gd name="T63" fmla="*/ 113 h 212"/>
                  <a:gd name="T64" fmla="*/ 16 w 147"/>
                  <a:gd name="T65" fmla="*/ 131 h 212"/>
                  <a:gd name="T66" fmla="*/ 7 w 147"/>
                  <a:gd name="T67" fmla="*/ 131 h 212"/>
                  <a:gd name="T68" fmla="*/ 7 w 147"/>
                  <a:gd name="T69" fmla="*/ 137 h 212"/>
                  <a:gd name="T70" fmla="*/ 0 w 147"/>
                  <a:gd name="T71" fmla="*/ 137 h 212"/>
                  <a:gd name="T72" fmla="*/ 0 w 147"/>
                  <a:gd name="T73" fmla="*/ 146 h 212"/>
                  <a:gd name="T74" fmla="*/ 23 w 147"/>
                  <a:gd name="T75" fmla="*/ 162 h 212"/>
                  <a:gd name="T76" fmla="*/ 40 w 147"/>
                  <a:gd name="T77" fmla="*/ 154 h 212"/>
                  <a:gd name="T78" fmla="*/ 48 w 147"/>
                  <a:gd name="T79" fmla="*/ 162 h 212"/>
                  <a:gd name="T80" fmla="*/ 63 w 147"/>
                  <a:gd name="T81" fmla="*/ 178 h 212"/>
                  <a:gd name="T82" fmla="*/ 72 w 147"/>
                  <a:gd name="T83" fmla="*/ 194 h 212"/>
                  <a:gd name="T84" fmla="*/ 106 w 147"/>
                  <a:gd name="T85" fmla="*/ 187 h 212"/>
                  <a:gd name="T86" fmla="*/ 112 w 147"/>
                  <a:gd name="T87" fmla="*/ 194 h 212"/>
                  <a:gd name="T88" fmla="*/ 112 w 147"/>
                  <a:gd name="T89" fmla="*/ 203 h 212"/>
                  <a:gd name="T90" fmla="*/ 106 w 147"/>
                  <a:gd name="T91" fmla="*/ 203 h 212"/>
                  <a:gd name="T92" fmla="*/ 112 w 147"/>
                  <a:gd name="T93" fmla="*/ 21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55" name="Freeform 93">
                <a:extLst>
                  <a:ext uri="{FF2B5EF4-FFF2-40B4-BE49-F238E27FC236}">
                    <a16:creationId xmlns:a16="http://schemas.microsoft.com/office/drawing/2014/main" id="{8A3B777F-DC57-9BB9-2E47-FE24716A394F}"/>
                  </a:ext>
                </a:extLst>
              </p:cNvPr>
              <p:cNvSpPr>
                <a:spLocks/>
              </p:cNvSpPr>
              <p:nvPr/>
            </p:nvSpPr>
            <p:spPr bwMode="gray">
              <a:xfrm>
                <a:off x="3006700" y="4595230"/>
                <a:ext cx="104813" cy="120114"/>
              </a:xfrm>
              <a:custGeom>
                <a:avLst/>
                <a:gdLst>
                  <a:gd name="T0" fmla="*/ 73 w 74"/>
                  <a:gd name="T1" fmla="*/ 16 h 82"/>
                  <a:gd name="T2" fmla="*/ 65 w 74"/>
                  <a:gd name="T3" fmla="*/ 8 h 82"/>
                  <a:gd name="T4" fmla="*/ 48 w 74"/>
                  <a:gd name="T5" fmla="*/ 16 h 82"/>
                  <a:gd name="T6" fmla="*/ 25 w 74"/>
                  <a:gd name="T7" fmla="*/ 0 h 82"/>
                  <a:gd name="T8" fmla="*/ 8 w 74"/>
                  <a:gd name="T9" fmla="*/ 8 h 82"/>
                  <a:gd name="T10" fmla="*/ 8 w 74"/>
                  <a:gd name="T11" fmla="*/ 16 h 82"/>
                  <a:gd name="T12" fmla="*/ 0 w 74"/>
                  <a:gd name="T13" fmla="*/ 25 h 82"/>
                  <a:gd name="T14" fmla="*/ 0 w 74"/>
                  <a:gd name="T15" fmla="*/ 41 h 82"/>
                  <a:gd name="T16" fmla="*/ 8 w 74"/>
                  <a:gd name="T17" fmla="*/ 57 h 82"/>
                  <a:gd name="T18" fmla="*/ 8 w 74"/>
                  <a:gd name="T19" fmla="*/ 48 h 82"/>
                  <a:gd name="T20" fmla="*/ 17 w 74"/>
                  <a:gd name="T21" fmla="*/ 48 h 82"/>
                  <a:gd name="T22" fmla="*/ 8 w 74"/>
                  <a:gd name="T23" fmla="*/ 57 h 82"/>
                  <a:gd name="T24" fmla="*/ 0 w 74"/>
                  <a:gd name="T25" fmla="*/ 73 h 82"/>
                  <a:gd name="T26" fmla="*/ 17 w 74"/>
                  <a:gd name="T27" fmla="*/ 81 h 82"/>
                  <a:gd name="T28" fmla="*/ 41 w 74"/>
                  <a:gd name="T29" fmla="*/ 57 h 82"/>
                  <a:gd name="T30" fmla="*/ 57 w 74"/>
                  <a:gd name="T31" fmla="*/ 48 h 82"/>
                  <a:gd name="T32" fmla="*/ 65 w 74"/>
                  <a:gd name="T33" fmla="*/ 41 h 82"/>
                  <a:gd name="T34" fmla="*/ 73 w 74"/>
                  <a:gd name="T35" fmla="*/ 25 h 82"/>
                  <a:gd name="T36" fmla="*/ 65 w 74"/>
                  <a:gd name="T37" fmla="*/ 16 h 82"/>
                  <a:gd name="T38" fmla="*/ 73 w 74"/>
                  <a:gd name="T3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56" name="Freeform 94">
                <a:extLst>
                  <a:ext uri="{FF2B5EF4-FFF2-40B4-BE49-F238E27FC236}">
                    <a16:creationId xmlns:a16="http://schemas.microsoft.com/office/drawing/2014/main" id="{3A15B410-E763-BFE9-017B-8D45993A4B69}"/>
                  </a:ext>
                </a:extLst>
              </p:cNvPr>
              <p:cNvSpPr>
                <a:spLocks/>
              </p:cNvSpPr>
              <p:nvPr/>
            </p:nvSpPr>
            <p:spPr bwMode="gray">
              <a:xfrm>
                <a:off x="2996101" y="4618519"/>
                <a:ext cx="229647" cy="344410"/>
              </a:xfrm>
              <a:custGeom>
                <a:avLst/>
                <a:gdLst>
                  <a:gd name="T0" fmla="*/ 155 w 163"/>
                  <a:gd name="T1" fmla="*/ 137 h 235"/>
                  <a:gd name="T2" fmla="*/ 139 w 163"/>
                  <a:gd name="T3" fmla="*/ 137 h 235"/>
                  <a:gd name="T4" fmla="*/ 139 w 163"/>
                  <a:gd name="T5" fmla="*/ 122 h 235"/>
                  <a:gd name="T6" fmla="*/ 121 w 163"/>
                  <a:gd name="T7" fmla="*/ 131 h 235"/>
                  <a:gd name="T8" fmla="*/ 105 w 163"/>
                  <a:gd name="T9" fmla="*/ 122 h 235"/>
                  <a:gd name="T10" fmla="*/ 96 w 163"/>
                  <a:gd name="T11" fmla="*/ 97 h 235"/>
                  <a:gd name="T12" fmla="*/ 114 w 163"/>
                  <a:gd name="T13" fmla="*/ 65 h 235"/>
                  <a:gd name="T14" fmla="*/ 145 w 163"/>
                  <a:gd name="T15" fmla="*/ 49 h 235"/>
                  <a:gd name="T16" fmla="*/ 139 w 163"/>
                  <a:gd name="T17" fmla="*/ 41 h 235"/>
                  <a:gd name="T18" fmla="*/ 145 w 163"/>
                  <a:gd name="T19" fmla="*/ 41 h 235"/>
                  <a:gd name="T20" fmla="*/ 145 w 163"/>
                  <a:gd name="T21" fmla="*/ 32 h 235"/>
                  <a:gd name="T22" fmla="*/ 139 w 163"/>
                  <a:gd name="T23" fmla="*/ 25 h 235"/>
                  <a:gd name="T24" fmla="*/ 105 w 163"/>
                  <a:gd name="T25" fmla="*/ 32 h 235"/>
                  <a:gd name="T26" fmla="*/ 96 w 163"/>
                  <a:gd name="T27" fmla="*/ 16 h 235"/>
                  <a:gd name="T28" fmla="*/ 81 w 163"/>
                  <a:gd name="T29" fmla="*/ 0 h 235"/>
                  <a:gd name="T30" fmla="*/ 73 w 163"/>
                  <a:gd name="T31" fmla="*/ 0 h 235"/>
                  <a:gd name="T32" fmla="*/ 81 w 163"/>
                  <a:gd name="T33" fmla="*/ 9 h 235"/>
                  <a:gd name="T34" fmla="*/ 73 w 163"/>
                  <a:gd name="T35" fmla="*/ 25 h 235"/>
                  <a:gd name="T36" fmla="*/ 65 w 163"/>
                  <a:gd name="T37" fmla="*/ 32 h 235"/>
                  <a:gd name="T38" fmla="*/ 49 w 163"/>
                  <a:gd name="T39" fmla="*/ 41 h 235"/>
                  <a:gd name="T40" fmla="*/ 25 w 163"/>
                  <a:gd name="T41" fmla="*/ 65 h 235"/>
                  <a:gd name="T42" fmla="*/ 8 w 163"/>
                  <a:gd name="T43" fmla="*/ 57 h 235"/>
                  <a:gd name="T44" fmla="*/ 16 w 163"/>
                  <a:gd name="T45" fmla="*/ 41 h 235"/>
                  <a:gd name="T46" fmla="*/ 0 w 163"/>
                  <a:gd name="T47" fmla="*/ 57 h 235"/>
                  <a:gd name="T48" fmla="*/ 8 w 163"/>
                  <a:gd name="T49" fmla="*/ 72 h 235"/>
                  <a:gd name="T50" fmla="*/ 0 w 163"/>
                  <a:gd name="T51" fmla="*/ 72 h 235"/>
                  <a:gd name="T52" fmla="*/ 16 w 163"/>
                  <a:gd name="T53" fmla="*/ 89 h 235"/>
                  <a:gd name="T54" fmla="*/ 33 w 163"/>
                  <a:gd name="T55" fmla="*/ 106 h 235"/>
                  <a:gd name="T56" fmla="*/ 73 w 163"/>
                  <a:gd name="T57" fmla="*/ 186 h 235"/>
                  <a:gd name="T58" fmla="*/ 139 w 163"/>
                  <a:gd name="T59" fmla="*/ 234 h 235"/>
                  <a:gd name="T60" fmla="*/ 155 w 163"/>
                  <a:gd name="T61" fmla="*/ 227 h 235"/>
                  <a:gd name="T62" fmla="*/ 162 w 163"/>
                  <a:gd name="T63" fmla="*/ 211 h 235"/>
                  <a:gd name="T64" fmla="*/ 155 w 163"/>
                  <a:gd name="T65" fmla="*/ 203 h 235"/>
                  <a:gd name="T66" fmla="*/ 162 w 163"/>
                  <a:gd name="T67" fmla="*/ 154 h 235"/>
                  <a:gd name="T68" fmla="*/ 155 w 163"/>
                  <a:gd name="T69" fmla="*/ 13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57" name="Freeform 95">
                <a:extLst>
                  <a:ext uri="{FF2B5EF4-FFF2-40B4-BE49-F238E27FC236}">
                    <a16:creationId xmlns:a16="http://schemas.microsoft.com/office/drawing/2014/main" id="{99B47309-A98F-06A1-6B15-8810806DE0CE}"/>
                  </a:ext>
                </a:extLst>
              </p:cNvPr>
              <p:cNvSpPr>
                <a:spLocks/>
              </p:cNvSpPr>
              <p:nvPr/>
            </p:nvSpPr>
            <p:spPr bwMode="gray">
              <a:xfrm>
                <a:off x="3213970" y="4797464"/>
                <a:ext cx="207271" cy="261066"/>
              </a:xfrm>
              <a:custGeom>
                <a:avLst/>
                <a:gdLst>
                  <a:gd name="T0" fmla="*/ 146 w 147"/>
                  <a:gd name="T1" fmla="*/ 137 h 178"/>
                  <a:gd name="T2" fmla="*/ 146 w 147"/>
                  <a:gd name="T3" fmla="*/ 112 h 178"/>
                  <a:gd name="T4" fmla="*/ 137 w 147"/>
                  <a:gd name="T5" fmla="*/ 96 h 178"/>
                  <a:gd name="T6" fmla="*/ 137 w 147"/>
                  <a:gd name="T7" fmla="*/ 89 h 178"/>
                  <a:gd name="T8" fmla="*/ 121 w 147"/>
                  <a:gd name="T9" fmla="*/ 89 h 178"/>
                  <a:gd name="T10" fmla="*/ 112 w 147"/>
                  <a:gd name="T11" fmla="*/ 72 h 178"/>
                  <a:gd name="T12" fmla="*/ 112 w 147"/>
                  <a:gd name="T13" fmla="*/ 64 h 178"/>
                  <a:gd name="T14" fmla="*/ 105 w 147"/>
                  <a:gd name="T15" fmla="*/ 49 h 178"/>
                  <a:gd name="T16" fmla="*/ 56 w 147"/>
                  <a:gd name="T17" fmla="*/ 32 h 178"/>
                  <a:gd name="T18" fmla="*/ 49 w 147"/>
                  <a:gd name="T19" fmla="*/ 24 h 178"/>
                  <a:gd name="T20" fmla="*/ 49 w 147"/>
                  <a:gd name="T21" fmla="*/ 0 h 178"/>
                  <a:gd name="T22" fmla="*/ 32 w 147"/>
                  <a:gd name="T23" fmla="*/ 0 h 178"/>
                  <a:gd name="T24" fmla="*/ 15 w 147"/>
                  <a:gd name="T25" fmla="*/ 15 h 178"/>
                  <a:gd name="T26" fmla="*/ 0 w 147"/>
                  <a:gd name="T27" fmla="*/ 15 h 178"/>
                  <a:gd name="T28" fmla="*/ 7 w 147"/>
                  <a:gd name="T29" fmla="*/ 32 h 178"/>
                  <a:gd name="T30" fmla="*/ 0 w 147"/>
                  <a:gd name="T31" fmla="*/ 81 h 178"/>
                  <a:gd name="T32" fmla="*/ 7 w 147"/>
                  <a:gd name="T33" fmla="*/ 89 h 178"/>
                  <a:gd name="T34" fmla="*/ 0 w 147"/>
                  <a:gd name="T35" fmla="*/ 105 h 178"/>
                  <a:gd name="T36" fmla="*/ 7 w 147"/>
                  <a:gd name="T37" fmla="*/ 129 h 178"/>
                  <a:gd name="T38" fmla="*/ 7 w 147"/>
                  <a:gd name="T39" fmla="*/ 137 h 178"/>
                  <a:gd name="T40" fmla="*/ 15 w 147"/>
                  <a:gd name="T41" fmla="*/ 177 h 178"/>
                  <a:gd name="T42" fmla="*/ 24 w 147"/>
                  <a:gd name="T43" fmla="*/ 177 h 178"/>
                  <a:gd name="T44" fmla="*/ 40 w 147"/>
                  <a:gd name="T45" fmla="*/ 161 h 178"/>
                  <a:gd name="T46" fmla="*/ 65 w 147"/>
                  <a:gd name="T47" fmla="*/ 171 h 178"/>
                  <a:gd name="T48" fmla="*/ 72 w 147"/>
                  <a:gd name="T49" fmla="*/ 161 h 178"/>
                  <a:gd name="T50" fmla="*/ 89 w 147"/>
                  <a:gd name="T51" fmla="*/ 171 h 178"/>
                  <a:gd name="T52" fmla="*/ 97 w 147"/>
                  <a:gd name="T53" fmla="*/ 129 h 178"/>
                  <a:gd name="T54" fmla="*/ 129 w 147"/>
                  <a:gd name="T55" fmla="*/ 129 h 178"/>
                  <a:gd name="T56" fmla="*/ 146 w 147"/>
                  <a:gd name="T57" fmla="*/ 13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58" name="Freeform 96">
                <a:extLst>
                  <a:ext uri="{FF2B5EF4-FFF2-40B4-BE49-F238E27FC236}">
                    <a16:creationId xmlns:a16="http://schemas.microsoft.com/office/drawing/2014/main" id="{300EF0B3-2A4C-C9DE-EAA8-2944577C2F5D}"/>
                  </a:ext>
                </a:extLst>
              </p:cNvPr>
              <p:cNvSpPr>
                <a:spLocks/>
              </p:cNvSpPr>
              <p:nvPr/>
            </p:nvSpPr>
            <p:spPr bwMode="gray">
              <a:xfrm>
                <a:off x="3338804" y="4986216"/>
                <a:ext cx="149565" cy="166690"/>
              </a:xfrm>
              <a:custGeom>
                <a:avLst/>
                <a:gdLst>
                  <a:gd name="T0" fmla="*/ 97 w 106"/>
                  <a:gd name="T1" fmla="*/ 82 h 114"/>
                  <a:gd name="T2" fmla="*/ 105 w 106"/>
                  <a:gd name="T3" fmla="*/ 66 h 114"/>
                  <a:gd name="T4" fmla="*/ 88 w 106"/>
                  <a:gd name="T5" fmla="*/ 57 h 114"/>
                  <a:gd name="T6" fmla="*/ 88 w 106"/>
                  <a:gd name="T7" fmla="*/ 42 h 114"/>
                  <a:gd name="T8" fmla="*/ 82 w 106"/>
                  <a:gd name="T9" fmla="*/ 42 h 114"/>
                  <a:gd name="T10" fmla="*/ 57 w 106"/>
                  <a:gd name="T11" fmla="*/ 32 h 114"/>
                  <a:gd name="T12" fmla="*/ 57 w 106"/>
                  <a:gd name="T13" fmla="*/ 8 h 114"/>
                  <a:gd name="T14" fmla="*/ 40 w 106"/>
                  <a:gd name="T15" fmla="*/ 0 h 114"/>
                  <a:gd name="T16" fmla="*/ 8 w 106"/>
                  <a:gd name="T17" fmla="*/ 0 h 114"/>
                  <a:gd name="T18" fmla="*/ 0 w 106"/>
                  <a:gd name="T19" fmla="*/ 42 h 114"/>
                  <a:gd name="T20" fmla="*/ 16 w 106"/>
                  <a:gd name="T21" fmla="*/ 66 h 114"/>
                  <a:gd name="T22" fmla="*/ 40 w 106"/>
                  <a:gd name="T23" fmla="*/ 66 h 114"/>
                  <a:gd name="T24" fmla="*/ 57 w 106"/>
                  <a:gd name="T25" fmla="*/ 82 h 114"/>
                  <a:gd name="T26" fmla="*/ 57 w 106"/>
                  <a:gd name="T27" fmla="*/ 89 h 114"/>
                  <a:gd name="T28" fmla="*/ 48 w 106"/>
                  <a:gd name="T29" fmla="*/ 106 h 114"/>
                  <a:gd name="T30" fmla="*/ 72 w 106"/>
                  <a:gd name="T31" fmla="*/ 113 h 114"/>
                  <a:gd name="T32" fmla="*/ 82 w 106"/>
                  <a:gd name="T33" fmla="*/ 106 h 114"/>
                  <a:gd name="T34" fmla="*/ 97 w 106"/>
                  <a:gd name="T35" fmla="*/ 97 h 114"/>
                  <a:gd name="T36" fmla="*/ 97 w 106"/>
                  <a:gd name="T37"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59" name="Freeform 97">
                <a:extLst>
                  <a:ext uri="{FF2B5EF4-FFF2-40B4-BE49-F238E27FC236}">
                    <a16:creationId xmlns:a16="http://schemas.microsoft.com/office/drawing/2014/main" id="{FF64FFD4-1855-404C-44DC-46E1327ED96A}"/>
                  </a:ext>
                </a:extLst>
              </p:cNvPr>
              <p:cNvSpPr>
                <a:spLocks/>
              </p:cNvSpPr>
              <p:nvPr/>
            </p:nvSpPr>
            <p:spPr bwMode="gray">
              <a:xfrm>
                <a:off x="3407109" y="5211738"/>
                <a:ext cx="104813" cy="96827"/>
              </a:xfrm>
              <a:custGeom>
                <a:avLst/>
                <a:gdLst>
                  <a:gd name="T0" fmla="*/ 65 w 75"/>
                  <a:gd name="T1" fmla="*/ 49 h 66"/>
                  <a:gd name="T2" fmla="*/ 74 w 75"/>
                  <a:gd name="T3" fmla="*/ 31 h 66"/>
                  <a:gd name="T4" fmla="*/ 65 w 75"/>
                  <a:gd name="T5" fmla="*/ 25 h 66"/>
                  <a:gd name="T6" fmla="*/ 40 w 75"/>
                  <a:gd name="T7" fmla="*/ 8 h 66"/>
                  <a:gd name="T8" fmla="*/ 34 w 75"/>
                  <a:gd name="T9" fmla="*/ 8 h 66"/>
                  <a:gd name="T10" fmla="*/ 24 w 75"/>
                  <a:gd name="T11" fmla="*/ 0 h 66"/>
                  <a:gd name="T12" fmla="*/ 15 w 75"/>
                  <a:gd name="T13" fmla="*/ 0 h 66"/>
                  <a:gd name="T14" fmla="*/ 0 w 75"/>
                  <a:gd name="T15" fmla="*/ 56 h 66"/>
                  <a:gd name="T16" fmla="*/ 9 w 75"/>
                  <a:gd name="T17" fmla="*/ 56 h 66"/>
                  <a:gd name="T18" fmla="*/ 34 w 75"/>
                  <a:gd name="T19" fmla="*/ 65 h 66"/>
                  <a:gd name="T20" fmla="*/ 57 w 75"/>
                  <a:gd name="T21" fmla="*/ 65 h 66"/>
                  <a:gd name="T22" fmla="*/ 65 w 75"/>
                  <a:gd name="T23"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6350" cap="rnd" cmpd="sng">
                <a:solidFill>
                  <a:srgbClr val="D0D0D0"/>
                </a:solidFill>
                <a:prstDash val="solid"/>
                <a:round/>
                <a:headEnd/>
                <a:tailEnd/>
              </a:ln>
              <a:effectLst/>
            </p:spPr>
            <p:txBody>
              <a:bodyPr/>
              <a:lstStyle/>
              <a:p>
                <a:endParaRPr lang="de-DE" dirty="0"/>
              </a:p>
            </p:txBody>
          </p:sp>
          <p:sp>
            <p:nvSpPr>
              <p:cNvPr id="460" name="Freeform 98">
                <a:extLst>
                  <a:ext uri="{FF2B5EF4-FFF2-40B4-BE49-F238E27FC236}">
                    <a16:creationId xmlns:a16="http://schemas.microsoft.com/office/drawing/2014/main" id="{2068C829-EA9D-2C0F-C1FD-4A55B556900E}"/>
                  </a:ext>
                </a:extLst>
              </p:cNvPr>
              <p:cNvSpPr>
                <a:spLocks/>
              </p:cNvSpPr>
              <p:nvPr/>
            </p:nvSpPr>
            <p:spPr bwMode="gray">
              <a:xfrm>
                <a:off x="3130355" y="4522916"/>
                <a:ext cx="711316" cy="762362"/>
              </a:xfrm>
              <a:custGeom>
                <a:avLst/>
                <a:gdLst>
                  <a:gd name="T0" fmla="*/ 285 w 505"/>
                  <a:gd name="T1" fmla="*/ 16 h 520"/>
                  <a:gd name="T2" fmla="*/ 261 w 505"/>
                  <a:gd name="T3" fmla="*/ 40 h 520"/>
                  <a:gd name="T4" fmla="*/ 236 w 505"/>
                  <a:gd name="T5" fmla="*/ 34 h 520"/>
                  <a:gd name="T6" fmla="*/ 220 w 505"/>
                  <a:gd name="T7" fmla="*/ 40 h 520"/>
                  <a:gd name="T8" fmla="*/ 188 w 505"/>
                  <a:gd name="T9" fmla="*/ 49 h 520"/>
                  <a:gd name="T10" fmla="*/ 180 w 505"/>
                  <a:gd name="T11" fmla="*/ 9 h 520"/>
                  <a:gd name="T12" fmla="*/ 171 w 505"/>
                  <a:gd name="T13" fmla="*/ 0 h 520"/>
                  <a:gd name="T14" fmla="*/ 140 w 505"/>
                  <a:gd name="T15" fmla="*/ 16 h 520"/>
                  <a:gd name="T16" fmla="*/ 124 w 505"/>
                  <a:gd name="T17" fmla="*/ 16 h 520"/>
                  <a:gd name="T18" fmla="*/ 131 w 505"/>
                  <a:gd name="T19" fmla="*/ 40 h 520"/>
                  <a:gd name="T20" fmla="*/ 99 w 505"/>
                  <a:gd name="T21" fmla="*/ 57 h 520"/>
                  <a:gd name="T22" fmla="*/ 83 w 505"/>
                  <a:gd name="T23" fmla="*/ 40 h 520"/>
                  <a:gd name="T24" fmla="*/ 49 w 505"/>
                  <a:gd name="T25" fmla="*/ 49 h 520"/>
                  <a:gd name="T26" fmla="*/ 49 w 505"/>
                  <a:gd name="T27" fmla="*/ 57 h 520"/>
                  <a:gd name="T28" fmla="*/ 49 w 505"/>
                  <a:gd name="T29" fmla="*/ 114 h 520"/>
                  <a:gd name="T30" fmla="*/ 0 w 505"/>
                  <a:gd name="T31" fmla="*/ 162 h 520"/>
                  <a:gd name="T32" fmla="*/ 25 w 505"/>
                  <a:gd name="T33" fmla="*/ 196 h 520"/>
                  <a:gd name="T34" fmla="*/ 43 w 505"/>
                  <a:gd name="T35" fmla="*/ 202 h 520"/>
                  <a:gd name="T36" fmla="*/ 74 w 505"/>
                  <a:gd name="T37" fmla="*/ 202 h 520"/>
                  <a:gd name="T38" fmla="*/ 108 w 505"/>
                  <a:gd name="T39" fmla="*/ 187 h 520"/>
                  <a:gd name="T40" fmla="*/ 115 w 505"/>
                  <a:gd name="T41" fmla="*/ 219 h 520"/>
                  <a:gd name="T42" fmla="*/ 171 w 505"/>
                  <a:gd name="T43" fmla="*/ 251 h 520"/>
                  <a:gd name="T44" fmla="*/ 180 w 505"/>
                  <a:gd name="T45" fmla="*/ 276 h 520"/>
                  <a:gd name="T46" fmla="*/ 196 w 505"/>
                  <a:gd name="T47" fmla="*/ 283 h 520"/>
                  <a:gd name="T48" fmla="*/ 205 w 505"/>
                  <a:gd name="T49" fmla="*/ 324 h 520"/>
                  <a:gd name="T50" fmla="*/ 230 w 505"/>
                  <a:gd name="T51" fmla="*/ 358 h 520"/>
                  <a:gd name="T52" fmla="*/ 236 w 505"/>
                  <a:gd name="T53" fmla="*/ 373 h 520"/>
                  <a:gd name="T54" fmla="*/ 245 w 505"/>
                  <a:gd name="T55" fmla="*/ 398 h 520"/>
                  <a:gd name="T56" fmla="*/ 261 w 505"/>
                  <a:gd name="T57" fmla="*/ 422 h 520"/>
                  <a:gd name="T58" fmla="*/ 211 w 505"/>
                  <a:gd name="T59" fmla="*/ 470 h 520"/>
                  <a:gd name="T60" fmla="*/ 230 w 505"/>
                  <a:gd name="T61" fmla="*/ 478 h 520"/>
                  <a:gd name="T62" fmla="*/ 261 w 505"/>
                  <a:gd name="T63" fmla="*/ 495 h 520"/>
                  <a:gd name="T64" fmla="*/ 261 w 505"/>
                  <a:gd name="T65" fmla="*/ 519 h 520"/>
                  <a:gd name="T66" fmla="*/ 293 w 505"/>
                  <a:gd name="T67" fmla="*/ 485 h 520"/>
                  <a:gd name="T68" fmla="*/ 326 w 505"/>
                  <a:gd name="T69" fmla="*/ 438 h 520"/>
                  <a:gd name="T70" fmla="*/ 333 w 505"/>
                  <a:gd name="T71" fmla="*/ 389 h 520"/>
                  <a:gd name="T72" fmla="*/ 375 w 505"/>
                  <a:gd name="T73" fmla="*/ 364 h 520"/>
                  <a:gd name="T74" fmla="*/ 407 w 505"/>
                  <a:gd name="T75" fmla="*/ 358 h 520"/>
                  <a:gd name="T76" fmla="*/ 423 w 505"/>
                  <a:gd name="T77" fmla="*/ 341 h 520"/>
                  <a:gd name="T78" fmla="*/ 439 w 505"/>
                  <a:gd name="T79" fmla="*/ 299 h 520"/>
                  <a:gd name="T80" fmla="*/ 447 w 505"/>
                  <a:gd name="T81" fmla="*/ 236 h 520"/>
                  <a:gd name="T82" fmla="*/ 504 w 505"/>
                  <a:gd name="T83" fmla="*/ 162 h 520"/>
                  <a:gd name="T84" fmla="*/ 472 w 505"/>
                  <a:gd name="T85" fmla="*/ 130 h 520"/>
                  <a:gd name="T86" fmla="*/ 416 w 505"/>
                  <a:gd name="T87" fmla="*/ 106 h 520"/>
                  <a:gd name="T88" fmla="*/ 375 w 505"/>
                  <a:gd name="T89" fmla="*/ 97 h 520"/>
                  <a:gd name="T90" fmla="*/ 375 w 505"/>
                  <a:gd name="T91" fmla="*/ 81 h 520"/>
                  <a:gd name="T92" fmla="*/ 333 w 505"/>
                  <a:gd name="T93" fmla="*/ 74 h 520"/>
                  <a:gd name="T94" fmla="*/ 326 w 505"/>
                  <a:gd name="T95" fmla="*/ 65 h 520"/>
                  <a:gd name="T96" fmla="*/ 302 w 505"/>
                  <a:gd name="T97" fmla="*/ 65 h 520"/>
                  <a:gd name="T98" fmla="*/ 293 w 505"/>
                  <a:gd name="T99" fmla="*/ 74 h 520"/>
                  <a:gd name="T100" fmla="*/ 293 w 505"/>
                  <a:gd name="T101" fmla="*/ 65 h 520"/>
                  <a:gd name="T102" fmla="*/ 310 w 505"/>
                  <a:gd name="T103" fmla="*/ 40 h 520"/>
                  <a:gd name="T104" fmla="*/ 293 w 505"/>
                  <a:gd name="T105" fmla="*/ 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61" name="Freeform 99">
                <a:extLst>
                  <a:ext uri="{FF2B5EF4-FFF2-40B4-BE49-F238E27FC236}">
                    <a16:creationId xmlns:a16="http://schemas.microsoft.com/office/drawing/2014/main" id="{DCE5DA14-69A3-34FE-334F-BC5802A9EC02}"/>
                  </a:ext>
                </a:extLst>
              </p:cNvPr>
              <p:cNvSpPr>
                <a:spLocks/>
              </p:cNvSpPr>
              <p:nvPr/>
            </p:nvSpPr>
            <p:spPr bwMode="gray">
              <a:xfrm>
                <a:off x="3487191" y="4513111"/>
                <a:ext cx="45930" cy="69862"/>
              </a:xfrm>
              <a:custGeom>
                <a:avLst/>
                <a:gdLst>
                  <a:gd name="T0" fmla="*/ 0 w 33"/>
                  <a:gd name="T1" fmla="*/ 41 h 48"/>
                  <a:gd name="T2" fmla="*/ 8 w 33"/>
                  <a:gd name="T3" fmla="*/ 47 h 48"/>
                  <a:gd name="T4" fmla="*/ 17 w 33"/>
                  <a:gd name="T5" fmla="*/ 41 h 48"/>
                  <a:gd name="T6" fmla="*/ 32 w 33"/>
                  <a:gd name="T7" fmla="*/ 23 h 48"/>
                  <a:gd name="T8" fmla="*/ 0 w 33"/>
                  <a:gd name="T9" fmla="*/ 0 h 48"/>
                  <a:gd name="T10" fmla="*/ 0 w 33"/>
                  <a:gd name="T11" fmla="*/ 7 h 48"/>
                  <a:gd name="T12" fmla="*/ 0 w 33"/>
                  <a:gd name="T13" fmla="*/ 23 h 48"/>
                  <a:gd name="T14" fmla="*/ 0 w 33"/>
                  <a:gd name="T15" fmla="*/ 41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8">
                    <a:moveTo>
                      <a:pt x="0" y="41"/>
                    </a:moveTo>
                    <a:lnTo>
                      <a:pt x="8" y="47"/>
                    </a:lnTo>
                    <a:lnTo>
                      <a:pt x="17" y="41"/>
                    </a:lnTo>
                    <a:lnTo>
                      <a:pt x="32" y="23"/>
                    </a:lnTo>
                    <a:lnTo>
                      <a:pt x="0" y="0"/>
                    </a:lnTo>
                    <a:lnTo>
                      <a:pt x="0" y="7"/>
                    </a:lnTo>
                    <a:lnTo>
                      <a:pt x="0" y="23"/>
                    </a:lnTo>
                    <a:lnTo>
                      <a:pt x="0" y="41"/>
                    </a:lnTo>
                  </a:path>
                </a:pathLst>
              </a:custGeom>
              <a:grpFill/>
              <a:ln w="6350" cap="rnd" cmpd="sng">
                <a:solidFill>
                  <a:srgbClr val="D0D0D0"/>
                </a:solidFill>
                <a:prstDash val="solid"/>
                <a:round/>
                <a:headEnd/>
                <a:tailEnd/>
              </a:ln>
              <a:effectLst/>
            </p:spPr>
            <p:txBody>
              <a:bodyPr/>
              <a:lstStyle/>
              <a:p>
                <a:endParaRPr lang="de-DE" dirty="0"/>
              </a:p>
            </p:txBody>
          </p:sp>
          <p:sp>
            <p:nvSpPr>
              <p:cNvPr id="462" name="Freeform 100">
                <a:extLst>
                  <a:ext uri="{FF2B5EF4-FFF2-40B4-BE49-F238E27FC236}">
                    <a16:creationId xmlns:a16="http://schemas.microsoft.com/office/drawing/2014/main" id="{38D4262E-BA41-62A1-B442-CC76375C3ADE}"/>
                  </a:ext>
                </a:extLst>
              </p:cNvPr>
              <p:cNvSpPr>
                <a:spLocks/>
              </p:cNvSpPr>
              <p:nvPr/>
            </p:nvSpPr>
            <p:spPr bwMode="gray">
              <a:xfrm>
                <a:off x="3420064" y="4513111"/>
                <a:ext cx="68305" cy="69862"/>
              </a:xfrm>
              <a:custGeom>
                <a:avLst/>
                <a:gdLst>
                  <a:gd name="T0" fmla="*/ 48 w 49"/>
                  <a:gd name="T1" fmla="*/ 41 h 48"/>
                  <a:gd name="T2" fmla="*/ 48 w 49"/>
                  <a:gd name="T3" fmla="*/ 23 h 48"/>
                  <a:gd name="T4" fmla="*/ 48 w 49"/>
                  <a:gd name="T5" fmla="*/ 7 h 48"/>
                  <a:gd name="T6" fmla="*/ 48 w 49"/>
                  <a:gd name="T7" fmla="*/ 0 h 48"/>
                  <a:gd name="T8" fmla="*/ 15 w 49"/>
                  <a:gd name="T9" fmla="*/ 0 h 48"/>
                  <a:gd name="T10" fmla="*/ 0 w 49"/>
                  <a:gd name="T11" fmla="*/ 16 h 48"/>
                  <a:gd name="T12" fmla="*/ 15 w 49"/>
                  <a:gd name="T13" fmla="*/ 47 h 48"/>
                  <a:gd name="T14" fmla="*/ 25 w 49"/>
                  <a:gd name="T15" fmla="*/ 47 h 48"/>
                  <a:gd name="T16" fmla="*/ 31 w 49"/>
                  <a:gd name="T17" fmla="*/ 41 h 48"/>
                  <a:gd name="T18" fmla="*/ 48 w 49"/>
                  <a:gd name="T19"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6350" cap="rnd" cmpd="sng">
                <a:solidFill>
                  <a:srgbClr val="D0D0D0"/>
                </a:solidFill>
                <a:prstDash val="solid"/>
                <a:round/>
                <a:headEnd/>
                <a:tailEnd/>
              </a:ln>
              <a:effectLst/>
            </p:spPr>
            <p:txBody>
              <a:bodyPr/>
              <a:lstStyle/>
              <a:p>
                <a:endParaRPr lang="de-DE" dirty="0"/>
              </a:p>
            </p:txBody>
          </p:sp>
          <p:sp>
            <p:nvSpPr>
              <p:cNvPr id="463" name="Freeform 101">
                <a:extLst>
                  <a:ext uri="{FF2B5EF4-FFF2-40B4-BE49-F238E27FC236}">
                    <a16:creationId xmlns:a16="http://schemas.microsoft.com/office/drawing/2014/main" id="{24C5E296-8493-1A3E-B0CF-72DFF746E56E}"/>
                  </a:ext>
                </a:extLst>
              </p:cNvPr>
              <p:cNvSpPr>
                <a:spLocks/>
              </p:cNvSpPr>
              <p:nvPr/>
            </p:nvSpPr>
            <p:spPr bwMode="gray">
              <a:xfrm>
                <a:off x="3361180" y="4465311"/>
                <a:ext cx="81260" cy="131146"/>
              </a:xfrm>
              <a:custGeom>
                <a:avLst/>
                <a:gdLst>
                  <a:gd name="T0" fmla="*/ 16 w 57"/>
                  <a:gd name="T1" fmla="*/ 0 h 90"/>
                  <a:gd name="T2" fmla="*/ 32 w 57"/>
                  <a:gd name="T3" fmla="*/ 9 h 90"/>
                  <a:gd name="T4" fmla="*/ 32 w 57"/>
                  <a:gd name="T5" fmla="*/ 15 h 90"/>
                  <a:gd name="T6" fmla="*/ 41 w 57"/>
                  <a:gd name="T7" fmla="*/ 15 h 90"/>
                  <a:gd name="T8" fmla="*/ 56 w 57"/>
                  <a:gd name="T9" fmla="*/ 33 h 90"/>
                  <a:gd name="T10" fmla="*/ 41 w 57"/>
                  <a:gd name="T11" fmla="*/ 49 h 90"/>
                  <a:gd name="T12" fmla="*/ 56 w 57"/>
                  <a:gd name="T13" fmla="*/ 80 h 90"/>
                  <a:gd name="T14" fmla="*/ 32 w 57"/>
                  <a:gd name="T15" fmla="*/ 89 h 90"/>
                  <a:gd name="T16" fmla="*/ 24 w 57"/>
                  <a:gd name="T17" fmla="*/ 89 h 90"/>
                  <a:gd name="T18" fmla="*/ 16 w 57"/>
                  <a:gd name="T19" fmla="*/ 74 h 90"/>
                  <a:gd name="T20" fmla="*/ 16 w 57"/>
                  <a:gd name="T21" fmla="*/ 49 h 90"/>
                  <a:gd name="T22" fmla="*/ 16 w 57"/>
                  <a:gd name="T23" fmla="*/ 40 h 90"/>
                  <a:gd name="T24" fmla="*/ 7 w 57"/>
                  <a:gd name="T25" fmla="*/ 40 h 90"/>
                  <a:gd name="T26" fmla="*/ 0 w 57"/>
                  <a:gd name="T27" fmla="*/ 33 h 90"/>
                  <a:gd name="T28" fmla="*/ 0 w 57"/>
                  <a:gd name="T29" fmla="*/ 15 h 90"/>
                  <a:gd name="T30" fmla="*/ 7 w 57"/>
                  <a:gd name="T31" fmla="*/ 15 h 90"/>
                  <a:gd name="T32" fmla="*/ 7 w 57"/>
                  <a:gd name="T33" fmla="*/ 9 h 90"/>
                  <a:gd name="T34" fmla="*/ 16 w 57"/>
                  <a:gd name="T3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6350" cap="rnd" cmpd="sng">
                <a:solidFill>
                  <a:srgbClr val="D0D0D0"/>
                </a:solidFill>
                <a:prstDash val="solid"/>
                <a:round/>
                <a:headEnd/>
                <a:tailEnd/>
              </a:ln>
              <a:effectLst/>
            </p:spPr>
            <p:txBody>
              <a:bodyPr/>
              <a:lstStyle/>
              <a:p>
                <a:endParaRPr lang="de-DE" dirty="0"/>
              </a:p>
            </p:txBody>
          </p:sp>
          <p:sp>
            <p:nvSpPr>
              <p:cNvPr id="464" name="Freeform 102">
                <a:extLst>
                  <a:ext uri="{FF2B5EF4-FFF2-40B4-BE49-F238E27FC236}">
                    <a16:creationId xmlns:a16="http://schemas.microsoft.com/office/drawing/2014/main" id="{03687583-0E9A-7109-4536-B32067C8AD28}"/>
                  </a:ext>
                </a:extLst>
              </p:cNvPr>
              <p:cNvSpPr>
                <a:spLocks/>
              </p:cNvSpPr>
              <p:nvPr/>
            </p:nvSpPr>
            <p:spPr bwMode="gray">
              <a:xfrm>
                <a:off x="3143310" y="4391771"/>
                <a:ext cx="242601" cy="216942"/>
              </a:xfrm>
              <a:custGeom>
                <a:avLst/>
                <a:gdLst>
                  <a:gd name="T0" fmla="*/ 171 w 172"/>
                  <a:gd name="T1" fmla="*/ 50 h 148"/>
                  <a:gd name="T2" fmla="*/ 162 w 172"/>
                  <a:gd name="T3" fmla="*/ 59 h 148"/>
                  <a:gd name="T4" fmla="*/ 162 w 172"/>
                  <a:gd name="T5" fmla="*/ 65 h 148"/>
                  <a:gd name="T6" fmla="*/ 155 w 172"/>
                  <a:gd name="T7" fmla="*/ 65 h 148"/>
                  <a:gd name="T8" fmla="*/ 155 w 172"/>
                  <a:gd name="T9" fmla="*/ 83 h 148"/>
                  <a:gd name="T10" fmla="*/ 162 w 172"/>
                  <a:gd name="T11" fmla="*/ 90 h 148"/>
                  <a:gd name="T12" fmla="*/ 155 w 172"/>
                  <a:gd name="T13" fmla="*/ 99 h 148"/>
                  <a:gd name="T14" fmla="*/ 131 w 172"/>
                  <a:gd name="T15" fmla="*/ 106 h 148"/>
                  <a:gd name="T16" fmla="*/ 106 w 172"/>
                  <a:gd name="T17" fmla="*/ 99 h 148"/>
                  <a:gd name="T18" fmla="*/ 115 w 172"/>
                  <a:gd name="T19" fmla="*/ 106 h 148"/>
                  <a:gd name="T20" fmla="*/ 115 w 172"/>
                  <a:gd name="T21" fmla="*/ 124 h 148"/>
                  <a:gd name="T22" fmla="*/ 122 w 172"/>
                  <a:gd name="T23" fmla="*/ 130 h 148"/>
                  <a:gd name="T24" fmla="*/ 99 w 172"/>
                  <a:gd name="T25" fmla="*/ 147 h 148"/>
                  <a:gd name="T26" fmla="*/ 90 w 172"/>
                  <a:gd name="T27" fmla="*/ 147 h 148"/>
                  <a:gd name="T28" fmla="*/ 82 w 172"/>
                  <a:gd name="T29" fmla="*/ 139 h 148"/>
                  <a:gd name="T30" fmla="*/ 74 w 172"/>
                  <a:gd name="T31" fmla="*/ 130 h 148"/>
                  <a:gd name="T32" fmla="*/ 74 w 172"/>
                  <a:gd name="T33" fmla="*/ 115 h 148"/>
                  <a:gd name="T34" fmla="*/ 65 w 172"/>
                  <a:gd name="T35" fmla="*/ 99 h 148"/>
                  <a:gd name="T36" fmla="*/ 74 w 172"/>
                  <a:gd name="T37" fmla="*/ 74 h 148"/>
                  <a:gd name="T38" fmla="*/ 50 w 172"/>
                  <a:gd name="T39" fmla="*/ 74 h 148"/>
                  <a:gd name="T40" fmla="*/ 40 w 172"/>
                  <a:gd name="T41" fmla="*/ 65 h 148"/>
                  <a:gd name="T42" fmla="*/ 16 w 172"/>
                  <a:gd name="T43" fmla="*/ 65 h 148"/>
                  <a:gd name="T44" fmla="*/ 9 w 172"/>
                  <a:gd name="T45" fmla="*/ 59 h 148"/>
                  <a:gd name="T46" fmla="*/ 9 w 172"/>
                  <a:gd name="T47" fmla="*/ 50 h 148"/>
                  <a:gd name="T48" fmla="*/ 0 w 172"/>
                  <a:gd name="T49" fmla="*/ 34 h 148"/>
                  <a:gd name="T50" fmla="*/ 9 w 172"/>
                  <a:gd name="T51" fmla="*/ 18 h 148"/>
                  <a:gd name="T52" fmla="*/ 16 w 172"/>
                  <a:gd name="T53" fmla="*/ 10 h 148"/>
                  <a:gd name="T54" fmla="*/ 25 w 172"/>
                  <a:gd name="T55" fmla="*/ 18 h 148"/>
                  <a:gd name="T56" fmla="*/ 16 w 172"/>
                  <a:gd name="T57" fmla="*/ 25 h 148"/>
                  <a:gd name="T58" fmla="*/ 16 w 172"/>
                  <a:gd name="T59" fmla="*/ 41 h 148"/>
                  <a:gd name="T60" fmla="*/ 25 w 172"/>
                  <a:gd name="T61" fmla="*/ 34 h 148"/>
                  <a:gd name="T62" fmla="*/ 25 w 172"/>
                  <a:gd name="T63" fmla="*/ 18 h 148"/>
                  <a:gd name="T64" fmla="*/ 40 w 172"/>
                  <a:gd name="T65" fmla="*/ 10 h 148"/>
                  <a:gd name="T66" fmla="*/ 40 w 172"/>
                  <a:gd name="T67" fmla="*/ 0 h 148"/>
                  <a:gd name="T68" fmla="*/ 40 w 172"/>
                  <a:gd name="T69" fmla="*/ 10 h 148"/>
                  <a:gd name="T70" fmla="*/ 65 w 172"/>
                  <a:gd name="T71" fmla="*/ 10 h 148"/>
                  <a:gd name="T72" fmla="*/ 65 w 172"/>
                  <a:gd name="T73" fmla="*/ 18 h 148"/>
                  <a:gd name="T74" fmla="*/ 90 w 172"/>
                  <a:gd name="T75" fmla="*/ 18 h 148"/>
                  <a:gd name="T76" fmla="*/ 106 w 172"/>
                  <a:gd name="T77" fmla="*/ 25 h 148"/>
                  <a:gd name="T78" fmla="*/ 122 w 172"/>
                  <a:gd name="T79" fmla="*/ 18 h 148"/>
                  <a:gd name="T80" fmla="*/ 139 w 172"/>
                  <a:gd name="T81" fmla="*/ 18 h 148"/>
                  <a:gd name="T82" fmla="*/ 131 w 172"/>
                  <a:gd name="T83" fmla="*/ 18 h 148"/>
                  <a:gd name="T84" fmla="*/ 139 w 172"/>
                  <a:gd name="T85" fmla="*/ 25 h 148"/>
                  <a:gd name="T86" fmla="*/ 155 w 172"/>
                  <a:gd name="T87" fmla="*/ 34 h 148"/>
                  <a:gd name="T88" fmla="*/ 155 w 172"/>
                  <a:gd name="T89" fmla="*/ 50 h 148"/>
                  <a:gd name="T90" fmla="*/ 162 w 172"/>
                  <a:gd name="T91" fmla="*/ 41 h 148"/>
                  <a:gd name="T92" fmla="*/ 171 w 172"/>
                  <a:gd name="T93" fmla="*/ 5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65" name="Freeform 197">
                <a:extLst>
                  <a:ext uri="{FF2B5EF4-FFF2-40B4-BE49-F238E27FC236}">
                    <a16:creationId xmlns:a16="http://schemas.microsoft.com/office/drawing/2014/main" id="{AEED9671-C287-2DDD-6323-6A9DA94335FD}"/>
                  </a:ext>
                </a:extLst>
              </p:cNvPr>
              <p:cNvSpPr>
                <a:spLocks/>
              </p:cNvSpPr>
              <p:nvPr/>
            </p:nvSpPr>
            <p:spPr bwMode="gray">
              <a:xfrm>
                <a:off x="3122112" y="5474029"/>
                <a:ext cx="24732" cy="49026"/>
              </a:xfrm>
              <a:custGeom>
                <a:avLst/>
                <a:gdLst>
                  <a:gd name="T0" fmla="*/ 6 w 17"/>
                  <a:gd name="T1" fmla="*/ 0 h 33"/>
                  <a:gd name="T2" fmla="*/ 0 w 17"/>
                  <a:gd name="T3" fmla="*/ 23 h 33"/>
                  <a:gd name="T4" fmla="*/ 6 w 17"/>
                  <a:gd name="T5" fmla="*/ 32 h 33"/>
                  <a:gd name="T6" fmla="*/ 16 w 17"/>
                  <a:gd name="T7" fmla="*/ 7 h 33"/>
                  <a:gd name="T8" fmla="*/ 6 w 17"/>
                  <a:gd name="T9" fmla="*/ 0 h 33"/>
                </a:gdLst>
                <a:ahLst/>
                <a:cxnLst>
                  <a:cxn ang="0">
                    <a:pos x="T0" y="T1"/>
                  </a:cxn>
                  <a:cxn ang="0">
                    <a:pos x="T2" y="T3"/>
                  </a:cxn>
                  <a:cxn ang="0">
                    <a:pos x="T4" y="T5"/>
                  </a:cxn>
                  <a:cxn ang="0">
                    <a:pos x="T6" y="T7"/>
                  </a:cxn>
                  <a:cxn ang="0">
                    <a:pos x="T8" y="T9"/>
                  </a:cxn>
                </a:cxnLst>
                <a:rect l="0" t="0" r="r" b="b"/>
                <a:pathLst>
                  <a:path w="17" h="33">
                    <a:moveTo>
                      <a:pt x="6" y="0"/>
                    </a:moveTo>
                    <a:lnTo>
                      <a:pt x="0" y="23"/>
                    </a:lnTo>
                    <a:lnTo>
                      <a:pt x="6" y="32"/>
                    </a:lnTo>
                    <a:lnTo>
                      <a:pt x="16" y="7"/>
                    </a:lnTo>
                    <a:lnTo>
                      <a:pt x="6" y="0"/>
                    </a:lnTo>
                  </a:path>
                </a:pathLst>
              </a:custGeom>
              <a:grpFill/>
              <a:ln w="6350" cap="rnd" cmpd="sng">
                <a:solidFill>
                  <a:srgbClr val="D0D0D0"/>
                </a:solidFill>
                <a:prstDash val="solid"/>
                <a:round/>
                <a:headEnd/>
                <a:tailEnd/>
              </a:ln>
              <a:effectLst/>
            </p:spPr>
            <p:txBody>
              <a:bodyPr/>
              <a:lstStyle/>
              <a:p>
                <a:endParaRPr lang="de-DE" dirty="0"/>
              </a:p>
            </p:txBody>
          </p:sp>
          <p:sp>
            <p:nvSpPr>
              <p:cNvPr id="466" name="Freeform 198">
                <a:extLst>
                  <a:ext uri="{FF2B5EF4-FFF2-40B4-BE49-F238E27FC236}">
                    <a16:creationId xmlns:a16="http://schemas.microsoft.com/office/drawing/2014/main" id="{69465403-D22F-9A26-F254-A02583A4E44F}"/>
                  </a:ext>
                </a:extLst>
              </p:cNvPr>
              <p:cNvSpPr>
                <a:spLocks/>
              </p:cNvSpPr>
              <p:nvPr/>
            </p:nvSpPr>
            <p:spPr bwMode="gray">
              <a:xfrm>
                <a:off x="3052629" y="4264302"/>
                <a:ext cx="36508" cy="24513"/>
              </a:xfrm>
              <a:custGeom>
                <a:avLst/>
                <a:gdLst>
                  <a:gd name="T0" fmla="*/ 0 w 26"/>
                  <a:gd name="T1" fmla="*/ 7 h 17"/>
                  <a:gd name="T2" fmla="*/ 16 w 26"/>
                  <a:gd name="T3" fmla="*/ 16 h 17"/>
                  <a:gd name="T4" fmla="*/ 25 w 26"/>
                  <a:gd name="T5" fmla="*/ 7 h 17"/>
                  <a:gd name="T6" fmla="*/ 9 w 26"/>
                  <a:gd name="T7" fmla="*/ 0 h 17"/>
                  <a:gd name="T8" fmla="*/ 0 w 26"/>
                  <a:gd name="T9" fmla="*/ 7 h 17"/>
                </a:gdLst>
                <a:ahLst/>
                <a:cxnLst>
                  <a:cxn ang="0">
                    <a:pos x="T0" y="T1"/>
                  </a:cxn>
                  <a:cxn ang="0">
                    <a:pos x="T2" y="T3"/>
                  </a:cxn>
                  <a:cxn ang="0">
                    <a:pos x="T4" y="T5"/>
                  </a:cxn>
                  <a:cxn ang="0">
                    <a:pos x="T6" y="T7"/>
                  </a:cxn>
                  <a:cxn ang="0">
                    <a:pos x="T8" y="T9"/>
                  </a:cxn>
                </a:cxnLst>
                <a:rect l="0" t="0" r="r" b="b"/>
                <a:pathLst>
                  <a:path w="26" h="17">
                    <a:moveTo>
                      <a:pt x="0" y="7"/>
                    </a:moveTo>
                    <a:lnTo>
                      <a:pt x="16" y="16"/>
                    </a:lnTo>
                    <a:lnTo>
                      <a:pt x="25" y="7"/>
                    </a:lnTo>
                    <a:lnTo>
                      <a:pt x="9" y="0"/>
                    </a:lnTo>
                    <a:lnTo>
                      <a:pt x="0" y="7"/>
                    </a:lnTo>
                  </a:path>
                </a:pathLst>
              </a:custGeom>
              <a:grpFill/>
              <a:ln w="6350" cap="rnd" cmpd="sng">
                <a:solidFill>
                  <a:srgbClr val="D0D0D0"/>
                </a:solidFill>
                <a:prstDash val="solid"/>
                <a:round/>
                <a:headEnd/>
                <a:tailEnd/>
              </a:ln>
              <a:effectLst/>
            </p:spPr>
            <p:txBody>
              <a:bodyPr/>
              <a:lstStyle/>
              <a:p>
                <a:endParaRPr lang="de-DE" dirty="0"/>
              </a:p>
            </p:txBody>
          </p:sp>
          <p:sp>
            <p:nvSpPr>
              <p:cNvPr id="467" name="Freeform 199">
                <a:extLst>
                  <a:ext uri="{FF2B5EF4-FFF2-40B4-BE49-F238E27FC236}">
                    <a16:creationId xmlns:a16="http://schemas.microsoft.com/office/drawing/2014/main" id="{01011AB5-4F81-F664-F66E-550D78E27B2E}"/>
                  </a:ext>
                </a:extLst>
              </p:cNvPr>
              <p:cNvSpPr>
                <a:spLocks/>
              </p:cNvSpPr>
              <p:nvPr/>
            </p:nvSpPr>
            <p:spPr bwMode="gray">
              <a:xfrm>
                <a:off x="2938395" y="4168700"/>
                <a:ext cx="184895" cy="73540"/>
              </a:xfrm>
              <a:custGeom>
                <a:avLst/>
                <a:gdLst>
                  <a:gd name="T0" fmla="*/ 0 w 132"/>
                  <a:gd name="T1" fmla="*/ 24 h 50"/>
                  <a:gd name="T2" fmla="*/ 9 w 132"/>
                  <a:gd name="T3" fmla="*/ 24 h 50"/>
                  <a:gd name="T4" fmla="*/ 25 w 132"/>
                  <a:gd name="T5" fmla="*/ 8 h 50"/>
                  <a:gd name="T6" fmla="*/ 41 w 132"/>
                  <a:gd name="T7" fmla="*/ 15 h 50"/>
                  <a:gd name="T8" fmla="*/ 34 w 132"/>
                  <a:gd name="T9" fmla="*/ 15 h 50"/>
                  <a:gd name="T10" fmla="*/ 41 w 132"/>
                  <a:gd name="T11" fmla="*/ 15 h 50"/>
                  <a:gd name="T12" fmla="*/ 74 w 132"/>
                  <a:gd name="T13" fmla="*/ 24 h 50"/>
                  <a:gd name="T14" fmla="*/ 81 w 132"/>
                  <a:gd name="T15" fmla="*/ 40 h 50"/>
                  <a:gd name="T16" fmla="*/ 97 w 132"/>
                  <a:gd name="T17" fmla="*/ 40 h 50"/>
                  <a:gd name="T18" fmla="*/ 90 w 132"/>
                  <a:gd name="T19" fmla="*/ 49 h 50"/>
                  <a:gd name="T20" fmla="*/ 131 w 132"/>
                  <a:gd name="T21" fmla="*/ 49 h 50"/>
                  <a:gd name="T22" fmla="*/ 122 w 132"/>
                  <a:gd name="T23" fmla="*/ 40 h 50"/>
                  <a:gd name="T24" fmla="*/ 114 w 132"/>
                  <a:gd name="T25" fmla="*/ 40 h 50"/>
                  <a:gd name="T26" fmla="*/ 114 w 132"/>
                  <a:gd name="T27" fmla="*/ 31 h 50"/>
                  <a:gd name="T28" fmla="*/ 81 w 132"/>
                  <a:gd name="T29" fmla="*/ 15 h 50"/>
                  <a:gd name="T30" fmla="*/ 41 w 132"/>
                  <a:gd name="T31" fmla="*/ 0 h 50"/>
                  <a:gd name="T32" fmla="*/ 16 w 132"/>
                  <a:gd name="T33" fmla="*/ 8 h 50"/>
                  <a:gd name="T34" fmla="*/ 0 w 132"/>
                  <a:gd name="T35"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6350" cap="rnd" cmpd="sng">
                <a:solidFill>
                  <a:srgbClr val="D0D0D0"/>
                </a:solidFill>
                <a:prstDash val="solid"/>
                <a:round/>
                <a:headEnd/>
                <a:tailEnd/>
              </a:ln>
              <a:effectLst/>
            </p:spPr>
            <p:txBody>
              <a:bodyPr/>
              <a:lstStyle/>
              <a:p>
                <a:endParaRPr lang="de-DE" dirty="0"/>
              </a:p>
            </p:txBody>
          </p:sp>
          <p:sp>
            <p:nvSpPr>
              <p:cNvPr id="468" name="Freeform 200">
                <a:extLst>
                  <a:ext uri="{FF2B5EF4-FFF2-40B4-BE49-F238E27FC236}">
                    <a16:creationId xmlns:a16="http://schemas.microsoft.com/office/drawing/2014/main" id="{C1B5F9C0-5253-B92C-A79D-5CF8226284F6}"/>
                  </a:ext>
                </a:extLst>
              </p:cNvPr>
              <p:cNvSpPr>
                <a:spLocks/>
              </p:cNvSpPr>
              <p:nvPr/>
            </p:nvSpPr>
            <p:spPr bwMode="gray">
              <a:xfrm>
                <a:off x="3052629" y="4131930"/>
                <a:ext cx="23553" cy="37996"/>
              </a:xfrm>
              <a:custGeom>
                <a:avLst/>
                <a:gdLst>
                  <a:gd name="T0" fmla="*/ 0 w 17"/>
                  <a:gd name="T1" fmla="*/ 0 h 26"/>
                  <a:gd name="T2" fmla="*/ 0 w 17"/>
                  <a:gd name="T3" fmla="*/ 8 h 26"/>
                  <a:gd name="T4" fmla="*/ 16 w 17"/>
                  <a:gd name="T5" fmla="*/ 25 h 26"/>
                  <a:gd name="T6" fmla="*/ 16 w 17"/>
                  <a:gd name="T7" fmla="*/ 8 h 26"/>
                  <a:gd name="T8" fmla="*/ 0 w 17"/>
                  <a:gd name="T9" fmla="*/ 0 h 26"/>
                </a:gdLst>
                <a:ahLst/>
                <a:cxnLst>
                  <a:cxn ang="0">
                    <a:pos x="T0" y="T1"/>
                  </a:cxn>
                  <a:cxn ang="0">
                    <a:pos x="T2" y="T3"/>
                  </a:cxn>
                  <a:cxn ang="0">
                    <a:pos x="T4" y="T5"/>
                  </a:cxn>
                  <a:cxn ang="0">
                    <a:pos x="T6" y="T7"/>
                  </a:cxn>
                  <a:cxn ang="0">
                    <a:pos x="T8" y="T9"/>
                  </a:cxn>
                </a:cxnLst>
                <a:rect l="0" t="0" r="r" b="b"/>
                <a:pathLst>
                  <a:path w="17" h="26">
                    <a:moveTo>
                      <a:pt x="0" y="0"/>
                    </a:moveTo>
                    <a:lnTo>
                      <a:pt x="0" y="8"/>
                    </a:lnTo>
                    <a:lnTo>
                      <a:pt x="16" y="25"/>
                    </a:lnTo>
                    <a:lnTo>
                      <a:pt x="16" y="8"/>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469" name="Freeform 201">
                <a:extLst>
                  <a:ext uri="{FF2B5EF4-FFF2-40B4-BE49-F238E27FC236}">
                    <a16:creationId xmlns:a16="http://schemas.microsoft.com/office/drawing/2014/main" id="{594CA7F9-ECF1-0704-022F-9B52F4FD4EE4}"/>
                  </a:ext>
                </a:extLst>
              </p:cNvPr>
              <p:cNvSpPr>
                <a:spLocks/>
              </p:cNvSpPr>
              <p:nvPr/>
            </p:nvSpPr>
            <p:spPr bwMode="gray">
              <a:xfrm>
                <a:off x="2894821" y="2957747"/>
                <a:ext cx="124834" cy="132371"/>
              </a:xfrm>
              <a:custGeom>
                <a:avLst/>
                <a:gdLst>
                  <a:gd name="T0" fmla="*/ 0 w 89"/>
                  <a:gd name="T1" fmla="*/ 73 h 91"/>
                  <a:gd name="T2" fmla="*/ 15 w 89"/>
                  <a:gd name="T3" fmla="*/ 73 h 91"/>
                  <a:gd name="T4" fmla="*/ 15 w 89"/>
                  <a:gd name="T5" fmla="*/ 90 h 91"/>
                  <a:gd name="T6" fmla="*/ 31 w 89"/>
                  <a:gd name="T7" fmla="*/ 90 h 91"/>
                  <a:gd name="T8" fmla="*/ 47 w 89"/>
                  <a:gd name="T9" fmla="*/ 65 h 91"/>
                  <a:gd name="T10" fmla="*/ 56 w 89"/>
                  <a:gd name="T11" fmla="*/ 65 h 91"/>
                  <a:gd name="T12" fmla="*/ 72 w 89"/>
                  <a:gd name="T13" fmla="*/ 81 h 91"/>
                  <a:gd name="T14" fmla="*/ 88 w 89"/>
                  <a:gd name="T15" fmla="*/ 65 h 91"/>
                  <a:gd name="T16" fmla="*/ 72 w 89"/>
                  <a:gd name="T17" fmla="*/ 65 h 91"/>
                  <a:gd name="T18" fmla="*/ 56 w 89"/>
                  <a:gd name="T19" fmla="*/ 40 h 91"/>
                  <a:gd name="T20" fmla="*/ 31 w 89"/>
                  <a:gd name="T21" fmla="*/ 16 h 91"/>
                  <a:gd name="T22" fmla="*/ 25 w 89"/>
                  <a:gd name="T23" fmla="*/ 0 h 91"/>
                  <a:gd name="T24" fmla="*/ 15 w 89"/>
                  <a:gd name="T25" fmla="*/ 16 h 91"/>
                  <a:gd name="T26" fmla="*/ 6 w 89"/>
                  <a:gd name="T27" fmla="*/ 25 h 91"/>
                  <a:gd name="T28" fmla="*/ 15 w 89"/>
                  <a:gd name="T29" fmla="*/ 65 h 91"/>
                  <a:gd name="T30" fmla="*/ 0 w 89"/>
                  <a:gd name="T31" fmla="*/ 7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6350" cap="rnd" cmpd="sng">
                <a:solidFill>
                  <a:srgbClr val="D0D0D0"/>
                </a:solidFill>
                <a:prstDash val="solid"/>
                <a:round/>
                <a:headEnd/>
                <a:tailEnd/>
              </a:ln>
              <a:effectLst/>
            </p:spPr>
            <p:txBody>
              <a:bodyPr/>
              <a:lstStyle/>
              <a:p>
                <a:endParaRPr lang="de-DE" dirty="0"/>
              </a:p>
            </p:txBody>
          </p:sp>
          <p:sp>
            <p:nvSpPr>
              <p:cNvPr id="470" name="Freeform 202">
                <a:extLst>
                  <a:ext uri="{FF2B5EF4-FFF2-40B4-BE49-F238E27FC236}">
                    <a16:creationId xmlns:a16="http://schemas.microsoft.com/office/drawing/2014/main" id="{CC447048-AFE4-F5FF-03C2-C55AEC6312D4}"/>
                  </a:ext>
                </a:extLst>
              </p:cNvPr>
              <p:cNvSpPr>
                <a:spLocks/>
              </p:cNvSpPr>
              <p:nvPr/>
            </p:nvSpPr>
            <p:spPr bwMode="gray">
              <a:xfrm>
                <a:off x="3075004" y="2851115"/>
                <a:ext cx="36508" cy="60057"/>
              </a:xfrm>
              <a:custGeom>
                <a:avLst/>
                <a:gdLst>
                  <a:gd name="T0" fmla="*/ 0 w 26"/>
                  <a:gd name="T1" fmla="*/ 25 h 41"/>
                  <a:gd name="T2" fmla="*/ 0 w 26"/>
                  <a:gd name="T3" fmla="*/ 40 h 41"/>
                  <a:gd name="T4" fmla="*/ 17 w 26"/>
                  <a:gd name="T5" fmla="*/ 31 h 41"/>
                  <a:gd name="T6" fmla="*/ 25 w 26"/>
                  <a:gd name="T7" fmla="*/ 25 h 41"/>
                  <a:gd name="T8" fmla="*/ 25 w 26"/>
                  <a:gd name="T9" fmla="*/ 16 h 41"/>
                  <a:gd name="T10" fmla="*/ 25 w 26"/>
                  <a:gd name="T11" fmla="*/ 0 h 41"/>
                  <a:gd name="T12" fmla="*/ 9 w 26"/>
                  <a:gd name="T13" fmla="*/ 0 h 41"/>
                  <a:gd name="T14" fmla="*/ 0 w 26"/>
                  <a:gd name="T15" fmla="*/ 2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1">
                    <a:moveTo>
                      <a:pt x="0" y="25"/>
                    </a:moveTo>
                    <a:lnTo>
                      <a:pt x="0" y="40"/>
                    </a:lnTo>
                    <a:lnTo>
                      <a:pt x="17" y="31"/>
                    </a:lnTo>
                    <a:lnTo>
                      <a:pt x="25" y="25"/>
                    </a:lnTo>
                    <a:lnTo>
                      <a:pt x="25" y="16"/>
                    </a:lnTo>
                    <a:lnTo>
                      <a:pt x="25" y="0"/>
                    </a:lnTo>
                    <a:lnTo>
                      <a:pt x="9" y="0"/>
                    </a:lnTo>
                    <a:lnTo>
                      <a:pt x="0" y="25"/>
                    </a:lnTo>
                  </a:path>
                </a:pathLst>
              </a:custGeom>
              <a:grpFill/>
              <a:ln w="6350" cap="rnd" cmpd="sng">
                <a:solidFill>
                  <a:srgbClr val="D0D0D0"/>
                </a:solidFill>
                <a:prstDash val="solid"/>
                <a:round/>
                <a:headEnd/>
                <a:tailEnd/>
              </a:ln>
              <a:effectLst/>
            </p:spPr>
            <p:txBody>
              <a:bodyPr/>
              <a:lstStyle/>
              <a:p>
                <a:endParaRPr lang="de-DE" dirty="0"/>
              </a:p>
            </p:txBody>
          </p:sp>
          <p:sp>
            <p:nvSpPr>
              <p:cNvPr id="471" name="Freeform 203">
                <a:extLst>
                  <a:ext uri="{FF2B5EF4-FFF2-40B4-BE49-F238E27FC236}">
                    <a16:creationId xmlns:a16="http://schemas.microsoft.com/office/drawing/2014/main" id="{29E826EB-76BC-5077-5627-7611013790E9}"/>
                  </a:ext>
                </a:extLst>
              </p:cNvPr>
              <p:cNvSpPr>
                <a:spLocks/>
              </p:cNvSpPr>
              <p:nvPr/>
            </p:nvSpPr>
            <p:spPr bwMode="gray">
              <a:xfrm>
                <a:off x="3006700" y="2528766"/>
                <a:ext cx="82437" cy="63735"/>
              </a:xfrm>
              <a:custGeom>
                <a:avLst/>
                <a:gdLst>
                  <a:gd name="T0" fmla="*/ 0 w 58"/>
                  <a:gd name="T1" fmla="*/ 0 h 43"/>
                  <a:gd name="T2" fmla="*/ 0 w 58"/>
                  <a:gd name="T3" fmla="*/ 17 h 43"/>
                  <a:gd name="T4" fmla="*/ 0 w 58"/>
                  <a:gd name="T5" fmla="*/ 42 h 43"/>
                  <a:gd name="T6" fmla="*/ 25 w 58"/>
                  <a:gd name="T7" fmla="*/ 42 h 43"/>
                  <a:gd name="T8" fmla="*/ 32 w 58"/>
                  <a:gd name="T9" fmla="*/ 42 h 43"/>
                  <a:gd name="T10" fmla="*/ 57 w 58"/>
                  <a:gd name="T11" fmla="*/ 42 h 43"/>
                  <a:gd name="T12" fmla="*/ 57 w 58"/>
                  <a:gd name="T13" fmla="*/ 34 h 43"/>
                  <a:gd name="T14" fmla="*/ 48 w 58"/>
                  <a:gd name="T15" fmla="*/ 9 h 43"/>
                  <a:gd name="T16" fmla="*/ 41 w 58"/>
                  <a:gd name="T17" fmla="*/ 0 h 43"/>
                  <a:gd name="T18" fmla="*/ 17 w 58"/>
                  <a:gd name="T19" fmla="*/ 0 h 43"/>
                  <a:gd name="T20" fmla="*/ 0 w 58"/>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72" name="Freeform 212">
                <a:extLst>
                  <a:ext uri="{FF2B5EF4-FFF2-40B4-BE49-F238E27FC236}">
                    <a16:creationId xmlns:a16="http://schemas.microsoft.com/office/drawing/2014/main" id="{9A2106D1-911E-FCE1-A019-BC9D35BFEC93}"/>
                  </a:ext>
                </a:extLst>
              </p:cNvPr>
              <p:cNvSpPr>
                <a:spLocks/>
              </p:cNvSpPr>
              <p:nvPr/>
            </p:nvSpPr>
            <p:spPr bwMode="gray">
              <a:xfrm>
                <a:off x="2722879" y="2413554"/>
                <a:ext cx="57707" cy="60057"/>
              </a:xfrm>
              <a:custGeom>
                <a:avLst/>
                <a:gdLst>
                  <a:gd name="T0" fmla="*/ 0 w 41"/>
                  <a:gd name="T1" fmla="*/ 23 h 41"/>
                  <a:gd name="T2" fmla="*/ 40 w 41"/>
                  <a:gd name="T3" fmla="*/ 40 h 41"/>
                  <a:gd name="T4" fmla="*/ 40 w 41"/>
                  <a:gd name="T5" fmla="*/ 16 h 41"/>
                  <a:gd name="T6" fmla="*/ 23 w 41"/>
                  <a:gd name="T7" fmla="*/ 0 h 41"/>
                  <a:gd name="T8" fmla="*/ 16 w 41"/>
                  <a:gd name="T9" fmla="*/ 0 h 41"/>
                  <a:gd name="T10" fmla="*/ 0 w 41"/>
                  <a:gd name="T11" fmla="*/ 23 h 41"/>
                </a:gdLst>
                <a:ahLst/>
                <a:cxnLst>
                  <a:cxn ang="0">
                    <a:pos x="T0" y="T1"/>
                  </a:cxn>
                  <a:cxn ang="0">
                    <a:pos x="T2" y="T3"/>
                  </a:cxn>
                  <a:cxn ang="0">
                    <a:pos x="T4" y="T5"/>
                  </a:cxn>
                  <a:cxn ang="0">
                    <a:pos x="T6" y="T7"/>
                  </a:cxn>
                  <a:cxn ang="0">
                    <a:pos x="T8" y="T9"/>
                  </a:cxn>
                  <a:cxn ang="0">
                    <a:pos x="T10" y="T11"/>
                  </a:cxn>
                </a:cxnLst>
                <a:rect l="0" t="0" r="r" b="b"/>
                <a:pathLst>
                  <a:path w="41" h="41">
                    <a:moveTo>
                      <a:pt x="0" y="23"/>
                    </a:moveTo>
                    <a:lnTo>
                      <a:pt x="40" y="40"/>
                    </a:lnTo>
                    <a:lnTo>
                      <a:pt x="40" y="16"/>
                    </a:lnTo>
                    <a:lnTo>
                      <a:pt x="23" y="0"/>
                    </a:lnTo>
                    <a:lnTo>
                      <a:pt x="16" y="0"/>
                    </a:lnTo>
                    <a:lnTo>
                      <a:pt x="0" y="23"/>
                    </a:lnTo>
                  </a:path>
                </a:pathLst>
              </a:custGeom>
              <a:grpFill/>
              <a:ln w="6350" cap="rnd" cmpd="sng">
                <a:solidFill>
                  <a:srgbClr val="D0D0D0"/>
                </a:solidFill>
                <a:prstDash val="solid"/>
                <a:round/>
                <a:headEnd/>
                <a:tailEnd/>
              </a:ln>
              <a:effectLst/>
            </p:spPr>
            <p:txBody>
              <a:bodyPr/>
              <a:lstStyle/>
              <a:p>
                <a:endParaRPr lang="de-DE" dirty="0"/>
              </a:p>
            </p:txBody>
          </p:sp>
          <p:sp>
            <p:nvSpPr>
              <p:cNvPr id="473" name="Freeform 213">
                <a:extLst>
                  <a:ext uri="{FF2B5EF4-FFF2-40B4-BE49-F238E27FC236}">
                    <a16:creationId xmlns:a16="http://schemas.microsoft.com/office/drawing/2014/main" id="{CA80B96A-0B5C-52D4-A662-C823A86F5AA2}"/>
                  </a:ext>
                </a:extLst>
              </p:cNvPr>
              <p:cNvSpPr>
                <a:spLocks/>
              </p:cNvSpPr>
              <p:nvPr/>
            </p:nvSpPr>
            <p:spPr bwMode="gray">
              <a:xfrm>
                <a:off x="2733479" y="2294664"/>
                <a:ext cx="299130" cy="202234"/>
              </a:xfrm>
              <a:custGeom>
                <a:avLst/>
                <a:gdLst>
                  <a:gd name="T0" fmla="*/ 0 w 212"/>
                  <a:gd name="T1" fmla="*/ 0 h 138"/>
                  <a:gd name="T2" fmla="*/ 0 w 212"/>
                  <a:gd name="T3" fmla="*/ 16 h 138"/>
                  <a:gd name="T4" fmla="*/ 15 w 212"/>
                  <a:gd name="T5" fmla="*/ 40 h 138"/>
                  <a:gd name="T6" fmla="*/ 32 w 212"/>
                  <a:gd name="T7" fmla="*/ 40 h 138"/>
                  <a:gd name="T8" fmla="*/ 49 w 212"/>
                  <a:gd name="T9" fmla="*/ 47 h 138"/>
                  <a:gd name="T10" fmla="*/ 49 w 212"/>
                  <a:gd name="T11" fmla="*/ 121 h 138"/>
                  <a:gd name="T12" fmla="*/ 120 w 212"/>
                  <a:gd name="T13" fmla="*/ 137 h 138"/>
                  <a:gd name="T14" fmla="*/ 145 w 212"/>
                  <a:gd name="T15" fmla="*/ 137 h 138"/>
                  <a:gd name="T16" fmla="*/ 161 w 212"/>
                  <a:gd name="T17" fmla="*/ 121 h 138"/>
                  <a:gd name="T18" fmla="*/ 179 w 212"/>
                  <a:gd name="T19" fmla="*/ 129 h 138"/>
                  <a:gd name="T20" fmla="*/ 202 w 212"/>
                  <a:gd name="T21" fmla="*/ 121 h 138"/>
                  <a:gd name="T22" fmla="*/ 211 w 212"/>
                  <a:gd name="T23" fmla="*/ 81 h 138"/>
                  <a:gd name="T24" fmla="*/ 186 w 212"/>
                  <a:gd name="T25" fmla="*/ 72 h 138"/>
                  <a:gd name="T26" fmla="*/ 145 w 212"/>
                  <a:gd name="T27" fmla="*/ 63 h 138"/>
                  <a:gd name="T28" fmla="*/ 120 w 212"/>
                  <a:gd name="T29" fmla="*/ 81 h 138"/>
                  <a:gd name="T30" fmla="*/ 96 w 212"/>
                  <a:gd name="T31" fmla="*/ 72 h 138"/>
                  <a:gd name="T32" fmla="*/ 73 w 212"/>
                  <a:gd name="T33" fmla="*/ 56 h 138"/>
                  <a:gd name="T34" fmla="*/ 80 w 212"/>
                  <a:gd name="T35" fmla="*/ 47 h 138"/>
                  <a:gd name="T36" fmla="*/ 64 w 212"/>
                  <a:gd name="T37" fmla="*/ 23 h 138"/>
                  <a:gd name="T38" fmla="*/ 40 w 212"/>
                  <a:gd name="T39" fmla="*/ 23 h 138"/>
                  <a:gd name="T40" fmla="*/ 24 w 212"/>
                  <a:gd name="T41" fmla="*/ 7 h 138"/>
                  <a:gd name="T42" fmla="*/ 0 w 212"/>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474" name="Freeform 214">
                <a:extLst>
                  <a:ext uri="{FF2B5EF4-FFF2-40B4-BE49-F238E27FC236}">
                    <a16:creationId xmlns:a16="http://schemas.microsoft.com/office/drawing/2014/main" id="{C90A4B09-C0C8-72BE-D80D-4DF128EBC229}"/>
                  </a:ext>
                </a:extLst>
              </p:cNvPr>
              <p:cNvSpPr>
                <a:spLocks/>
              </p:cNvSpPr>
              <p:nvPr/>
            </p:nvSpPr>
            <p:spPr bwMode="gray">
              <a:xfrm>
                <a:off x="2754677" y="1866908"/>
                <a:ext cx="162519" cy="334605"/>
              </a:xfrm>
              <a:custGeom>
                <a:avLst/>
                <a:gdLst>
                  <a:gd name="T0" fmla="*/ 0 w 115"/>
                  <a:gd name="T1" fmla="*/ 97 h 228"/>
                  <a:gd name="T2" fmla="*/ 25 w 115"/>
                  <a:gd name="T3" fmla="*/ 146 h 228"/>
                  <a:gd name="T4" fmla="*/ 17 w 115"/>
                  <a:gd name="T5" fmla="*/ 169 h 228"/>
                  <a:gd name="T6" fmla="*/ 17 w 115"/>
                  <a:gd name="T7" fmla="*/ 202 h 228"/>
                  <a:gd name="T8" fmla="*/ 34 w 115"/>
                  <a:gd name="T9" fmla="*/ 227 h 228"/>
                  <a:gd name="T10" fmla="*/ 74 w 115"/>
                  <a:gd name="T11" fmla="*/ 227 h 228"/>
                  <a:gd name="T12" fmla="*/ 99 w 115"/>
                  <a:gd name="T13" fmla="*/ 169 h 228"/>
                  <a:gd name="T14" fmla="*/ 114 w 115"/>
                  <a:gd name="T15" fmla="*/ 153 h 228"/>
                  <a:gd name="T16" fmla="*/ 114 w 115"/>
                  <a:gd name="T17" fmla="*/ 128 h 228"/>
                  <a:gd name="T18" fmla="*/ 90 w 115"/>
                  <a:gd name="T19" fmla="*/ 122 h 228"/>
                  <a:gd name="T20" fmla="*/ 99 w 115"/>
                  <a:gd name="T21" fmla="*/ 88 h 228"/>
                  <a:gd name="T22" fmla="*/ 90 w 115"/>
                  <a:gd name="T23" fmla="*/ 65 h 228"/>
                  <a:gd name="T24" fmla="*/ 58 w 115"/>
                  <a:gd name="T25" fmla="*/ 65 h 228"/>
                  <a:gd name="T26" fmla="*/ 40 w 115"/>
                  <a:gd name="T27" fmla="*/ 40 h 228"/>
                  <a:gd name="T28" fmla="*/ 34 w 115"/>
                  <a:gd name="T29" fmla="*/ 0 h 228"/>
                  <a:gd name="T30" fmla="*/ 17 w 115"/>
                  <a:gd name="T31" fmla="*/ 0 h 228"/>
                  <a:gd name="T32" fmla="*/ 17 w 115"/>
                  <a:gd name="T33" fmla="*/ 40 h 228"/>
                  <a:gd name="T34" fmla="*/ 0 w 115"/>
                  <a:gd name="T35" fmla="*/ 65 h 228"/>
                  <a:gd name="T36" fmla="*/ 0 w 115"/>
                  <a:gd name="T37" fmla="*/ 9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75" name="Freeform 215">
                <a:extLst>
                  <a:ext uri="{FF2B5EF4-FFF2-40B4-BE49-F238E27FC236}">
                    <a16:creationId xmlns:a16="http://schemas.microsoft.com/office/drawing/2014/main" id="{38ED8359-79F4-AA14-8298-07FF0DF92B3A}"/>
                  </a:ext>
                </a:extLst>
              </p:cNvPr>
              <p:cNvSpPr>
                <a:spLocks/>
              </p:cNvSpPr>
              <p:nvPr/>
            </p:nvSpPr>
            <p:spPr bwMode="gray">
              <a:xfrm>
                <a:off x="2837114" y="1616873"/>
                <a:ext cx="526420" cy="748879"/>
              </a:xfrm>
              <a:custGeom>
                <a:avLst/>
                <a:gdLst>
                  <a:gd name="T0" fmla="*/ 0 w 374"/>
                  <a:gd name="T1" fmla="*/ 156 h 511"/>
                  <a:gd name="T2" fmla="*/ 7 w 374"/>
                  <a:gd name="T3" fmla="*/ 196 h 511"/>
                  <a:gd name="T4" fmla="*/ 23 w 374"/>
                  <a:gd name="T5" fmla="*/ 219 h 511"/>
                  <a:gd name="T6" fmla="*/ 66 w 374"/>
                  <a:gd name="T7" fmla="*/ 219 h 511"/>
                  <a:gd name="T8" fmla="*/ 88 w 374"/>
                  <a:gd name="T9" fmla="*/ 211 h 511"/>
                  <a:gd name="T10" fmla="*/ 162 w 374"/>
                  <a:gd name="T11" fmla="*/ 203 h 511"/>
                  <a:gd name="T12" fmla="*/ 138 w 374"/>
                  <a:gd name="T13" fmla="*/ 219 h 511"/>
                  <a:gd name="T14" fmla="*/ 97 w 374"/>
                  <a:gd name="T15" fmla="*/ 236 h 511"/>
                  <a:gd name="T16" fmla="*/ 88 w 374"/>
                  <a:gd name="T17" fmla="*/ 251 h 511"/>
                  <a:gd name="T18" fmla="*/ 56 w 374"/>
                  <a:gd name="T19" fmla="*/ 236 h 511"/>
                  <a:gd name="T20" fmla="*/ 47 w 374"/>
                  <a:gd name="T21" fmla="*/ 276 h 511"/>
                  <a:gd name="T22" fmla="*/ 66 w 374"/>
                  <a:gd name="T23" fmla="*/ 293 h 511"/>
                  <a:gd name="T24" fmla="*/ 72 w 374"/>
                  <a:gd name="T25" fmla="*/ 348 h 511"/>
                  <a:gd name="T26" fmla="*/ 56 w 374"/>
                  <a:gd name="T27" fmla="*/ 358 h 511"/>
                  <a:gd name="T28" fmla="*/ 32 w 374"/>
                  <a:gd name="T29" fmla="*/ 398 h 511"/>
                  <a:gd name="T30" fmla="*/ 66 w 374"/>
                  <a:gd name="T31" fmla="*/ 405 h 511"/>
                  <a:gd name="T32" fmla="*/ 32 w 374"/>
                  <a:gd name="T33" fmla="*/ 413 h 511"/>
                  <a:gd name="T34" fmla="*/ 32 w 374"/>
                  <a:gd name="T35" fmla="*/ 438 h 511"/>
                  <a:gd name="T36" fmla="*/ 41 w 374"/>
                  <a:gd name="T37" fmla="*/ 445 h 511"/>
                  <a:gd name="T38" fmla="*/ 7 w 374"/>
                  <a:gd name="T39" fmla="*/ 470 h 511"/>
                  <a:gd name="T40" fmla="*/ 7 w 374"/>
                  <a:gd name="T41" fmla="*/ 495 h 511"/>
                  <a:gd name="T42" fmla="*/ 66 w 374"/>
                  <a:gd name="T43" fmla="*/ 503 h 511"/>
                  <a:gd name="T44" fmla="*/ 81 w 374"/>
                  <a:gd name="T45" fmla="*/ 495 h 511"/>
                  <a:gd name="T46" fmla="*/ 97 w 374"/>
                  <a:gd name="T47" fmla="*/ 503 h 511"/>
                  <a:gd name="T48" fmla="*/ 113 w 374"/>
                  <a:gd name="T49" fmla="*/ 495 h 511"/>
                  <a:gd name="T50" fmla="*/ 121 w 374"/>
                  <a:gd name="T51" fmla="*/ 510 h 511"/>
                  <a:gd name="T52" fmla="*/ 146 w 374"/>
                  <a:gd name="T53" fmla="*/ 495 h 511"/>
                  <a:gd name="T54" fmla="*/ 162 w 374"/>
                  <a:gd name="T55" fmla="*/ 470 h 511"/>
                  <a:gd name="T56" fmla="*/ 146 w 374"/>
                  <a:gd name="T57" fmla="*/ 445 h 511"/>
                  <a:gd name="T58" fmla="*/ 162 w 374"/>
                  <a:gd name="T59" fmla="*/ 430 h 511"/>
                  <a:gd name="T60" fmla="*/ 162 w 374"/>
                  <a:gd name="T61" fmla="*/ 405 h 511"/>
                  <a:gd name="T62" fmla="*/ 186 w 374"/>
                  <a:gd name="T63" fmla="*/ 405 h 511"/>
                  <a:gd name="T64" fmla="*/ 209 w 374"/>
                  <a:gd name="T65" fmla="*/ 308 h 511"/>
                  <a:gd name="T66" fmla="*/ 243 w 374"/>
                  <a:gd name="T67" fmla="*/ 293 h 511"/>
                  <a:gd name="T68" fmla="*/ 275 w 374"/>
                  <a:gd name="T69" fmla="*/ 227 h 511"/>
                  <a:gd name="T70" fmla="*/ 333 w 374"/>
                  <a:gd name="T71" fmla="*/ 156 h 511"/>
                  <a:gd name="T72" fmla="*/ 333 w 374"/>
                  <a:gd name="T73" fmla="*/ 137 h 511"/>
                  <a:gd name="T74" fmla="*/ 373 w 374"/>
                  <a:gd name="T75" fmla="*/ 90 h 511"/>
                  <a:gd name="T76" fmla="*/ 373 w 374"/>
                  <a:gd name="T77" fmla="*/ 65 h 511"/>
                  <a:gd name="T78" fmla="*/ 349 w 374"/>
                  <a:gd name="T79" fmla="*/ 57 h 511"/>
                  <a:gd name="T80" fmla="*/ 333 w 374"/>
                  <a:gd name="T81" fmla="*/ 25 h 511"/>
                  <a:gd name="T82" fmla="*/ 268 w 374"/>
                  <a:gd name="T83" fmla="*/ 0 h 511"/>
                  <a:gd name="T84" fmla="*/ 227 w 374"/>
                  <a:gd name="T85" fmla="*/ 0 h 511"/>
                  <a:gd name="T86" fmla="*/ 203 w 374"/>
                  <a:gd name="T87" fmla="*/ 9 h 511"/>
                  <a:gd name="T88" fmla="*/ 169 w 374"/>
                  <a:gd name="T89" fmla="*/ 0 h 511"/>
                  <a:gd name="T90" fmla="*/ 121 w 374"/>
                  <a:gd name="T91" fmla="*/ 17 h 511"/>
                  <a:gd name="T92" fmla="*/ 97 w 374"/>
                  <a:gd name="T93" fmla="*/ 49 h 511"/>
                  <a:gd name="T94" fmla="*/ 47 w 374"/>
                  <a:gd name="T95" fmla="*/ 90 h 511"/>
                  <a:gd name="T96" fmla="*/ 47 w 374"/>
                  <a:gd name="T97" fmla="*/ 113 h 511"/>
                  <a:gd name="T98" fmla="*/ 16 w 374"/>
                  <a:gd name="T99" fmla="*/ 113 h 511"/>
                  <a:gd name="T100" fmla="*/ 0 w 374"/>
                  <a:gd name="T101" fmla="*/ 15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76" name="Freeform 216">
                <a:extLst>
                  <a:ext uri="{FF2B5EF4-FFF2-40B4-BE49-F238E27FC236}">
                    <a16:creationId xmlns:a16="http://schemas.microsoft.com/office/drawing/2014/main" id="{C1174942-5BD9-21AB-5BAC-AF38E6546BB9}"/>
                  </a:ext>
                </a:extLst>
              </p:cNvPr>
              <p:cNvSpPr>
                <a:spLocks/>
              </p:cNvSpPr>
              <p:nvPr/>
            </p:nvSpPr>
            <p:spPr bwMode="gray">
              <a:xfrm>
                <a:off x="2549762" y="2081399"/>
                <a:ext cx="196672" cy="154433"/>
              </a:xfrm>
              <a:custGeom>
                <a:avLst/>
                <a:gdLst>
                  <a:gd name="T0" fmla="*/ 0 w 140"/>
                  <a:gd name="T1" fmla="*/ 7 h 106"/>
                  <a:gd name="T2" fmla="*/ 0 w 140"/>
                  <a:gd name="T3" fmla="*/ 23 h 106"/>
                  <a:gd name="T4" fmla="*/ 24 w 140"/>
                  <a:gd name="T5" fmla="*/ 31 h 106"/>
                  <a:gd name="T6" fmla="*/ 18 w 140"/>
                  <a:gd name="T7" fmla="*/ 56 h 106"/>
                  <a:gd name="T8" fmla="*/ 24 w 140"/>
                  <a:gd name="T9" fmla="*/ 72 h 106"/>
                  <a:gd name="T10" fmla="*/ 65 w 140"/>
                  <a:gd name="T11" fmla="*/ 81 h 106"/>
                  <a:gd name="T12" fmla="*/ 83 w 140"/>
                  <a:gd name="T13" fmla="*/ 105 h 106"/>
                  <a:gd name="T14" fmla="*/ 98 w 140"/>
                  <a:gd name="T15" fmla="*/ 88 h 106"/>
                  <a:gd name="T16" fmla="*/ 131 w 140"/>
                  <a:gd name="T17" fmla="*/ 88 h 106"/>
                  <a:gd name="T18" fmla="*/ 139 w 140"/>
                  <a:gd name="T19" fmla="*/ 72 h 106"/>
                  <a:gd name="T20" fmla="*/ 131 w 140"/>
                  <a:gd name="T21" fmla="*/ 56 h 106"/>
                  <a:gd name="T22" fmla="*/ 106 w 140"/>
                  <a:gd name="T23" fmla="*/ 31 h 106"/>
                  <a:gd name="T24" fmla="*/ 98 w 140"/>
                  <a:gd name="T25" fmla="*/ 81 h 106"/>
                  <a:gd name="T26" fmla="*/ 83 w 140"/>
                  <a:gd name="T27" fmla="*/ 81 h 106"/>
                  <a:gd name="T28" fmla="*/ 83 w 140"/>
                  <a:gd name="T29" fmla="*/ 31 h 106"/>
                  <a:gd name="T30" fmla="*/ 65 w 140"/>
                  <a:gd name="T31" fmla="*/ 7 h 106"/>
                  <a:gd name="T32" fmla="*/ 9 w 140"/>
                  <a:gd name="T33" fmla="*/ 0 h 106"/>
                  <a:gd name="T34" fmla="*/ 0 w 140"/>
                  <a:gd name="T35" fmla="*/ 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77" name="Freeform 217">
                <a:extLst>
                  <a:ext uri="{FF2B5EF4-FFF2-40B4-BE49-F238E27FC236}">
                    <a16:creationId xmlns:a16="http://schemas.microsoft.com/office/drawing/2014/main" id="{AFA4E48E-78EC-D492-1C25-590CABB18F94}"/>
                  </a:ext>
                </a:extLst>
              </p:cNvPr>
              <p:cNvSpPr>
                <a:spLocks/>
              </p:cNvSpPr>
              <p:nvPr/>
            </p:nvSpPr>
            <p:spPr bwMode="gray">
              <a:xfrm>
                <a:off x="2722879" y="2221125"/>
                <a:ext cx="81260" cy="49026"/>
              </a:xfrm>
              <a:custGeom>
                <a:avLst/>
                <a:gdLst>
                  <a:gd name="T0" fmla="*/ 0 w 58"/>
                  <a:gd name="T1" fmla="*/ 9 h 33"/>
                  <a:gd name="T2" fmla="*/ 48 w 58"/>
                  <a:gd name="T3" fmla="*/ 32 h 33"/>
                  <a:gd name="T4" fmla="*/ 57 w 58"/>
                  <a:gd name="T5" fmla="*/ 17 h 33"/>
                  <a:gd name="T6" fmla="*/ 57 w 58"/>
                  <a:gd name="T7" fmla="*/ 0 h 33"/>
                  <a:gd name="T8" fmla="*/ 23 w 58"/>
                  <a:gd name="T9" fmla="*/ 0 h 33"/>
                  <a:gd name="T10" fmla="*/ 0 w 58"/>
                  <a:gd name="T11" fmla="*/ 9 h 33"/>
                </a:gdLst>
                <a:ahLst/>
                <a:cxnLst>
                  <a:cxn ang="0">
                    <a:pos x="T0" y="T1"/>
                  </a:cxn>
                  <a:cxn ang="0">
                    <a:pos x="T2" y="T3"/>
                  </a:cxn>
                  <a:cxn ang="0">
                    <a:pos x="T4" y="T5"/>
                  </a:cxn>
                  <a:cxn ang="0">
                    <a:pos x="T6" y="T7"/>
                  </a:cxn>
                  <a:cxn ang="0">
                    <a:pos x="T8" y="T9"/>
                  </a:cxn>
                  <a:cxn ang="0">
                    <a:pos x="T10" y="T11"/>
                  </a:cxn>
                </a:cxnLst>
                <a:rect l="0" t="0" r="r" b="b"/>
                <a:pathLst>
                  <a:path w="58" h="33">
                    <a:moveTo>
                      <a:pt x="0" y="9"/>
                    </a:moveTo>
                    <a:lnTo>
                      <a:pt x="48" y="32"/>
                    </a:lnTo>
                    <a:lnTo>
                      <a:pt x="57" y="17"/>
                    </a:lnTo>
                    <a:lnTo>
                      <a:pt x="57" y="0"/>
                    </a:lnTo>
                    <a:lnTo>
                      <a:pt x="23" y="0"/>
                    </a:lnTo>
                    <a:lnTo>
                      <a:pt x="0" y="9"/>
                    </a:lnTo>
                  </a:path>
                </a:pathLst>
              </a:custGeom>
              <a:grpFill/>
              <a:ln w="6350" cap="rnd" cmpd="sng">
                <a:solidFill>
                  <a:srgbClr val="D0D0D0"/>
                </a:solidFill>
                <a:prstDash val="solid"/>
                <a:round/>
                <a:headEnd/>
                <a:tailEnd/>
              </a:ln>
              <a:effectLst/>
            </p:spPr>
            <p:txBody>
              <a:bodyPr/>
              <a:lstStyle/>
              <a:p>
                <a:endParaRPr lang="de-DE" dirty="0"/>
              </a:p>
            </p:txBody>
          </p:sp>
          <p:sp>
            <p:nvSpPr>
              <p:cNvPr id="478" name="Freeform 218">
                <a:extLst>
                  <a:ext uri="{FF2B5EF4-FFF2-40B4-BE49-F238E27FC236}">
                    <a16:creationId xmlns:a16="http://schemas.microsoft.com/office/drawing/2014/main" id="{3622ECE0-1445-0F67-9A32-27FE5FA87047}"/>
                  </a:ext>
                </a:extLst>
              </p:cNvPr>
              <p:cNvSpPr>
                <a:spLocks/>
              </p:cNvSpPr>
              <p:nvPr/>
            </p:nvSpPr>
            <p:spPr bwMode="gray">
              <a:xfrm>
                <a:off x="2562716" y="2234607"/>
                <a:ext cx="36508" cy="61283"/>
              </a:xfrm>
              <a:custGeom>
                <a:avLst/>
                <a:gdLst>
                  <a:gd name="T0" fmla="*/ 0 w 26"/>
                  <a:gd name="T1" fmla="*/ 0 h 42"/>
                  <a:gd name="T2" fmla="*/ 0 w 26"/>
                  <a:gd name="T3" fmla="*/ 33 h 42"/>
                  <a:gd name="T4" fmla="*/ 25 w 26"/>
                  <a:gd name="T5" fmla="*/ 41 h 42"/>
                  <a:gd name="T6" fmla="*/ 9 w 26"/>
                  <a:gd name="T7" fmla="*/ 0 h 42"/>
                  <a:gd name="T8" fmla="*/ 0 w 26"/>
                  <a:gd name="T9" fmla="*/ 0 h 42"/>
                </a:gdLst>
                <a:ahLst/>
                <a:cxnLst>
                  <a:cxn ang="0">
                    <a:pos x="T0" y="T1"/>
                  </a:cxn>
                  <a:cxn ang="0">
                    <a:pos x="T2" y="T3"/>
                  </a:cxn>
                  <a:cxn ang="0">
                    <a:pos x="T4" y="T5"/>
                  </a:cxn>
                  <a:cxn ang="0">
                    <a:pos x="T6" y="T7"/>
                  </a:cxn>
                  <a:cxn ang="0">
                    <a:pos x="T8" y="T9"/>
                  </a:cxn>
                </a:cxnLst>
                <a:rect l="0" t="0" r="r" b="b"/>
                <a:pathLst>
                  <a:path w="26" h="42">
                    <a:moveTo>
                      <a:pt x="0" y="0"/>
                    </a:moveTo>
                    <a:lnTo>
                      <a:pt x="0" y="33"/>
                    </a:lnTo>
                    <a:lnTo>
                      <a:pt x="25" y="41"/>
                    </a:lnTo>
                    <a:lnTo>
                      <a:pt x="9"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479" name="Freeform 219">
                <a:extLst>
                  <a:ext uri="{FF2B5EF4-FFF2-40B4-BE49-F238E27FC236}">
                    <a16:creationId xmlns:a16="http://schemas.microsoft.com/office/drawing/2014/main" id="{709BBD8C-6AF5-0E1A-E7B8-D1851809AB49}"/>
                  </a:ext>
                </a:extLst>
              </p:cNvPr>
              <p:cNvSpPr>
                <a:spLocks/>
              </p:cNvSpPr>
              <p:nvPr/>
            </p:nvSpPr>
            <p:spPr bwMode="gray">
              <a:xfrm>
                <a:off x="2574492" y="2317951"/>
                <a:ext cx="126012" cy="131146"/>
              </a:xfrm>
              <a:custGeom>
                <a:avLst/>
                <a:gdLst>
                  <a:gd name="T0" fmla="*/ 0 w 89"/>
                  <a:gd name="T1" fmla="*/ 7 h 89"/>
                  <a:gd name="T2" fmla="*/ 24 w 89"/>
                  <a:gd name="T3" fmla="*/ 71 h 89"/>
                  <a:gd name="T4" fmla="*/ 40 w 89"/>
                  <a:gd name="T5" fmla="*/ 56 h 89"/>
                  <a:gd name="T6" fmla="*/ 56 w 89"/>
                  <a:gd name="T7" fmla="*/ 88 h 89"/>
                  <a:gd name="T8" fmla="*/ 80 w 89"/>
                  <a:gd name="T9" fmla="*/ 88 h 89"/>
                  <a:gd name="T10" fmla="*/ 88 w 89"/>
                  <a:gd name="T11" fmla="*/ 65 h 89"/>
                  <a:gd name="T12" fmla="*/ 88 w 89"/>
                  <a:gd name="T13" fmla="*/ 16 h 89"/>
                  <a:gd name="T14" fmla="*/ 71 w 89"/>
                  <a:gd name="T15" fmla="*/ 0 h 89"/>
                  <a:gd name="T16" fmla="*/ 47 w 89"/>
                  <a:gd name="T17" fmla="*/ 0 h 89"/>
                  <a:gd name="T18" fmla="*/ 40 w 89"/>
                  <a:gd name="T19" fmla="*/ 40 h 89"/>
                  <a:gd name="T20" fmla="*/ 16 w 89"/>
                  <a:gd name="T21" fmla="*/ 7 h 89"/>
                  <a:gd name="T22" fmla="*/ 0 w 89"/>
                  <a:gd name="T23"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6350" cap="rnd" cmpd="sng">
                <a:solidFill>
                  <a:srgbClr val="D0D0D0"/>
                </a:solidFill>
                <a:prstDash val="solid"/>
                <a:round/>
                <a:headEnd/>
                <a:tailEnd/>
              </a:ln>
              <a:effectLst/>
            </p:spPr>
            <p:txBody>
              <a:bodyPr/>
              <a:lstStyle/>
              <a:p>
                <a:endParaRPr lang="de-DE" dirty="0"/>
              </a:p>
            </p:txBody>
          </p:sp>
          <p:sp>
            <p:nvSpPr>
              <p:cNvPr id="480" name="Freeform 220">
                <a:extLst>
                  <a:ext uri="{FF2B5EF4-FFF2-40B4-BE49-F238E27FC236}">
                    <a16:creationId xmlns:a16="http://schemas.microsoft.com/office/drawing/2014/main" id="{C0A00BC9-1CA7-05C8-9961-AE325F05ED5D}"/>
                  </a:ext>
                </a:extLst>
              </p:cNvPr>
              <p:cNvSpPr>
                <a:spLocks/>
              </p:cNvSpPr>
              <p:nvPr/>
            </p:nvSpPr>
            <p:spPr bwMode="gray">
              <a:xfrm>
                <a:off x="2413151" y="2150036"/>
                <a:ext cx="94214" cy="37996"/>
              </a:xfrm>
              <a:custGeom>
                <a:avLst/>
                <a:gdLst>
                  <a:gd name="T0" fmla="*/ 0 w 67"/>
                  <a:gd name="T1" fmla="*/ 25 h 26"/>
                  <a:gd name="T2" fmla="*/ 56 w 67"/>
                  <a:gd name="T3" fmla="*/ 25 h 26"/>
                  <a:gd name="T4" fmla="*/ 66 w 67"/>
                  <a:gd name="T5" fmla="*/ 16 h 26"/>
                  <a:gd name="T6" fmla="*/ 41 w 67"/>
                  <a:gd name="T7" fmla="*/ 0 h 26"/>
                  <a:gd name="T8" fmla="*/ 9 w 67"/>
                  <a:gd name="T9" fmla="*/ 9 h 26"/>
                  <a:gd name="T10" fmla="*/ 0 w 67"/>
                  <a:gd name="T11" fmla="*/ 25 h 26"/>
                </a:gdLst>
                <a:ahLst/>
                <a:cxnLst>
                  <a:cxn ang="0">
                    <a:pos x="T0" y="T1"/>
                  </a:cxn>
                  <a:cxn ang="0">
                    <a:pos x="T2" y="T3"/>
                  </a:cxn>
                  <a:cxn ang="0">
                    <a:pos x="T4" y="T5"/>
                  </a:cxn>
                  <a:cxn ang="0">
                    <a:pos x="T6" y="T7"/>
                  </a:cxn>
                  <a:cxn ang="0">
                    <a:pos x="T8" y="T9"/>
                  </a:cxn>
                  <a:cxn ang="0">
                    <a:pos x="T10" y="T11"/>
                  </a:cxn>
                </a:cxnLst>
                <a:rect l="0" t="0" r="r" b="b"/>
                <a:pathLst>
                  <a:path w="67" h="26">
                    <a:moveTo>
                      <a:pt x="0" y="25"/>
                    </a:moveTo>
                    <a:lnTo>
                      <a:pt x="56" y="25"/>
                    </a:lnTo>
                    <a:lnTo>
                      <a:pt x="66" y="16"/>
                    </a:lnTo>
                    <a:lnTo>
                      <a:pt x="41" y="0"/>
                    </a:lnTo>
                    <a:lnTo>
                      <a:pt x="9" y="9"/>
                    </a:lnTo>
                    <a:lnTo>
                      <a:pt x="0" y="25"/>
                    </a:lnTo>
                  </a:path>
                </a:pathLst>
              </a:custGeom>
              <a:grpFill/>
              <a:ln w="6350" cap="rnd" cmpd="sng">
                <a:solidFill>
                  <a:srgbClr val="D0D0D0"/>
                </a:solidFill>
                <a:prstDash val="solid"/>
                <a:round/>
                <a:headEnd/>
                <a:tailEnd/>
              </a:ln>
              <a:effectLst/>
            </p:spPr>
            <p:txBody>
              <a:bodyPr/>
              <a:lstStyle/>
              <a:p>
                <a:endParaRPr lang="de-DE" dirty="0"/>
              </a:p>
            </p:txBody>
          </p:sp>
          <p:sp>
            <p:nvSpPr>
              <p:cNvPr id="481" name="Freeform 221">
                <a:extLst>
                  <a:ext uri="{FF2B5EF4-FFF2-40B4-BE49-F238E27FC236}">
                    <a16:creationId xmlns:a16="http://schemas.microsoft.com/office/drawing/2014/main" id="{DBE14055-EDB9-5FF8-EDFC-26513BDEC21C}"/>
                  </a:ext>
                </a:extLst>
              </p:cNvPr>
              <p:cNvSpPr>
                <a:spLocks/>
              </p:cNvSpPr>
              <p:nvPr/>
            </p:nvSpPr>
            <p:spPr bwMode="gray">
              <a:xfrm>
                <a:off x="2378999" y="2199062"/>
                <a:ext cx="35330" cy="36769"/>
              </a:xfrm>
              <a:custGeom>
                <a:avLst/>
                <a:gdLst>
                  <a:gd name="T0" fmla="*/ 0 w 25"/>
                  <a:gd name="T1" fmla="*/ 7 h 25"/>
                  <a:gd name="T2" fmla="*/ 8 w 25"/>
                  <a:gd name="T3" fmla="*/ 24 h 25"/>
                  <a:gd name="T4" fmla="*/ 24 w 25"/>
                  <a:gd name="T5" fmla="*/ 24 h 25"/>
                  <a:gd name="T6" fmla="*/ 16 w 25"/>
                  <a:gd name="T7" fmla="*/ 0 h 25"/>
                  <a:gd name="T8" fmla="*/ 0 w 25"/>
                  <a:gd name="T9" fmla="*/ 7 h 25"/>
                </a:gdLst>
                <a:ahLst/>
                <a:cxnLst>
                  <a:cxn ang="0">
                    <a:pos x="T0" y="T1"/>
                  </a:cxn>
                  <a:cxn ang="0">
                    <a:pos x="T2" y="T3"/>
                  </a:cxn>
                  <a:cxn ang="0">
                    <a:pos x="T4" y="T5"/>
                  </a:cxn>
                  <a:cxn ang="0">
                    <a:pos x="T6" y="T7"/>
                  </a:cxn>
                  <a:cxn ang="0">
                    <a:pos x="T8" y="T9"/>
                  </a:cxn>
                </a:cxnLst>
                <a:rect l="0" t="0" r="r" b="b"/>
                <a:pathLst>
                  <a:path w="25" h="25">
                    <a:moveTo>
                      <a:pt x="0" y="7"/>
                    </a:moveTo>
                    <a:lnTo>
                      <a:pt x="8" y="24"/>
                    </a:lnTo>
                    <a:lnTo>
                      <a:pt x="24" y="24"/>
                    </a:lnTo>
                    <a:lnTo>
                      <a:pt x="16" y="0"/>
                    </a:lnTo>
                    <a:lnTo>
                      <a:pt x="0" y="7"/>
                    </a:lnTo>
                  </a:path>
                </a:pathLst>
              </a:custGeom>
              <a:grpFill/>
              <a:ln w="6350" cap="rnd" cmpd="sng">
                <a:solidFill>
                  <a:srgbClr val="D0D0D0"/>
                </a:solidFill>
                <a:prstDash val="solid"/>
                <a:round/>
                <a:headEnd/>
                <a:tailEnd/>
              </a:ln>
              <a:effectLst/>
            </p:spPr>
            <p:txBody>
              <a:bodyPr/>
              <a:lstStyle/>
              <a:p>
                <a:endParaRPr lang="de-DE" dirty="0"/>
              </a:p>
            </p:txBody>
          </p:sp>
          <p:sp>
            <p:nvSpPr>
              <p:cNvPr id="482" name="Freeform 222">
                <a:extLst>
                  <a:ext uri="{FF2B5EF4-FFF2-40B4-BE49-F238E27FC236}">
                    <a16:creationId xmlns:a16="http://schemas.microsoft.com/office/drawing/2014/main" id="{F6640B58-9D08-0F63-6360-F651D90484E5}"/>
                  </a:ext>
                </a:extLst>
              </p:cNvPr>
              <p:cNvSpPr>
                <a:spLocks/>
              </p:cNvSpPr>
              <p:nvPr/>
            </p:nvSpPr>
            <p:spPr bwMode="gray">
              <a:xfrm>
                <a:off x="2413151" y="2210094"/>
                <a:ext cx="70660" cy="60057"/>
              </a:xfrm>
              <a:custGeom>
                <a:avLst/>
                <a:gdLst>
                  <a:gd name="T0" fmla="*/ 0 w 50"/>
                  <a:gd name="T1" fmla="*/ 17 h 41"/>
                  <a:gd name="T2" fmla="*/ 9 w 50"/>
                  <a:gd name="T3" fmla="*/ 33 h 41"/>
                  <a:gd name="T4" fmla="*/ 24 w 50"/>
                  <a:gd name="T5" fmla="*/ 40 h 41"/>
                  <a:gd name="T6" fmla="*/ 49 w 50"/>
                  <a:gd name="T7" fmla="*/ 25 h 41"/>
                  <a:gd name="T8" fmla="*/ 49 w 50"/>
                  <a:gd name="T9" fmla="*/ 0 h 41"/>
                  <a:gd name="T10" fmla="*/ 0 w 50"/>
                  <a:gd name="T11" fmla="*/ 17 h 41"/>
                </a:gdLst>
                <a:ahLst/>
                <a:cxnLst>
                  <a:cxn ang="0">
                    <a:pos x="T0" y="T1"/>
                  </a:cxn>
                  <a:cxn ang="0">
                    <a:pos x="T2" y="T3"/>
                  </a:cxn>
                  <a:cxn ang="0">
                    <a:pos x="T4" y="T5"/>
                  </a:cxn>
                  <a:cxn ang="0">
                    <a:pos x="T6" y="T7"/>
                  </a:cxn>
                  <a:cxn ang="0">
                    <a:pos x="T8" y="T9"/>
                  </a:cxn>
                  <a:cxn ang="0">
                    <a:pos x="T10" y="T11"/>
                  </a:cxn>
                </a:cxnLst>
                <a:rect l="0" t="0" r="r" b="b"/>
                <a:pathLst>
                  <a:path w="50" h="41">
                    <a:moveTo>
                      <a:pt x="0" y="17"/>
                    </a:moveTo>
                    <a:lnTo>
                      <a:pt x="9" y="33"/>
                    </a:lnTo>
                    <a:lnTo>
                      <a:pt x="24" y="40"/>
                    </a:lnTo>
                    <a:lnTo>
                      <a:pt x="49" y="25"/>
                    </a:lnTo>
                    <a:lnTo>
                      <a:pt x="49" y="0"/>
                    </a:lnTo>
                    <a:lnTo>
                      <a:pt x="0" y="17"/>
                    </a:lnTo>
                  </a:path>
                </a:pathLst>
              </a:custGeom>
              <a:grpFill/>
              <a:ln w="6350" cap="rnd" cmpd="sng">
                <a:solidFill>
                  <a:srgbClr val="D0D0D0"/>
                </a:solidFill>
                <a:prstDash val="solid"/>
                <a:round/>
                <a:headEnd/>
                <a:tailEnd/>
              </a:ln>
              <a:effectLst/>
            </p:spPr>
            <p:txBody>
              <a:bodyPr/>
              <a:lstStyle/>
              <a:p>
                <a:endParaRPr lang="de-DE" dirty="0"/>
              </a:p>
            </p:txBody>
          </p:sp>
          <p:sp>
            <p:nvSpPr>
              <p:cNvPr id="483" name="Freeform 223">
                <a:extLst>
                  <a:ext uri="{FF2B5EF4-FFF2-40B4-BE49-F238E27FC236}">
                    <a16:creationId xmlns:a16="http://schemas.microsoft.com/office/drawing/2014/main" id="{9A8AE735-F2D9-CE27-310B-FDA3D57A42F0}"/>
                  </a:ext>
                </a:extLst>
              </p:cNvPr>
              <p:cNvSpPr>
                <a:spLocks/>
              </p:cNvSpPr>
              <p:nvPr/>
            </p:nvSpPr>
            <p:spPr bwMode="gray">
              <a:xfrm>
                <a:off x="2229434" y="2246863"/>
                <a:ext cx="150742" cy="142177"/>
              </a:xfrm>
              <a:custGeom>
                <a:avLst/>
                <a:gdLst>
                  <a:gd name="T0" fmla="*/ 0 w 107"/>
                  <a:gd name="T1" fmla="*/ 73 h 97"/>
                  <a:gd name="T2" fmla="*/ 9 w 107"/>
                  <a:gd name="T3" fmla="*/ 96 h 97"/>
                  <a:gd name="T4" fmla="*/ 40 w 107"/>
                  <a:gd name="T5" fmla="*/ 96 h 97"/>
                  <a:gd name="T6" fmla="*/ 65 w 107"/>
                  <a:gd name="T7" fmla="*/ 65 h 97"/>
                  <a:gd name="T8" fmla="*/ 81 w 107"/>
                  <a:gd name="T9" fmla="*/ 73 h 97"/>
                  <a:gd name="T10" fmla="*/ 99 w 107"/>
                  <a:gd name="T11" fmla="*/ 49 h 97"/>
                  <a:gd name="T12" fmla="*/ 99 w 107"/>
                  <a:gd name="T13" fmla="*/ 33 h 97"/>
                  <a:gd name="T14" fmla="*/ 106 w 107"/>
                  <a:gd name="T15" fmla="*/ 15 h 97"/>
                  <a:gd name="T16" fmla="*/ 90 w 107"/>
                  <a:gd name="T17" fmla="*/ 0 h 97"/>
                  <a:gd name="T18" fmla="*/ 81 w 107"/>
                  <a:gd name="T19" fmla="*/ 15 h 97"/>
                  <a:gd name="T20" fmla="*/ 58 w 107"/>
                  <a:gd name="T21" fmla="*/ 15 h 97"/>
                  <a:gd name="T22" fmla="*/ 0 w 107"/>
                  <a:gd name="T23" fmla="*/ 7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6350" cap="rnd" cmpd="sng">
                <a:solidFill>
                  <a:srgbClr val="D0D0D0"/>
                </a:solidFill>
                <a:prstDash val="solid"/>
                <a:round/>
                <a:headEnd/>
                <a:tailEnd/>
              </a:ln>
              <a:effectLst/>
            </p:spPr>
            <p:txBody>
              <a:bodyPr/>
              <a:lstStyle/>
              <a:p>
                <a:endParaRPr lang="de-DE" dirty="0"/>
              </a:p>
            </p:txBody>
          </p:sp>
          <p:sp>
            <p:nvSpPr>
              <p:cNvPr id="484" name="Freeform 224">
                <a:extLst>
                  <a:ext uri="{FF2B5EF4-FFF2-40B4-BE49-F238E27FC236}">
                    <a16:creationId xmlns:a16="http://schemas.microsoft.com/office/drawing/2014/main" id="{D1C8F6A2-3BD4-F3D9-B6D2-DB8AD7A756A7}"/>
                  </a:ext>
                </a:extLst>
              </p:cNvPr>
              <p:cNvSpPr>
                <a:spLocks/>
              </p:cNvSpPr>
              <p:nvPr/>
            </p:nvSpPr>
            <p:spPr bwMode="gray">
              <a:xfrm>
                <a:off x="2343669" y="2317951"/>
                <a:ext cx="220225" cy="178947"/>
              </a:xfrm>
              <a:custGeom>
                <a:avLst/>
                <a:gdLst>
                  <a:gd name="T0" fmla="*/ 0 w 156"/>
                  <a:gd name="T1" fmla="*/ 81 h 122"/>
                  <a:gd name="T2" fmla="*/ 33 w 156"/>
                  <a:gd name="T3" fmla="*/ 88 h 122"/>
                  <a:gd name="T4" fmla="*/ 41 w 156"/>
                  <a:gd name="T5" fmla="*/ 81 h 122"/>
                  <a:gd name="T6" fmla="*/ 58 w 156"/>
                  <a:gd name="T7" fmla="*/ 96 h 122"/>
                  <a:gd name="T8" fmla="*/ 41 w 156"/>
                  <a:gd name="T9" fmla="*/ 105 h 122"/>
                  <a:gd name="T10" fmla="*/ 49 w 156"/>
                  <a:gd name="T11" fmla="*/ 113 h 122"/>
                  <a:gd name="T12" fmla="*/ 65 w 156"/>
                  <a:gd name="T13" fmla="*/ 121 h 122"/>
                  <a:gd name="T14" fmla="*/ 105 w 156"/>
                  <a:gd name="T15" fmla="*/ 88 h 122"/>
                  <a:gd name="T16" fmla="*/ 146 w 156"/>
                  <a:gd name="T17" fmla="*/ 88 h 122"/>
                  <a:gd name="T18" fmla="*/ 155 w 156"/>
                  <a:gd name="T19" fmla="*/ 47 h 122"/>
                  <a:gd name="T20" fmla="*/ 115 w 156"/>
                  <a:gd name="T21" fmla="*/ 24 h 122"/>
                  <a:gd name="T22" fmla="*/ 105 w 156"/>
                  <a:gd name="T23" fmla="*/ 0 h 122"/>
                  <a:gd name="T24" fmla="*/ 90 w 156"/>
                  <a:gd name="T25" fmla="*/ 24 h 122"/>
                  <a:gd name="T26" fmla="*/ 98 w 156"/>
                  <a:gd name="T27" fmla="*/ 31 h 122"/>
                  <a:gd name="T28" fmla="*/ 98 w 156"/>
                  <a:gd name="T29" fmla="*/ 47 h 122"/>
                  <a:gd name="T30" fmla="*/ 105 w 156"/>
                  <a:gd name="T31" fmla="*/ 65 h 122"/>
                  <a:gd name="T32" fmla="*/ 81 w 156"/>
                  <a:gd name="T33" fmla="*/ 65 h 122"/>
                  <a:gd name="T34" fmla="*/ 65 w 156"/>
                  <a:gd name="T35" fmla="*/ 31 h 122"/>
                  <a:gd name="T36" fmla="*/ 25 w 156"/>
                  <a:gd name="T37" fmla="*/ 16 h 122"/>
                  <a:gd name="T38" fmla="*/ 0 w 156"/>
                  <a:gd name="T39" fmla="*/ 8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85" name="Freeform 225">
                <a:extLst>
                  <a:ext uri="{FF2B5EF4-FFF2-40B4-BE49-F238E27FC236}">
                    <a16:creationId xmlns:a16="http://schemas.microsoft.com/office/drawing/2014/main" id="{E87F792D-94CE-14CA-B2A0-903F39AD7355}"/>
                  </a:ext>
                </a:extLst>
              </p:cNvPr>
              <p:cNvSpPr>
                <a:spLocks/>
              </p:cNvSpPr>
              <p:nvPr/>
            </p:nvSpPr>
            <p:spPr bwMode="gray">
              <a:xfrm>
                <a:off x="2608645" y="2505478"/>
                <a:ext cx="127189" cy="180173"/>
              </a:xfrm>
              <a:custGeom>
                <a:avLst/>
                <a:gdLst>
                  <a:gd name="T0" fmla="*/ 0 w 90"/>
                  <a:gd name="T1" fmla="*/ 58 h 123"/>
                  <a:gd name="T2" fmla="*/ 16 w 90"/>
                  <a:gd name="T3" fmla="*/ 90 h 123"/>
                  <a:gd name="T4" fmla="*/ 23 w 90"/>
                  <a:gd name="T5" fmla="*/ 90 h 123"/>
                  <a:gd name="T6" fmla="*/ 47 w 90"/>
                  <a:gd name="T7" fmla="*/ 122 h 123"/>
                  <a:gd name="T8" fmla="*/ 64 w 90"/>
                  <a:gd name="T9" fmla="*/ 114 h 123"/>
                  <a:gd name="T10" fmla="*/ 81 w 90"/>
                  <a:gd name="T11" fmla="*/ 105 h 123"/>
                  <a:gd name="T12" fmla="*/ 89 w 90"/>
                  <a:gd name="T13" fmla="*/ 81 h 123"/>
                  <a:gd name="T14" fmla="*/ 81 w 90"/>
                  <a:gd name="T15" fmla="*/ 58 h 123"/>
                  <a:gd name="T16" fmla="*/ 64 w 90"/>
                  <a:gd name="T17" fmla="*/ 50 h 123"/>
                  <a:gd name="T18" fmla="*/ 72 w 90"/>
                  <a:gd name="T19" fmla="*/ 25 h 123"/>
                  <a:gd name="T20" fmla="*/ 64 w 90"/>
                  <a:gd name="T21" fmla="*/ 0 h 123"/>
                  <a:gd name="T22" fmla="*/ 56 w 90"/>
                  <a:gd name="T23" fmla="*/ 16 h 123"/>
                  <a:gd name="T24" fmla="*/ 32 w 90"/>
                  <a:gd name="T25" fmla="*/ 9 h 123"/>
                  <a:gd name="T26" fmla="*/ 23 w 90"/>
                  <a:gd name="T27" fmla="*/ 16 h 123"/>
                  <a:gd name="T28" fmla="*/ 16 w 90"/>
                  <a:gd name="T29" fmla="*/ 33 h 123"/>
                  <a:gd name="T30" fmla="*/ 32 w 90"/>
                  <a:gd name="T31" fmla="*/ 50 h 123"/>
                  <a:gd name="T32" fmla="*/ 16 w 90"/>
                  <a:gd name="T33" fmla="*/ 50 h 123"/>
                  <a:gd name="T34" fmla="*/ 0 w 90"/>
                  <a:gd name="T35" fmla="*/ 5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6350" cap="rnd" cmpd="sng">
                <a:solidFill>
                  <a:srgbClr val="D0D0D0"/>
                </a:solidFill>
                <a:prstDash val="solid"/>
                <a:round/>
                <a:headEnd/>
                <a:tailEnd/>
              </a:ln>
              <a:effectLst/>
            </p:spPr>
            <p:txBody>
              <a:bodyPr/>
              <a:lstStyle/>
              <a:p>
                <a:endParaRPr lang="de-DE" dirty="0"/>
              </a:p>
            </p:txBody>
          </p:sp>
          <p:sp>
            <p:nvSpPr>
              <p:cNvPr id="486" name="Freeform 226">
                <a:extLst>
                  <a:ext uri="{FF2B5EF4-FFF2-40B4-BE49-F238E27FC236}">
                    <a16:creationId xmlns:a16="http://schemas.microsoft.com/office/drawing/2014/main" id="{E3660473-BD28-87BE-7854-8C2683221A89}"/>
                  </a:ext>
                </a:extLst>
              </p:cNvPr>
              <p:cNvSpPr>
                <a:spLocks/>
              </p:cNvSpPr>
              <p:nvPr/>
            </p:nvSpPr>
            <p:spPr bwMode="gray">
              <a:xfrm>
                <a:off x="2207058" y="2483416"/>
                <a:ext cx="184895" cy="214490"/>
              </a:xfrm>
              <a:custGeom>
                <a:avLst/>
                <a:gdLst>
                  <a:gd name="T0" fmla="*/ 0 w 131"/>
                  <a:gd name="T1" fmla="*/ 105 h 146"/>
                  <a:gd name="T2" fmla="*/ 16 w 131"/>
                  <a:gd name="T3" fmla="*/ 129 h 146"/>
                  <a:gd name="T4" fmla="*/ 25 w 131"/>
                  <a:gd name="T5" fmla="*/ 145 h 146"/>
                  <a:gd name="T6" fmla="*/ 56 w 131"/>
                  <a:gd name="T7" fmla="*/ 137 h 146"/>
                  <a:gd name="T8" fmla="*/ 74 w 131"/>
                  <a:gd name="T9" fmla="*/ 114 h 146"/>
                  <a:gd name="T10" fmla="*/ 74 w 131"/>
                  <a:gd name="T11" fmla="*/ 89 h 146"/>
                  <a:gd name="T12" fmla="*/ 130 w 131"/>
                  <a:gd name="T13" fmla="*/ 48 h 146"/>
                  <a:gd name="T14" fmla="*/ 115 w 131"/>
                  <a:gd name="T15" fmla="*/ 31 h 146"/>
                  <a:gd name="T16" fmla="*/ 97 w 131"/>
                  <a:gd name="T17" fmla="*/ 15 h 146"/>
                  <a:gd name="T18" fmla="*/ 74 w 131"/>
                  <a:gd name="T19" fmla="*/ 15 h 146"/>
                  <a:gd name="T20" fmla="*/ 50 w 131"/>
                  <a:gd name="T21" fmla="*/ 0 h 146"/>
                  <a:gd name="T22" fmla="*/ 9 w 131"/>
                  <a:gd name="T23" fmla="*/ 24 h 146"/>
                  <a:gd name="T24" fmla="*/ 16 w 131"/>
                  <a:gd name="T25" fmla="*/ 48 h 146"/>
                  <a:gd name="T26" fmla="*/ 16 w 131"/>
                  <a:gd name="T27" fmla="*/ 73 h 146"/>
                  <a:gd name="T28" fmla="*/ 0 w 131"/>
                  <a:gd name="T29" fmla="*/ 10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87" name="Freeform 228">
                <a:extLst>
                  <a:ext uri="{FF2B5EF4-FFF2-40B4-BE49-F238E27FC236}">
                    <a16:creationId xmlns:a16="http://schemas.microsoft.com/office/drawing/2014/main" id="{9D486B31-0F39-9805-43BE-8178570D8FEE}"/>
                  </a:ext>
                </a:extLst>
              </p:cNvPr>
              <p:cNvSpPr>
                <a:spLocks/>
              </p:cNvSpPr>
              <p:nvPr/>
            </p:nvSpPr>
            <p:spPr bwMode="gray">
              <a:xfrm>
                <a:off x="1441569" y="3194299"/>
                <a:ext cx="36508" cy="26964"/>
              </a:xfrm>
              <a:custGeom>
                <a:avLst/>
                <a:gdLst>
                  <a:gd name="T0" fmla="*/ 0 w 26"/>
                  <a:gd name="T1" fmla="*/ 8 h 18"/>
                  <a:gd name="T2" fmla="*/ 18 w 26"/>
                  <a:gd name="T3" fmla="*/ 17 h 18"/>
                  <a:gd name="T4" fmla="*/ 25 w 26"/>
                  <a:gd name="T5" fmla="*/ 8 h 18"/>
                  <a:gd name="T6" fmla="*/ 18 w 26"/>
                  <a:gd name="T7" fmla="*/ 0 h 18"/>
                  <a:gd name="T8" fmla="*/ 0 w 26"/>
                  <a:gd name="T9" fmla="*/ 8 h 18"/>
                </a:gdLst>
                <a:ahLst/>
                <a:cxnLst>
                  <a:cxn ang="0">
                    <a:pos x="T0" y="T1"/>
                  </a:cxn>
                  <a:cxn ang="0">
                    <a:pos x="T2" y="T3"/>
                  </a:cxn>
                  <a:cxn ang="0">
                    <a:pos x="T4" y="T5"/>
                  </a:cxn>
                  <a:cxn ang="0">
                    <a:pos x="T6" y="T7"/>
                  </a:cxn>
                  <a:cxn ang="0">
                    <a:pos x="T8" y="T9"/>
                  </a:cxn>
                </a:cxnLst>
                <a:rect l="0" t="0" r="r" b="b"/>
                <a:pathLst>
                  <a:path w="26" h="18">
                    <a:moveTo>
                      <a:pt x="0" y="8"/>
                    </a:moveTo>
                    <a:lnTo>
                      <a:pt x="18" y="17"/>
                    </a:lnTo>
                    <a:lnTo>
                      <a:pt x="25" y="8"/>
                    </a:lnTo>
                    <a:lnTo>
                      <a:pt x="18" y="0"/>
                    </a:lnTo>
                    <a:lnTo>
                      <a:pt x="0" y="8"/>
                    </a:lnTo>
                  </a:path>
                </a:pathLst>
              </a:custGeom>
              <a:grpFill/>
              <a:ln w="6350" cap="rnd" cmpd="sng">
                <a:solidFill>
                  <a:srgbClr val="D0D0D0"/>
                </a:solidFill>
                <a:prstDash val="solid"/>
                <a:round/>
                <a:headEnd/>
                <a:tailEnd/>
              </a:ln>
              <a:effectLst/>
            </p:spPr>
            <p:txBody>
              <a:bodyPr/>
              <a:lstStyle/>
              <a:p>
                <a:endParaRPr lang="de-DE" dirty="0"/>
              </a:p>
            </p:txBody>
          </p:sp>
          <p:sp>
            <p:nvSpPr>
              <p:cNvPr id="488" name="Freeform 229">
                <a:extLst>
                  <a:ext uri="{FF2B5EF4-FFF2-40B4-BE49-F238E27FC236}">
                    <a16:creationId xmlns:a16="http://schemas.microsoft.com/office/drawing/2014/main" id="{F19960DD-CE4C-8AE4-3081-F5328B588194}"/>
                  </a:ext>
                </a:extLst>
              </p:cNvPr>
              <p:cNvSpPr>
                <a:spLocks/>
              </p:cNvSpPr>
              <p:nvPr/>
            </p:nvSpPr>
            <p:spPr bwMode="gray">
              <a:xfrm>
                <a:off x="1441569" y="3194299"/>
                <a:ext cx="36508" cy="26964"/>
              </a:xfrm>
              <a:custGeom>
                <a:avLst/>
                <a:gdLst>
                  <a:gd name="T0" fmla="*/ 0 w 26"/>
                  <a:gd name="T1" fmla="*/ 8 h 18"/>
                  <a:gd name="T2" fmla="*/ 18 w 26"/>
                  <a:gd name="T3" fmla="*/ 17 h 18"/>
                  <a:gd name="T4" fmla="*/ 25 w 26"/>
                  <a:gd name="T5" fmla="*/ 8 h 18"/>
                  <a:gd name="T6" fmla="*/ 18 w 26"/>
                  <a:gd name="T7" fmla="*/ 0 h 18"/>
                  <a:gd name="T8" fmla="*/ 0 w 26"/>
                  <a:gd name="T9" fmla="*/ 8 h 18"/>
                </a:gdLst>
                <a:ahLst/>
                <a:cxnLst>
                  <a:cxn ang="0">
                    <a:pos x="T0" y="T1"/>
                  </a:cxn>
                  <a:cxn ang="0">
                    <a:pos x="T2" y="T3"/>
                  </a:cxn>
                  <a:cxn ang="0">
                    <a:pos x="T4" y="T5"/>
                  </a:cxn>
                  <a:cxn ang="0">
                    <a:pos x="T6" y="T7"/>
                  </a:cxn>
                  <a:cxn ang="0">
                    <a:pos x="T8" y="T9"/>
                  </a:cxn>
                </a:cxnLst>
                <a:rect l="0" t="0" r="r" b="b"/>
                <a:pathLst>
                  <a:path w="26" h="18">
                    <a:moveTo>
                      <a:pt x="0" y="8"/>
                    </a:moveTo>
                    <a:lnTo>
                      <a:pt x="18" y="17"/>
                    </a:lnTo>
                    <a:lnTo>
                      <a:pt x="25" y="8"/>
                    </a:lnTo>
                    <a:lnTo>
                      <a:pt x="18" y="0"/>
                    </a:lnTo>
                    <a:lnTo>
                      <a:pt x="0" y="8"/>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89" name="Freeform 230">
                <a:extLst>
                  <a:ext uri="{FF2B5EF4-FFF2-40B4-BE49-F238E27FC236}">
                    <a16:creationId xmlns:a16="http://schemas.microsoft.com/office/drawing/2014/main" id="{7ACA0880-BF6B-73E8-A8A3-631058940351}"/>
                  </a:ext>
                </a:extLst>
              </p:cNvPr>
              <p:cNvSpPr>
                <a:spLocks/>
              </p:cNvSpPr>
              <p:nvPr/>
            </p:nvSpPr>
            <p:spPr bwMode="gray">
              <a:xfrm>
                <a:off x="1670038" y="3265389"/>
                <a:ext cx="57707" cy="62509"/>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6350" cap="rnd" cmpd="sng">
                <a:solidFill>
                  <a:srgbClr val="D0D0D0"/>
                </a:solidFill>
                <a:prstDash val="solid"/>
                <a:round/>
                <a:headEnd/>
                <a:tailEnd/>
              </a:ln>
              <a:effectLst/>
            </p:spPr>
            <p:txBody>
              <a:bodyPr/>
              <a:lstStyle/>
              <a:p>
                <a:endParaRPr lang="de-DE" dirty="0"/>
              </a:p>
            </p:txBody>
          </p:sp>
          <p:sp>
            <p:nvSpPr>
              <p:cNvPr id="490" name="Freeform 231">
                <a:extLst>
                  <a:ext uri="{FF2B5EF4-FFF2-40B4-BE49-F238E27FC236}">
                    <a16:creationId xmlns:a16="http://schemas.microsoft.com/office/drawing/2014/main" id="{AE55D419-06AB-7C09-42B0-B5E866C2CE4B}"/>
                  </a:ext>
                </a:extLst>
              </p:cNvPr>
              <p:cNvSpPr>
                <a:spLocks/>
              </p:cNvSpPr>
              <p:nvPr/>
            </p:nvSpPr>
            <p:spPr bwMode="gray">
              <a:xfrm>
                <a:off x="1670038" y="3265389"/>
                <a:ext cx="57707" cy="62509"/>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91" name="Freeform 232">
                <a:extLst>
                  <a:ext uri="{FF2B5EF4-FFF2-40B4-BE49-F238E27FC236}">
                    <a16:creationId xmlns:a16="http://schemas.microsoft.com/office/drawing/2014/main" id="{473BC7D1-D0A0-67BF-804B-FC25E42408A8}"/>
                  </a:ext>
                </a:extLst>
              </p:cNvPr>
              <p:cNvSpPr>
                <a:spLocks/>
              </p:cNvSpPr>
              <p:nvPr/>
            </p:nvSpPr>
            <p:spPr bwMode="gray">
              <a:xfrm>
                <a:off x="2070447" y="3407564"/>
                <a:ext cx="36508" cy="73540"/>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492" name="Freeform 233">
                <a:extLst>
                  <a:ext uri="{FF2B5EF4-FFF2-40B4-BE49-F238E27FC236}">
                    <a16:creationId xmlns:a16="http://schemas.microsoft.com/office/drawing/2014/main" id="{B67F6B57-F21B-419A-DF1A-0696868C1E35}"/>
                  </a:ext>
                </a:extLst>
              </p:cNvPr>
              <p:cNvSpPr>
                <a:spLocks/>
              </p:cNvSpPr>
              <p:nvPr/>
            </p:nvSpPr>
            <p:spPr bwMode="gray">
              <a:xfrm>
                <a:off x="2070447" y="3407564"/>
                <a:ext cx="36508" cy="73540"/>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93" name="Freeform 234">
                <a:extLst>
                  <a:ext uri="{FF2B5EF4-FFF2-40B4-BE49-F238E27FC236}">
                    <a16:creationId xmlns:a16="http://schemas.microsoft.com/office/drawing/2014/main" id="{75833C2A-B332-68DD-3AE3-0857614A29B1}"/>
                  </a:ext>
                </a:extLst>
              </p:cNvPr>
              <p:cNvSpPr>
                <a:spLocks/>
              </p:cNvSpPr>
              <p:nvPr/>
            </p:nvSpPr>
            <p:spPr bwMode="gray">
              <a:xfrm>
                <a:off x="2149352" y="3515423"/>
                <a:ext cx="94214" cy="72314"/>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494" name="Freeform 235">
                <a:extLst>
                  <a:ext uri="{FF2B5EF4-FFF2-40B4-BE49-F238E27FC236}">
                    <a16:creationId xmlns:a16="http://schemas.microsoft.com/office/drawing/2014/main" id="{7784BCEE-14D0-920A-0724-0695C4F5C993}"/>
                  </a:ext>
                </a:extLst>
              </p:cNvPr>
              <p:cNvSpPr>
                <a:spLocks/>
              </p:cNvSpPr>
              <p:nvPr/>
            </p:nvSpPr>
            <p:spPr bwMode="gray">
              <a:xfrm>
                <a:off x="2149352" y="3515423"/>
                <a:ext cx="94214" cy="72314"/>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6350" cap="rnd" cmpd="sng">
                <a:solidFill>
                  <a:srgbClr val="D0D0D0"/>
                </a:solidFill>
                <a:prstDash val="solid"/>
                <a:round/>
                <a:headEnd type="none" w="sm" len="sm"/>
                <a:tailEnd type="none" w="sm" len="sm"/>
              </a:ln>
              <a:effectLst/>
            </p:spPr>
            <p:txBody>
              <a:bodyPr/>
              <a:lstStyle/>
              <a:p>
                <a:endParaRPr lang="de-DE" dirty="0"/>
              </a:p>
            </p:txBody>
          </p:sp>
          <p:sp>
            <p:nvSpPr>
              <p:cNvPr id="495" name="Freeform 309">
                <a:extLst>
                  <a:ext uri="{FF2B5EF4-FFF2-40B4-BE49-F238E27FC236}">
                    <a16:creationId xmlns:a16="http://schemas.microsoft.com/office/drawing/2014/main" id="{AA75836E-C1EA-A640-752F-47F323EBE86F}"/>
                  </a:ext>
                </a:extLst>
              </p:cNvPr>
              <p:cNvSpPr>
                <a:spLocks/>
              </p:cNvSpPr>
              <p:nvPr/>
            </p:nvSpPr>
            <p:spPr bwMode="gray">
              <a:xfrm>
                <a:off x="1580534" y="4190762"/>
                <a:ext cx="24732" cy="24513"/>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grpFill/>
              <a:ln w="6350" cap="rnd" cmpd="sng">
                <a:solidFill>
                  <a:srgbClr val="D0D0D0"/>
                </a:solidFill>
                <a:prstDash val="solid"/>
                <a:round/>
                <a:headEnd/>
                <a:tailEnd/>
              </a:ln>
              <a:effectLst/>
            </p:spPr>
            <p:txBody>
              <a:bodyPr/>
              <a:lstStyle/>
              <a:p>
                <a:endParaRPr lang="de-DE" dirty="0"/>
              </a:p>
            </p:txBody>
          </p:sp>
          <p:sp>
            <p:nvSpPr>
              <p:cNvPr id="496" name="Line 310">
                <a:extLst>
                  <a:ext uri="{FF2B5EF4-FFF2-40B4-BE49-F238E27FC236}">
                    <a16:creationId xmlns:a16="http://schemas.microsoft.com/office/drawing/2014/main" id="{2F624977-03D5-3A3F-9D7E-0D523AF4E76E}"/>
                  </a:ext>
                </a:extLst>
              </p:cNvPr>
              <p:cNvSpPr>
                <a:spLocks noChangeShapeType="1"/>
              </p:cNvSpPr>
              <p:nvPr/>
            </p:nvSpPr>
            <p:spPr bwMode="gray">
              <a:xfrm>
                <a:off x="1613510" y="4204245"/>
                <a:ext cx="12955" cy="9805"/>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497" name="Line 311">
                <a:extLst>
                  <a:ext uri="{FF2B5EF4-FFF2-40B4-BE49-F238E27FC236}">
                    <a16:creationId xmlns:a16="http://schemas.microsoft.com/office/drawing/2014/main" id="{C1C31C40-0509-AE4E-5DDB-5A270F698B61}"/>
                  </a:ext>
                </a:extLst>
              </p:cNvPr>
              <p:cNvSpPr>
                <a:spLocks noChangeShapeType="1"/>
              </p:cNvSpPr>
              <p:nvPr/>
            </p:nvSpPr>
            <p:spPr bwMode="gray">
              <a:xfrm>
                <a:off x="1637063" y="4214050"/>
                <a:ext cx="11777" cy="13483"/>
              </a:xfrm>
              <a:prstGeom prst="line">
                <a:avLst/>
              </a:prstGeom>
              <a:grpFill/>
              <a:ln w="6350">
                <a:solidFill>
                  <a:srgbClr val="D0D0D0"/>
                </a:solidFill>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dirty="0"/>
              </a:p>
            </p:txBody>
          </p:sp>
          <p:sp>
            <p:nvSpPr>
              <p:cNvPr id="498" name="Freeform 312">
                <a:extLst>
                  <a:ext uri="{FF2B5EF4-FFF2-40B4-BE49-F238E27FC236}">
                    <a16:creationId xmlns:a16="http://schemas.microsoft.com/office/drawing/2014/main" id="{03309BCF-1693-2612-6AF7-0595879CC7B9}"/>
                  </a:ext>
                </a:extLst>
              </p:cNvPr>
              <p:cNvSpPr>
                <a:spLocks/>
              </p:cNvSpPr>
              <p:nvPr/>
            </p:nvSpPr>
            <p:spPr bwMode="gray">
              <a:xfrm>
                <a:off x="1648840" y="4227533"/>
                <a:ext cx="23553" cy="37996"/>
              </a:xfrm>
              <a:custGeom>
                <a:avLst/>
                <a:gdLst>
                  <a:gd name="T0" fmla="*/ 8 w 17"/>
                  <a:gd name="T1" fmla="*/ 0 h 26"/>
                  <a:gd name="T2" fmla="*/ 0 w 17"/>
                  <a:gd name="T3" fmla="*/ 9 h 26"/>
                  <a:gd name="T4" fmla="*/ 8 w 17"/>
                  <a:gd name="T5" fmla="*/ 25 h 26"/>
                  <a:gd name="T6" fmla="*/ 16 w 17"/>
                  <a:gd name="T7" fmla="*/ 15 h 26"/>
                  <a:gd name="T8" fmla="*/ 8 w 17"/>
                  <a:gd name="T9" fmla="*/ 0 h 26"/>
                </a:gdLst>
                <a:ahLst/>
                <a:cxnLst>
                  <a:cxn ang="0">
                    <a:pos x="T0" y="T1"/>
                  </a:cxn>
                  <a:cxn ang="0">
                    <a:pos x="T2" y="T3"/>
                  </a:cxn>
                  <a:cxn ang="0">
                    <a:pos x="T4" y="T5"/>
                  </a:cxn>
                  <a:cxn ang="0">
                    <a:pos x="T6" y="T7"/>
                  </a:cxn>
                  <a:cxn ang="0">
                    <a:pos x="T8" y="T9"/>
                  </a:cxn>
                </a:cxnLst>
                <a:rect l="0" t="0" r="r" b="b"/>
                <a:pathLst>
                  <a:path w="17" h="26">
                    <a:moveTo>
                      <a:pt x="8" y="0"/>
                    </a:moveTo>
                    <a:lnTo>
                      <a:pt x="0" y="9"/>
                    </a:lnTo>
                    <a:lnTo>
                      <a:pt x="8" y="25"/>
                    </a:lnTo>
                    <a:lnTo>
                      <a:pt x="16" y="15"/>
                    </a:lnTo>
                    <a:lnTo>
                      <a:pt x="8" y="0"/>
                    </a:lnTo>
                  </a:path>
                </a:pathLst>
              </a:custGeom>
              <a:grpFill/>
              <a:ln w="6350" cap="rnd" cmpd="sng">
                <a:solidFill>
                  <a:srgbClr val="D0D0D0"/>
                </a:solidFill>
                <a:prstDash val="solid"/>
                <a:round/>
                <a:headEnd/>
                <a:tailEnd/>
              </a:ln>
              <a:effectLst/>
            </p:spPr>
            <p:txBody>
              <a:bodyPr/>
              <a:lstStyle/>
              <a:p>
                <a:endParaRPr lang="de-DE" dirty="0"/>
              </a:p>
            </p:txBody>
          </p:sp>
        </p:grpSp>
      </p:grpSp>
      <p:cxnSp>
        <p:nvCxnSpPr>
          <p:cNvPr id="735" name="Gerader Verbinder 734">
            <a:extLst>
              <a:ext uri="{FF2B5EF4-FFF2-40B4-BE49-F238E27FC236}">
                <a16:creationId xmlns:a16="http://schemas.microsoft.com/office/drawing/2014/main" id="{5EBE36AE-A4FC-D977-D699-1236D7D5A704}"/>
              </a:ext>
            </a:extLst>
          </p:cNvPr>
          <p:cNvCxnSpPr>
            <a:cxnSpLocks/>
          </p:cNvCxnSpPr>
          <p:nvPr/>
        </p:nvCxnSpPr>
        <p:spPr>
          <a:xfrm>
            <a:off x="6415108" y="1674192"/>
            <a:ext cx="0" cy="1007063"/>
          </a:xfrm>
          <a:prstGeom prst="line">
            <a:avLst/>
          </a:prstGeom>
          <a:ln w="38100"/>
        </p:spPr>
        <p:style>
          <a:lnRef idx="1">
            <a:schemeClr val="accent5"/>
          </a:lnRef>
          <a:fillRef idx="0">
            <a:schemeClr val="accent5"/>
          </a:fillRef>
          <a:effectRef idx="0">
            <a:schemeClr val="accent5"/>
          </a:effectRef>
          <a:fontRef idx="minor">
            <a:schemeClr val="tx1"/>
          </a:fontRef>
        </p:style>
      </p:cxnSp>
      <p:cxnSp>
        <p:nvCxnSpPr>
          <p:cNvPr id="736" name="Gerader Verbinder 735">
            <a:extLst>
              <a:ext uri="{FF2B5EF4-FFF2-40B4-BE49-F238E27FC236}">
                <a16:creationId xmlns:a16="http://schemas.microsoft.com/office/drawing/2014/main" id="{045C2FDD-6BAB-9372-52AB-1E55B1A62024}"/>
              </a:ext>
            </a:extLst>
          </p:cNvPr>
          <p:cNvCxnSpPr>
            <a:cxnSpLocks/>
          </p:cNvCxnSpPr>
          <p:nvPr/>
        </p:nvCxnSpPr>
        <p:spPr>
          <a:xfrm flipH="1">
            <a:off x="6751696" y="1674192"/>
            <a:ext cx="14678" cy="1007063"/>
          </a:xfrm>
          <a:prstGeom prst="line">
            <a:avLst/>
          </a:prstGeom>
          <a:ln w="38100"/>
        </p:spPr>
        <p:style>
          <a:lnRef idx="1">
            <a:schemeClr val="accent5"/>
          </a:lnRef>
          <a:fillRef idx="0">
            <a:schemeClr val="accent5"/>
          </a:fillRef>
          <a:effectRef idx="0">
            <a:schemeClr val="accent5"/>
          </a:effectRef>
          <a:fontRef idx="minor">
            <a:schemeClr val="tx1"/>
          </a:fontRef>
        </p:style>
      </p:cxnSp>
      <p:sp>
        <p:nvSpPr>
          <p:cNvPr id="737" name="Foliennummernplatzhalter 736">
            <a:extLst>
              <a:ext uri="{FF2B5EF4-FFF2-40B4-BE49-F238E27FC236}">
                <a16:creationId xmlns:a16="http://schemas.microsoft.com/office/drawing/2014/main" id="{1746362D-595B-AC86-6341-B524FB114FC0}"/>
              </a:ext>
            </a:extLst>
          </p:cNvPr>
          <p:cNvSpPr>
            <a:spLocks noGrp="1"/>
          </p:cNvSpPr>
          <p:nvPr>
            <p:ph type="sldNum" sz="quarter" idx="4"/>
          </p:nvPr>
        </p:nvSpPr>
        <p:spPr/>
        <p:txBody>
          <a:bodyPr/>
          <a:lstStyle/>
          <a:p>
            <a:fld id="{8D57957C-F0F3-7842-B0E2-B762F92D6487}" type="slidenum">
              <a:rPr lang="de-DE" b="0" smtClean="0">
                <a:solidFill>
                  <a:schemeClr val="tx1"/>
                </a:solidFill>
              </a:rPr>
              <a:pPr/>
              <a:t>2</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739" name="Datumsplatzhalter 738">
            <a:extLst>
              <a:ext uri="{FF2B5EF4-FFF2-40B4-BE49-F238E27FC236}">
                <a16:creationId xmlns:a16="http://schemas.microsoft.com/office/drawing/2014/main" id="{6B890513-1201-40FC-8A5B-47D8C44F76D8}"/>
              </a:ext>
            </a:extLst>
          </p:cNvPr>
          <p:cNvSpPr>
            <a:spLocks noGrp="1"/>
          </p:cNvSpPr>
          <p:nvPr>
            <p:ph type="dt" sz="half" idx="2"/>
          </p:nvPr>
        </p:nvSpPr>
        <p:spPr/>
        <p:txBody>
          <a:bodyPr/>
          <a:lstStyle/>
          <a:p>
            <a:fld id="{DC7AD8E2-F493-49EB-A575-6654E88C8CC2}" type="datetime1">
              <a:rPr lang="de-DE" smtClean="0"/>
              <a:pPr/>
              <a:t>20.04.2023</a:t>
            </a:fld>
            <a:endParaRPr lang="de-DE" dirty="0"/>
          </a:p>
        </p:txBody>
      </p:sp>
    </p:spTree>
    <p:extLst>
      <p:ext uri="{BB962C8B-B14F-4D97-AF65-F5344CB8AC3E}">
        <p14:creationId xmlns:p14="http://schemas.microsoft.com/office/powerpoint/2010/main" val="374447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itel 4"/>
          <p:cNvSpPr>
            <a:spLocks noGrp="1"/>
          </p:cNvSpPr>
          <p:nvPr>
            <p:ph type="title" hasCustomPrompt="1"/>
          </p:nvPr>
        </p:nvSpPr>
        <p:spPr>
          <a:xfrm>
            <a:off x="515938" y="340234"/>
            <a:ext cx="11160125" cy="491194"/>
          </a:xfrm>
          <a:noFill/>
          <a:ln/>
          <a:extLst>
            <a:ext uri="{909E8E84-426E-40DD-AFC4-6F175D3DCCD1}">
              <a14:hiddenFill xmlns:a14="http://schemas.microsoft.com/office/drawing/2010/main">
                <a:solidFill>
                  <a:srgbClr val="FFFFFF">
                    <a:alpha val="0"/>
                  </a:srgbClr>
                </a:solidFill>
              </a14:hiddenFill>
            </a:ext>
          </a:extLst>
        </p:spPr>
        <p:txBody>
          <a:bodyPr lIns="0" tIns="0" rIns="0" bIns="0" anchor="t">
            <a:noAutofit/>
          </a:bodyPr>
          <a:lstStyle/>
          <a:p>
            <a:r>
              <a:rPr lang="de-DE" dirty="0">
                <a:solidFill>
                  <a:srgbClr val="333333"/>
                </a:solidFill>
                <a:latin typeface="Segoe UI" panose="020B0502040204020203" pitchFamily="34" charset="0"/>
              </a:rPr>
              <a:t>Auf einen Blick</a:t>
            </a:r>
          </a:p>
        </p:txBody>
      </p:sp>
      <p:sp>
        <p:nvSpPr>
          <p:cNvPr id="64" name="Textplatzhalter 1"/>
          <p:cNvSpPr>
            <a:spLocks noGrp="1"/>
          </p:cNvSpPr>
          <p:nvPr/>
        </p:nvSpPr>
        <p:spPr>
          <a:xfrm>
            <a:off x="515938" y="919611"/>
            <a:ext cx="11160000" cy="387798"/>
          </a:xfrm>
          <a:prstGeom prst="rect">
            <a:avLst/>
          </a:prstGeom>
        </p:spPr>
        <p:txBody>
          <a:bodyPr/>
          <a:lstStyle>
            <a:lvl1pPr marL="0" indent="0" algn="l" defTabSz="914355" rtl="0" eaLnBrk="1" latinLnBrk="0" hangingPunct="1">
              <a:lnSpc>
                <a:spcPct val="100000"/>
              </a:lnSpc>
              <a:spcBef>
                <a:spcPts val="600"/>
              </a:spcBef>
              <a:spcAft>
                <a:spcPts val="600"/>
              </a:spcAft>
              <a:buFont typeface="Arial" panose="020B0604020202020204" pitchFamily="34" charset="0"/>
              <a:buNone/>
              <a:defRPr lang="de-DE" sz="2800" b="0" kern="1200" smtClean="0">
                <a:solidFill>
                  <a:schemeClr val="tx2"/>
                </a:solidFill>
                <a:latin typeface="+mj-lt"/>
                <a:ea typeface="+mj-ea"/>
                <a:cs typeface="Arial" panose="020B0604020202020204" pitchFamily="34" charset="0"/>
              </a:defRPr>
            </a:lvl1pPr>
            <a:lvl2pPr marL="0" indent="0" algn="l" defTabSz="914355" rtl="0" eaLnBrk="1" latinLnBrk="0" hangingPunct="1">
              <a:lnSpc>
                <a:spcPct val="100000"/>
              </a:lnSpc>
              <a:spcBef>
                <a:spcPts val="0"/>
              </a:spcBef>
              <a:spcAft>
                <a:spcPts val="600"/>
              </a:spcAft>
              <a:buClr>
                <a:schemeClr val="accent1"/>
              </a:buClr>
              <a:buFont typeface="Wingdings" pitchFamily="2" charset="2"/>
              <a:buNone/>
              <a:defRPr lang="de-DE" sz="1600" b="0" i="0" kern="1200" smtClean="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500"/>
              </a:spcBef>
              <a:buClr>
                <a:schemeClr val="tx2"/>
              </a:buClr>
              <a:buFont typeface="Wingdings" pitchFamily="2" charset="2"/>
              <a:buChar char="§"/>
              <a:defRPr lang="de-DE" sz="1600" b="0" i="0" kern="1200" smtClean="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500"/>
              </a:spcBef>
              <a:buClr>
                <a:schemeClr val="tx2"/>
              </a:buClr>
              <a:buFont typeface="Wingdings" pitchFamily="2" charset="2"/>
              <a:buChar char="§"/>
              <a:defRPr lang="de-DE" sz="1600" b="0" i="0" kern="1200" smtClean="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500"/>
              </a:spcBef>
              <a:buClr>
                <a:schemeClr val="tx2"/>
              </a:buClr>
              <a:buFont typeface="Wingdings" pitchFamily="2" charset="2"/>
              <a:buChar char="§"/>
              <a:defRPr lang="de-DE"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5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500"/>
              </a:spcBef>
              <a:buClr>
                <a:schemeClr val="tx2"/>
              </a:buClr>
              <a:buFont typeface="Wingdings" panose="05000000000000000000" pitchFamily="2" charset="2"/>
              <a:buChar char="§"/>
              <a:defRPr sz="1600" kern="1200" baseline="0">
                <a:solidFill>
                  <a:schemeClr val="tx1"/>
                </a:solidFill>
                <a:latin typeface="+mn-lt"/>
                <a:ea typeface="+mn-ea"/>
                <a:cs typeface="+mn-cs"/>
              </a:defRPr>
            </a:lvl9pPr>
          </a:lstStyle>
          <a:p>
            <a:r>
              <a:rPr lang="de-DE" sz="2400" dirty="0"/>
              <a:t>Unsere Zahlen für Deutschland</a:t>
            </a:r>
          </a:p>
        </p:txBody>
      </p:sp>
      <p:sp>
        <p:nvSpPr>
          <p:cNvPr id="6" name="Textfeld 5"/>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7" name="Textfeld 6"/>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8" name="Textfeld 7"/>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9" name="Textfeld 8"/>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0" name="Textfeld 9"/>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1" name="Textfeld 10"/>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2" name="Textfeld 11"/>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3" name="Textfeld 12"/>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4" name="Textfeld 13"/>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5" name="Textfeld 14"/>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6" name="Textfeld 15"/>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7" name="Textfeld 16"/>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8" name="Textfeld 17"/>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19" name="Textfeld 18"/>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0" name="Textfeld 19"/>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1" name="Textfeld 20"/>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2" name="Textfeld 21"/>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3" name="Textfeld 22"/>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4" name="Textfeld 23"/>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5" name="Textfeld 24"/>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6" name="Textfeld 25"/>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7" name="Textfeld 26"/>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8" name="Textfeld 27"/>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29" name="Textfeld 28"/>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0" name="Textfeld 29"/>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1" name="Textfeld 30"/>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2" name="Textfeld 31"/>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3" name="Textfeld 32"/>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4" name="Textfeld 33"/>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5" name="Textfeld 34"/>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6" name="Textfeld 35"/>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7" name="Textfeld 36"/>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8" name="Textfeld 37"/>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39" name="Textfeld 38"/>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0" name="Textfeld 39"/>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1" name="Textfeld 40"/>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2" name="Textfeld 41"/>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3" name="Textfeld 42"/>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sp>
        <p:nvSpPr>
          <p:cNvPr id="44" name="Textfeld 43"/>
          <p:cNvSpPr txBox="1"/>
          <p:nvPr/>
        </p:nvSpPr>
        <p:spPr>
          <a:xfrm>
            <a:off x="1536700" y="12701"/>
            <a:ext cx="12700" cy="282129"/>
          </a:xfrm>
          <a:prstGeom prst="rect">
            <a:avLst/>
          </a:prstGeom>
        </p:spPr>
        <p:txBody>
          <a:bodyPr vert="horz" wrap="square" lIns="0" tIns="0" rIns="0" bIns="0" rtlCol="0">
            <a:spAutoFit/>
          </a:bodyPr>
          <a:lstStyle/>
          <a:p>
            <a:pPr marL="0" marR="0" lvl="0" indent="0" algn="l" defTabSz="914355" rtl="0" eaLnBrk="1" fontAlgn="auto" latinLnBrk="0" hangingPunct="1">
              <a:lnSpc>
                <a:spcPts val="2200"/>
              </a:lnSpc>
              <a:spcBef>
                <a:spcPts val="0"/>
              </a:spcBef>
              <a:spcAft>
                <a:spcPts val="0"/>
              </a:spcAft>
              <a:buClrTx/>
              <a:buSzTx/>
              <a:buFontTx/>
              <a:buNone/>
              <a:tabLst/>
              <a:defRPr/>
            </a:pPr>
            <a:endParaRPr kumimoji="0" lang="de-DE" sz="1600" b="0" i="0" u="none" strike="noStrike" kern="1200" cap="none" spc="0" normalizeH="0" baseline="0" noProof="0" dirty="0" err="1">
              <a:ln>
                <a:noFill/>
              </a:ln>
              <a:solidFill>
                <a:srgbClr val="333333"/>
              </a:solidFill>
              <a:effectLst/>
              <a:uLnTx/>
              <a:uFillTx/>
              <a:latin typeface="Arial" panose="020B0604020202020204"/>
              <a:ea typeface="+mn-ea"/>
              <a:cs typeface="+mn-cs"/>
            </a:endParaRPr>
          </a:p>
        </p:txBody>
      </p:sp>
      <p:cxnSp>
        <p:nvCxnSpPr>
          <p:cNvPr id="51" name="Gerader Verbinder 50"/>
          <p:cNvCxnSpPr/>
          <p:nvPr/>
        </p:nvCxnSpPr>
        <p:spPr>
          <a:xfrm>
            <a:off x="515938" y="2932549"/>
            <a:ext cx="767202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r Verbinder 52"/>
          <p:cNvCxnSpPr/>
          <p:nvPr/>
        </p:nvCxnSpPr>
        <p:spPr>
          <a:xfrm flipV="1">
            <a:off x="4502199" y="3090663"/>
            <a:ext cx="0" cy="274735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r Verbinder 62"/>
          <p:cNvCxnSpPr/>
          <p:nvPr/>
        </p:nvCxnSpPr>
        <p:spPr>
          <a:xfrm>
            <a:off x="515938" y="4385929"/>
            <a:ext cx="3809319"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Gerader Verbinder 80"/>
          <p:cNvCxnSpPr/>
          <p:nvPr/>
        </p:nvCxnSpPr>
        <p:spPr>
          <a:xfrm flipV="1">
            <a:off x="8337052" y="1480458"/>
            <a:ext cx="0" cy="436879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Gerader Verbinder 83"/>
          <p:cNvCxnSpPr/>
          <p:nvPr/>
        </p:nvCxnSpPr>
        <p:spPr>
          <a:xfrm>
            <a:off x="8513995" y="3447464"/>
            <a:ext cx="315053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66" name="Gruppieren 65">
            <a:extLst>
              <a:ext uri="{FF2B5EF4-FFF2-40B4-BE49-F238E27FC236}">
                <a16:creationId xmlns:a16="http://schemas.microsoft.com/office/drawing/2014/main" id="{C3639F5F-C0BC-F846-B9F0-1E6EC4A760B4}"/>
              </a:ext>
            </a:extLst>
          </p:cNvPr>
          <p:cNvGrpSpPr/>
          <p:nvPr/>
        </p:nvGrpSpPr>
        <p:grpSpPr>
          <a:xfrm>
            <a:off x="3043256" y="1791112"/>
            <a:ext cx="2917886" cy="866952"/>
            <a:chOff x="8552719" y="2026305"/>
            <a:chExt cx="2917886" cy="866952"/>
          </a:xfrm>
        </p:grpSpPr>
        <p:sp>
          <p:nvSpPr>
            <p:cNvPr id="68" name="Textfeld 67">
              <a:extLst>
                <a:ext uri="{FF2B5EF4-FFF2-40B4-BE49-F238E27FC236}">
                  <a16:creationId xmlns:a16="http://schemas.microsoft.com/office/drawing/2014/main" id="{49873D30-5796-284A-AFC1-16F74AF1DA46}"/>
                </a:ext>
              </a:extLst>
            </p:cNvPr>
            <p:cNvSpPr txBox="1"/>
            <p:nvPr/>
          </p:nvSpPr>
          <p:spPr>
            <a:xfrm>
              <a:off x="8552719" y="2026305"/>
              <a:ext cx="2917886" cy="866952"/>
            </a:xfrm>
            <a:prstGeom prst="rect">
              <a:avLst/>
            </a:prstGeom>
            <a:solidFill>
              <a:schemeClr val="bg1"/>
            </a:solidFill>
          </p:spPr>
          <p:txBody>
            <a:bodyPr vert="horz" wrap="square" lIns="0" tIns="0" rIns="0" bIns="0" rtlCol="0" anchor="t" anchorCtr="0">
              <a:noAutofit/>
            </a:bodyPr>
            <a:lstStyle/>
            <a:p>
              <a:pPr marL="0" marR="0" lvl="0" indent="0" algn="l" defTabSz="914355" rtl="0" eaLnBrk="1" fontAlgn="auto" latinLnBrk="0" hangingPunct="1">
                <a:lnSpc>
                  <a:spcPct val="110000"/>
                </a:lnSpc>
                <a:spcBef>
                  <a:spcPts val="0"/>
                </a:spcBef>
                <a:spcAft>
                  <a:spcPts val="0"/>
                </a:spcAft>
                <a:buClrTx/>
                <a:buSzTx/>
                <a:buFontTx/>
                <a:buNone/>
                <a:tabLst/>
                <a:defRPr/>
              </a:pPr>
              <a:r>
                <a:rPr lang="de-DE" sz="1000" kern="0" dirty="0">
                  <a:solidFill>
                    <a:srgbClr val="285172"/>
                  </a:solidFill>
                  <a:latin typeface="Arial" panose="020B0604020202020204"/>
                </a:rPr>
                <a:t>Maschinenbasis</a:t>
              </a:r>
              <a:r>
                <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rPr>
                <a:t> </a:t>
              </a:r>
              <a:r>
                <a:rPr kumimoji="0" lang="de-DE" sz="1000" b="0" i="0" u="none" strike="noStrike" kern="0" cap="none" spc="0" normalizeH="0" baseline="0" noProof="0" dirty="0">
                  <a:ln>
                    <a:noFill/>
                  </a:ln>
                  <a:solidFill>
                    <a:srgbClr val="333333">
                      <a:lumMod val="60000"/>
                      <a:lumOff val="40000"/>
                    </a:srgbClr>
                  </a:solidFill>
                  <a:effectLst/>
                  <a:uLnTx/>
                  <a:uFillTx/>
                  <a:latin typeface="Arial" panose="020B0604020202020204"/>
                  <a:ea typeface="+mn-ea"/>
                  <a:cs typeface="+mn-cs"/>
                </a:rPr>
                <a:t>(Stück)</a:t>
              </a:r>
              <a:b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br>
              <a: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t>ca.</a:t>
              </a:r>
              <a:r>
                <a:rPr lang="de-DE" sz="4800" b="1" kern="0" dirty="0">
                  <a:ln w="9525">
                    <a:noFill/>
                  </a:ln>
                  <a:solidFill>
                    <a:srgbClr val="BBD03A"/>
                  </a:solidFill>
                  <a:latin typeface="Arial" panose="020B0604020202020204"/>
                </a:rPr>
                <a:t>10000</a:t>
              </a:r>
              <a:endParaRPr kumimoji="0" lang="de-DE" sz="4800" b="1" i="0" u="none" strike="noStrike" kern="0" cap="none" spc="0" normalizeH="0" baseline="0" noProof="0" dirty="0">
                <a:ln w="9525">
                  <a:noFill/>
                </a:ln>
                <a:solidFill>
                  <a:srgbClr val="BBD03A"/>
                </a:solidFill>
                <a:effectLst/>
                <a:uLnTx/>
                <a:uFillTx/>
                <a:latin typeface="Arial" panose="020B0604020202020204"/>
                <a:ea typeface="+mn-ea"/>
                <a:cs typeface="+mn-cs"/>
              </a:endParaRPr>
            </a:p>
          </p:txBody>
        </p:sp>
        <p:cxnSp>
          <p:nvCxnSpPr>
            <p:cNvPr id="70" name="Gerader Verbinder 1023">
              <a:extLst>
                <a:ext uri="{FF2B5EF4-FFF2-40B4-BE49-F238E27FC236}">
                  <a16:creationId xmlns:a16="http://schemas.microsoft.com/office/drawing/2014/main" id="{69D92A93-BDD0-0F4A-9E5B-A74344848F66}"/>
                </a:ext>
              </a:extLst>
            </p:cNvPr>
            <p:cNvCxnSpPr>
              <a:cxnSpLocks/>
            </p:cNvCxnSpPr>
            <p:nvPr/>
          </p:nvCxnSpPr>
          <p:spPr>
            <a:xfrm>
              <a:off x="8552719" y="2261057"/>
              <a:ext cx="145894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5" name="Gruppieren 44">
            <a:extLst>
              <a:ext uri="{FF2B5EF4-FFF2-40B4-BE49-F238E27FC236}">
                <a16:creationId xmlns:a16="http://schemas.microsoft.com/office/drawing/2014/main" id="{892CE71B-22EA-6D43-BDC4-AD769A242FFE}"/>
              </a:ext>
            </a:extLst>
          </p:cNvPr>
          <p:cNvGrpSpPr/>
          <p:nvPr/>
        </p:nvGrpSpPr>
        <p:grpSpPr>
          <a:xfrm>
            <a:off x="8851139" y="1915654"/>
            <a:ext cx="1998755" cy="866952"/>
            <a:chOff x="4486309" y="1701675"/>
            <a:chExt cx="1800188" cy="866952"/>
          </a:xfrm>
        </p:grpSpPr>
        <p:grpSp>
          <p:nvGrpSpPr>
            <p:cNvPr id="72" name="Gruppieren 71">
              <a:extLst>
                <a:ext uri="{FF2B5EF4-FFF2-40B4-BE49-F238E27FC236}">
                  <a16:creationId xmlns:a16="http://schemas.microsoft.com/office/drawing/2014/main" id="{0D55F7DA-EF3C-734F-9183-A19C4CE5D761}"/>
                </a:ext>
              </a:extLst>
            </p:cNvPr>
            <p:cNvGrpSpPr/>
            <p:nvPr/>
          </p:nvGrpSpPr>
          <p:grpSpPr>
            <a:xfrm>
              <a:off x="4486309" y="1701675"/>
              <a:ext cx="1800188" cy="866952"/>
              <a:chOff x="8552719" y="2026305"/>
              <a:chExt cx="1800188" cy="866952"/>
            </a:xfrm>
          </p:grpSpPr>
          <p:sp>
            <p:nvSpPr>
              <p:cNvPr id="80" name="Textfeld 79">
                <a:extLst>
                  <a:ext uri="{FF2B5EF4-FFF2-40B4-BE49-F238E27FC236}">
                    <a16:creationId xmlns:a16="http://schemas.microsoft.com/office/drawing/2014/main" id="{97BE667B-A775-9A49-88B4-6BEBBAD7C5C7}"/>
                  </a:ext>
                </a:extLst>
              </p:cNvPr>
              <p:cNvSpPr txBox="1"/>
              <p:nvPr/>
            </p:nvSpPr>
            <p:spPr>
              <a:xfrm>
                <a:off x="8552719" y="2026305"/>
                <a:ext cx="1800188" cy="866952"/>
              </a:xfrm>
              <a:prstGeom prst="rect">
                <a:avLst/>
              </a:prstGeom>
              <a:solidFill>
                <a:schemeClr val="bg1"/>
              </a:solidFill>
            </p:spPr>
            <p:txBody>
              <a:bodyPr vert="horz" wrap="square" lIns="0" tIns="0" rIns="0" bIns="0" rtlCol="0" anchor="t" anchorCtr="0">
                <a:noAutofit/>
              </a:bodyPr>
              <a:lstStyle/>
              <a:p>
                <a:pPr marL="0" marR="0" lvl="0" indent="0" algn="l" defTabSz="914355" rtl="0" eaLnBrk="1" fontAlgn="auto" latinLnBrk="0" hangingPunct="1">
                  <a:lnSpc>
                    <a:spcPct val="11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rPr>
                  <a:t>First-Time-Fix </a:t>
                </a:r>
                <a:r>
                  <a:rPr kumimoji="0" lang="de-DE" sz="1000" b="0" i="0" u="none" strike="noStrike" kern="0" cap="none" spc="0" normalizeH="0" baseline="0" noProof="0" dirty="0">
                    <a:ln>
                      <a:noFill/>
                    </a:ln>
                    <a:solidFill>
                      <a:srgbClr val="333333">
                        <a:lumMod val="60000"/>
                        <a:lumOff val="40000"/>
                      </a:srgbClr>
                    </a:solidFill>
                    <a:effectLst/>
                    <a:uLnTx/>
                    <a:uFillTx/>
                    <a:latin typeface="Arial" panose="020B0604020202020204"/>
                    <a:ea typeface="+mn-ea"/>
                    <a:cs typeface="+mn-cs"/>
                  </a:rPr>
                  <a:t>(%)</a:t>
                </a:r>
                <a:b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br>
                <a:r>
                  <a:rPr lang="de-DE" sz="1200" kern="0" dirty="0"/>
                  <a:t>Ø </a:t>
                </a:r>
                <a:r>
                  <a:rPr kumimoji="0" lang="de-DE" sz="3600" b="1" i="0" u="none" strike="noStrike" kern="0" cap="none" spc="0" normalizeH="0" baseline="0" noProof="0" dirty="0">
                    <a:ln w="9525">
                      <a:noFill/>
                    </a:ln>
                    <a:solidFill>
                      <a:srgbClr val="BBD03A"/>
                    </a:solidFill>
                    <a:effectLst/>
                    <a:uLnTx/>
                    <a:uFillTx/>
                    <a:latin typeface="Arial" panose="020B0604020202020204"/>
                    <a:ea typeface="+mn-ea"/>
                    <a:cs typeface="+mn-cs"/>
                  </a:rPr>
                  <a:t>80</a:t>
                </a:r>
                <a:endParaRPr kumimoji="0" lang="de-DE" sz="5000" b="1" i="0" u="none" strike="noStrike" kern="0" cap="none" spc="0" normalizeH="0" baseline="0" noProof="0" dirty="0">
                  <a:ln w="9525">
                    <a:noFill/>
                  </a:ln>
                  <a:solidFill>
                    <a:srgbClr val="BBD03A"/>
                  </a:solidFill>
                  <a:effectLst/>
                  <a:uLnTx/>
                  <a:uFillTx/>
                  <a:latin typeface="Arial" panose="020B0604020202020204"/>
                  <a:ea typeface="+mn-ea"/>
                  <a:cs typeface="+mn-cs"/>
                </a:endParaRPr>
              </a:p>
            </p:txBody>
          </p:sp>
          <p:cxnSp>
            <p:nvCxnSpPr>
              <p:cNvPr id="82" name="Gerader Verbinder 1023">
                <a:extLst>
                  <a:ext uri="{FF2B5EF4-FFF2-40B4-BE49-F238E27FC236}">
                    <a16:creationId xmlns:a16="http://schemas.microsoft.com/office/drawing/2014/main" id="{88729874-C330-A349-A9BF-8F7DFD360ABB}"/>
                  </a:ext>
                </a:extLst>
              </p:cNvPr>
              <p:cNvCxnSpPr>
                <a:cxnSpLocks/>
              </p:cNvCxnSpPr>
              <p:nvPr/>
            </p:nvCxnSpPr>
            <p:spPr>
              <a:xfrm>
                <a:off x="8552719" y="2239625"/>
                <a:ext cx="164995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5" name="Textfeld 84">
              <a:extLst>
                <a:ext uri="{FF2B5EF4-FFF2-40B4-BE49-F238E27FC236}">
                  <a16:creationId xmlns:a16="http://schemas.microsoft.com/office/drawing/2014/main" id="{D93BF8E1-C757-D649-8FD0-3F630FBB53B4}"/>
                </a:ext>
              </a:extLst>
            </p:cNvPr>
            <p:cNvSpPr txBox="1"/>
            <p:nvPr/>
          </p:nvSpPr>
          <p:spPr>
            <a:xfrm>
              <a:off x="5433389" y="2144805"/>
              <a:ext cx="59" cy="215444"/>
            </a:xfrm>
            <a:prstGeom prst="rect">
              <a:avLst/>
            </a:prstGeom>
          </p:spPr>
          <p:txBody>
            <a:bodyPr vert="horz" wrap="none" lIns="0" tIns="0" rIns="0" bIns="0" rtlCol="0" anchor="t" anchorCtr="0">
              <a:spAutoFit/>
            </a:bodyPr>
            <a:lstStyle>
              <a:defPPr>
                <a:defRPr lang="de-DE"/>
              </a:defPPr>
              <a:lvl1pPr algn="r">
                <a:defRPr sz="2500" kern="0" cap="all"/>
              </a:lvl1pPr>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de-DE" sz="1400" b="0" i="0" u="none" strike="noStrike" kern="0" cap="all" spc="0" normalizeH="0" baseline="0" noProof="0" dirty="0">
                <a:ln>
                  <a:noFill/>
                </a:ln>
                <a:solidFill>
                  <a:srgbClr val="333333">
                    <a:lumMod val="60000"/>
                    <a:lumOff val="40000"/>
                  </a:srgbClr>
                </a:solidFill>
                <a:effectLst/>
                <a:uLnTx/>
                <a:uFillTx/>
                <a:latin typeface="Arial" panose="020B0604020202020204"/>
                <a:ea typeface="+mn-ea"/>
                <a:cs typeface="+mn-cs"/>
              </a:endParaRPr>
            </a:p>
          </p:txBody>
        </p:sp>
      </p:grpSp>
      <p:grpSp>
        <p:nvGrpSpPr>
          <p:cNvPr id="99" name="Gruppieren 98">
            <a:extLst>
              <a:ext uri="{FF2B5EF4-FFF2-40B4-BE49-F238E27FC236}">
                <a16:creationId xmlns:a16="http://schemas.microsoft.com/office/drawing/2014/main" id="{6A2C6881-F79F-5341-93A5-FB6ED9C9CECB}"/>
              </a:ext>
            </a:extLst>
          </p:cNvPr>
          <p:cNvGrpSpPr/>
          <p:nvPr/>
        </p:nvGrpSpPr>
        <p:grpSpPr>
          <a:xfrm>
            <a:off x="781116" y="3353057"/>
            <a:ext cx="2924609" cy="866952"/>
            <a:chOff x="8552718" y="2026305"/>
            <a:chExt cx="1983553" cy="866952"/>
          </a:xfrm>
        </p:grpSpPr>
        <p:sp>
          <p:nvSpPr>
            <p:cNvPr id="101" name="Textfeld 100">
              <a:extLst>
                <a:ext uri="{FF2B5EF4-FFF2-40B4-BE49-F238E27FC236}">
                  <a16:creationId xmlns:a16="http://schemas.microsoft.com/office/drawing/2014/main" id="{E8C6E577-D8B6-5D4E-82CB-E93FF2B008C4}"/>
                </a:ext>
              </a:extLst>
            </p:cNvPr>
            <p:cNvSpPr txBox="1"/>
            <p:nvPr/>
          </p:nvSpPr>
          <p:spPr>
            <a:xfrm>
              <a:off x="8552718" y="2026305"/>
              <a:ext cx="1983553" cy="866952"/>
            </a:xfrm>
            <a:prstGeom prst="rect">
              <a:avLst/>
            </a:prstGeom>
            <a:solidFill>
              <a:schemeClr val="bg1"/>
            </a:solidFill>
          </p:spPr>
          <p:txBody>
            <a:bodyPr vert="horz" wrap="square" lIns="0" tIns="0" rIns="0" bIns="0" rtlCol="0" anchor="t" anchorCtr="0">
              <a:noAutofit/>
            </a:bodyPr>
            <a:lstStyle/>
            <a:p>
              <a:pPr marL="0" marR="0" lvl="0" indent="0" algn="l" defTabSz="914355" rtl="0" eaLnBrk="1" fontAlgn="auto" latinLnBrk="0" hangingPunct="1">
                <a:lnSpc>
                  <a:spcPct val="11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rPr>
                <a:t>Mitarbeiter im Technischen Kundendienst </a:t>
              </a:r>
              <a:r>
                <a:rPr kumimoji="0" lang="de-DE" sz="1000" b="0" i="0" u="none" strike="noStrike" kern="0" cap="none" spc="0" normalizeH="0" baseline="0" noProof="0" dirty="0">
                  <a:ln>
                    <a:noFill/>
                  </a:ln>
                  <a:solidFill>
                    <a:srgbClr val="333333">
                      <a:lumMod val="60000"/>
                      <a:lumOff val="40000"/>
                    </a:srgbClr>
                  </a:solidFill>
                  <a:effectLst/>
                  <a:uLnTx/>
                  <a:uFillTx/>
                  <a:latin typeface="Arial" panose="020B0604020202020204"/>
                  <a:ea typeface="+mn-ea"/>
                  <a:cs typeface="+mn-cs"/>
                </a:rPr>
                <a:t>(Anzahl)</a:t>
              </a:r>
              <a:endPar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endParaRPr>
            </a:p>
            <a:p>
              <a:pPr marL="0" marR="0" lvl="0" indent="0" algn="l" defTabSz="914355" rtl="0" eaLnBrk="1" fontAlgn="auto" latinLnBrk="0" hangingPunct="1">
                <a:lnSpc>
                  <a:spcPct val="110000"/>
                </a:lnSpc>
                <a:spcBef>
                  <a:spcPts val="0"/>
                </a:spcBef>
                <a:spcAft>
                  <a:spcPts val="0"/>
                </a:spcAft>
                <a:buClrTx/>
                <a:buSzTx/>
                <a:buFontTx/>
                <a:buNone/>
                <a:tabLst/>
                <a:defRPr/>
              </a:pPr>
              <a:r>
                <a:rPr kumimoji="0" lang="de-DE" sz="3600" b="1" i="0" u="none" strike="noStrike" kern="0" cap="none" spc="0" normalizeH="0" baseline="0" noProof="0" dirty="0">
                  <a:ln w="9525">
                    <a:noFill/>
                  </a:ln>
                  <a:solidFill>
                    <a:srgbClr val="BBD03A"/>
                  </a:solidFill>
                  <a:effectLst/>
                  <a:uLnTx/>
                  <a:uFillTx/>
                  <a:latin typeface="Arial" panose="020B0604020202020204"/>
                  <a:ea typeface="+mn-ea"/>
                  <a:cs typeface="+mn-cs"/>
                </a:rPr>
                <a:t>418</a:t>
              </a:r>
              <a:endParaRPr kumimoji="0" lang="de-DE" sz="5000" b="1" i="0" u="none" strike="noStrike" kern="0" cap="none" spc="0" normalizeH="0" baseline="0" noProof="0" dirty="0">
                <a:ln w="9525">
                  <a:noFill/>
                </a:ln>
                <a:solidFill>
                  <a:srgbClr val="BBD03A"/>
                </a:solidFill>
                <a:effectLst/>
                <a:uLnTx/>
                <a:uFillTx/>
                <a:latin typeface="Arial" panose="020B0604020202020204"/>
                <a:ea typeface="+mn-ea"/>
                <a:cs typeface="+mn-cs"/>
              </a:endParaRPr>
            </a:p>
          </p:txBody>
        </p:sp>
        <p:cxnSp>
          <p:nvCxnSpPr>
            <p:cNvPr id="102" name="Gerader Verbinder 1023">
              <a:extLst>
                <a:ext uri="{FF2B5EF4-FFF2-40B4-BE49-F238E27FC236}">
                  <a16:creationId xmlns:a16="http://schemas.microsoft.com/office/drawing/2014/main" id="{427333B7-C2F2-BF46-B1C9-5ADCDAC759F5}"/>
                </a:ext>
              </a:extLst>
            </p:cNvPr>
            <p:cNvCxnSpPr>
              <a:cxnSpLocks/>
            </p:cNvCxnSpPr>
            <p:nvPr/>
          </p:nvCxnSpPr>
          <p:spPr>
            <a:xfrm>
              <a:off x="8552719" y="2239625"/>
              <a:ext cx="192512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4" name="Gruppieren 103">
            <a:extLst>
              <a:ext uri="{FF2B5EF4-FFF2-40B4-BE49-F238E27FC236}">
                <a16:creationId xmlns:a16="http://schemas.microsoft.com/office/drawing/2014/main" id="{AB5D21B5-3D5D-9044-8A42-8D4E27DCB822}"/>
              </a:ext>
            </a:extLst>
          </p:cNvPr>
          <p:cNvGrpSpPr/>
          <p:nvPr/>
        </p:nvGrpSpPr>
        <p:grpSpPr>
          <a:xfrm>
            <a:off x="4679142" y="3277662"/>
            <a:ext cx="3513219" cy="866952"/>
            <a:chOff x="8552717" y="2026305"/>
            <a:chExt cx="3096093" cy="866952"/>
          </a:xfrm>
        </p:grpSpPr>
        <p:sp>
          <p:nvSpPr>
            <p:cNvPr id="106" name="Textfeld 105">
              <a:extLst>
                <a:ext uri="{FF2B5EF4-FFF2-40B4-BE49-F238E27FC236}">
                  <a16:creationId xmlns:a16="http://schemas.microsoft.com/office/drawing/2014/main" id="{8533DF50-141C-EA43-9FEC-FAECDDD696AC}"/>
                </a:ext>
              </a:extLst>
            </p:cNvPr>
            <p:cNvSpPr txBox="1"/>
            <p:nvPr/>
          </p:nvSpPr>
          <p:spPr>
            <a:xfrm>
              <a:off x="8552717" y="2026305"/>
              <a:ext cx="3096093" cy="866952"/>
            </a:xfrm>
            <a:prstGeom prst="rect">
              <a:avLst/>
            </a:prstGeom>
            <a:solidFill>
              <a:schemeClr val="bg1"/>
            </a:solidFill>
          </p:spPr>
          <p:txBody>
            <a:bodyPr vert="horz" wrap="square" lIns="0" tIns="0" rIns="0" bIns="0" rtlCol="0" anchor="t" anchorCtr="0">
              <a:noAutofit/>
            </a:bodyPr>
            <a:lstStyle/>
            <a:p>
              <a:pPr marL="0" marR="0" lvl="0" indent="0" algn="l" defTabSz="914355" rtl="0" eaLnBrk="1" fontAlgn="auto" latinLnBrk="0" hangingPunct="1">
                <a:lnSpc>
                  <a:spcPct val="11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rPr>
                <a:t>Maschinentypen mit Optionen und Automatisierung </a:t>
              </a:r>
              <a:r>
                <a:rPr kumimoji="0" lang="de-DE" sz="1000" b="0" i="0" u="none" strike="noStrike" kern="0" cap="none" spc="0" normalizeH="0" baseline="0" noProof="0" dirty="0">
                  <a:ln>
                    <a:noFill/>
                  </a:ln>
                  <a:solidFill>
                    <a:srgbClr val="333333">
                      <a:lumMod val="60000"/>
                      <a:lumOff val="40000"/>
                    </a:srgbClr>
                  </a:solidFill>
                  <a:effectLst/>
                  <a:uLnTx/>
                  <a:uFillTx/>
                  <a:latin typeface="Arial" panose="020B0604020202020204"/>
                  <a:ea typeface="+mn-ea"/>
                  <a:cs typeface="+mn-cs"/>
                </a:rPr>
                <a:t>(Stück)</a:t>
              </a:r>
              <a:b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br>
              <a: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t>über </a:t>
              </a:r>
              <a:r>
                <a:rPr kumimoji="0" lang="de-DE" sz="3600" b="1" i="0" u="none" strike="noStrike" kern="0" cap="none" spc="0" normalizeH="0" baseline="0" noProof="0" dirty="0">
                  <a:ln w="9525">
                    <a:noFill/>
                  </a:ln>
                  <a:solidFill>
                    <a:srgbClr val="BBD03A"/>
                  </a:solidFill>
                  <a:effectLst/>
                  <a:uLnTx/>
                  <a:uFillTx/>
                  <a:latin typeface="Arial" panose="020B0604020202020204"/>
                  <a:ea typeface="+mn-ea"/>
                  <a:cs typeface="+mn-cs"/>
                </a:rPr>
                <a:t>240</a:t>
              </a:r>
              <a:endParaRPr kumimoji="0" lang="de-DE" sz="5000" b="1" i="0" u="none" strike="noStrike" kern="0" cap="none" spc="0" normalizeH="0" baseline="0" noProof="0" dirty="0">
                <a:ln w="9525">
                  <a:noFill/>
                </a:ln>
                <a:solidFill>
                  <a:srgbClr val="BBD03A"/>
                </a:solidFill>
                <a:effectLst/>
                <a:uLnTx/>
                <a:uFillTx/>
                <a:latin typeface="Arial" panose="020B0604020202020204"/>
                <a:ea typeface="+mn-ea"/>
                <a:cs typeface="+mn-cs"/>
              </a:endParaRPr>
            </a:p>
          </p:txBody>
        </p:sp>
        <p:cxnSp>
          <p:nvCxnSpPr>
            <p:cNvPr id="107" name="Gerader Verbinder 1023">
              <a:extLst>
                <a:ext uri="{FF2B5EF4-FFF2-40B4-BE49-F238E27FC236}">
                  <a16:creationId xmlns:a16="http://schemas.microsoft.com/office/drawing/2014/main" id="{8160052D-EF0C-CB41-A784-CC63825EC99A}"/>
                </a:ext>
              </a:extLst>
            </p:cNvPr>
            <p:cNvCxnSpPr>
              <a:cxnSpLocks/>
            </p:cNvCxnSpPr>
            <p:nvPr/>
          </p:nvCxnSpPr>
          <p:spPr>
            <a:xfrm>
              <a:off x="8552719" y="2239625"/>
              <a:ext cx="2758941" cy="1069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9" name="Gruppieren 108">
            <a:extLst>
              <a:ext uri="{FF2B5EF4-FFF2-40B4-BE49-F238E27FC236}">
                <a16:creationId xmlns:a16="http://schemas.microsoft.com/office/drawing/2014/main" id="{84ECC41F-33C0-E446-A2D4-F79BAB4EE6B3}"/>
              </a:ext>
            </a:extLst>
          </p:cNvPr>
          <p:cNvGrpSpPr/>
          <p:nvPr/>
        </p:nvGrpSpPr>
        <p:grpSpPr>
          <a:xfrm>
            <a:off x="759238" y="4623790"/>
            <a:ext cx="2284018" cy="866952"/>
            <a:chOff x="8552718" y="2026305"/>
            <a:chExt cx="2034654" cy="866952"/>
          </a:xfrm>
        </p:grpSpPr>
        <p:sp>
          <p:nvSpPr>
            <p:cNvPr id="111" name="Textfeld 110">
              <a:extLst>
                <a:ext uri="{FF2B5EF4-FFF2-40B4-BE49-F238E27FC236}">
                  <a16:creationId xmlns:a16="http://schemas.microsoft.com/office/drawing/2014/main" id="{A01D4A00-212B-DC44-9E6B-4D9412938704}"/>
                </a:ext>
              </a:extLst>
            </p:cNvPr>
            <p:cNvSpPr txBox="1"/>
            <p:nvPr/>
          </p:nvSpPr>
          <p:spPr>
            <a:xfrm>
              <a:off x="8552718" y="2026305"/>
              <a:ext cx="2034653" cy="866952"/>
            </a:xfrm>
            <a:prstGeom prst="rect">
              <a:avLst/>
            </a:prstGeom>
            <a:solidFill>
              <a:schemeClr val="bg1"/>
            </a:solidFill>
          </p:spPr>
          <p:txBody>
            <a:bodyPr vert="horz" wrap="square" lIns="0" tIns="0" rIns="0" bIns="0" rtlCol="0" anchor="t" anchorCtr="0">
              <a:noAutofit/>
            </a:bodyPr>
            <a:lstStyle/>
            <a:p>
              <a:pPr marL="0" marR="0" lvl="0" indent="0" algn="l" defTabSz="914355" rtl="0" eaLnBrk="1" fontAlgn="auto" latinLnBrk="0" hangingPunct="1">
                <a:lnSpc>
                  <a:spcPct val="11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rPr>
                <a:t>Mitarbeiter Außendienst </a:t>
              </a:r>
              <a:r>
                <a:rPr kumimoji="0" lang="de-DE" sz="1000" b="0" i="0" u="none" strike="noStrike" kern="0" cap="none" spc="0" normalizeH="0" baseline="0" noProof="0" dirty="0">
                  <a:ln>
                    <a:noFill/>
                  </a:ln>
                  <a:solidFill>
                    <a:srgbClr val="333333">
                      <a:lumMod val="60000"/>
                      <a:lumOff val="40000"/>
                    </a:srgbClr>
                  </a:solidFill>
                  <a:effectLst/>
                  <a:uLnTx/>
                  <a:uFillTx/>
                  <a:latin typeface="Arial" panose="020B0604020202020204"/>
                  <a:ea typeface="+mn-ea"/>
                  <a:cs typeface="+mn-cs"/>
                </a:rPr>
                <a:t>(Anzahl)</a:t>
              </a:r>
              <a:b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br>
              <a:r>
                <a:rPr kumimoji="0" lang="de-DE" sz="3600" b="0" i="0" u="none" strike="noStrike" kern="0" cap="none" spc="0" normalizeH="0" baseline="0" noProof="0" dirty="0">
                  <a:ln w="9525">
                    <a:noFill/>
                  </a:ln>
                  <a:solidFill>
                    <a:srgbClr val="BBD03A"/>
                  </a:solidFill>
                  <a:effectLst/>
                  <a:uLnTx/>
                  <a:uFillTx/>
                  <a:latin typeface="Arial" panose="020B0604020202020204"/>
                  <a:ea typeface="+mn-ea"/>
                  <a:cs typeface="+mn-cs"/>
                </a:rPr>
                <a:t>231</a:t>
              </a:r>
              <a:endParaRPr kumimoji="0" lang="de-DE" sz="5000" b="0" i="0" u="none" strike="noStrike" kern="0" cap="none" spc="0" normalizeH="0" baseline="0" noProof="0" dirty="0">
                <a:ln w="9525">
                  <a:noFill/>
                </a:ln>
                <a:solidFill>
                  <a:srgbClr val="BBD03A"/>
                </a:solidFill>
                <a:effectLst/>
                <a:uLnTx/>
                <a:uFillTx/>
                <a:latin typeface="Arial" panose="020B0604020202020204"/>
                <a:ea typeface="+mn-ea"/>
                <a:cs typeface="+mn-cs"/>
              </a:endParaRPr>
            </a:p>
          </p:txBody>
        </p:sp>
        <p:cxnSp>
          <p:nvCxnSpPr>
            <p:cNvPr id="112" name="Gerader Verbinder 1023">
              <a:extLst>
                <a:ext uri="{FF2B5EF4-FFF2-40B4-BE49-F238E27FC236}">
                  <a16:creationId xmlns:a16="http://schemas.microsoft.com/office/drawing/2014/main" id="{E89073EF-5221-234E-8DD2-600B451FDEE1}"/>
                </a:ext>
              </a:extLst>
            </p:cNvPr>
            <p:cNvCxnSpPr>
              <a:cxnSpLocks/>
            </p:cNvCxnSpPr>
            <p:nvPr/>
          </p:nvCxnSpPr>
          <p:spPr>
            <a:xfrm>
              <a:off x="8552719" y="2239625"/>
              <a:ext cx="203465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0" name="Gruppieren 119">
            <a:extLst>
              <a:ext uri="{FF2B5EF4-FFF2-40B4-BE49-F238E27FC236}">
                <a16:creationId xmlns:a16="http://schemas.microsoft.com/office/drawing/2014/main" id="{65A107B6-2246-E446-84C6-2897ACB0788E}"/>
              </a:ext>
            </a:extLst>
          </p:cNvPr>
          <p:cNvGrpSpPr/>
          <p:nvPr/>
        </p:nvGrpSpPr>
        <p:grpSpPr>
          <a:xfrm>
            <a:off x="9094987" y="4159915"/>
            <a:ext cx="2103000" cy="866952"/>
            <a:chOff x="8552718" y="2026305"/>
            <a:chExt cx="1983553" cy="866952"/>
          </a:xfrm>
        </p:grpSpPr>
        <p:sp>
          <p:nvSpPr>
            <p:cNvPr id="122" name="Textfeld 121">
              <a:extLst>
                <a:ext uri="{FF2B5EF4-FFF2-40B4-BE49-F238E27FC236}">
                  <a16:creationId xmlns:a16="http://schemas.microsoft.com/office/drawing/2014/main" id="{0CE601E5-1505-C546-9700-858BA43170F1}"/>
                </a:ext>
              </a:extLst>
            </p:cNvPr>
            <p:cNvSpPr txBox="1"/>
            <p:nvPr/>
          </p:nvSpPr>
          <p:spPr>
            <a:xfrm>
              <a:off x="8552718" y="2026305"/>
              <a:ext cx="1983553" cy="866952"/>
            </a:xfrm>
            <a:prstGeom prst="rect">
              <a:avLst/>
            </a:prstGeom>
            <a:solidFill>
              <a:schemeClr val="bg1"/>
            </a:solidFill>
          </p:spPr>
          <p:txBody>
            <a:bodyPr vert="horz" wrap="square" lIns="0" tIns="0" rIns="0" bIns="0" rtlCol="0" anchor="t" anchorCtr="0">
              <a:noAutofit/>
            </a:bodyPr>
            <a:lstStyle/>
            <a:p>
              <a:pPr marL="0" marR="0" lvl="0" indent="0" algn="l" defTabSz="914355" rtl="0" eaLnBrk="1" fontAlgn="auto" latinLnBrk="0" hangingPunct="1">
                <a:lnSpc>
                  <a:spcPct val="11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rPr>
                <a:t>Innendienst Lösungsquote</a:t>
              </a:r>
              <a: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t> </a:t>
              </a:r>
              <a:r>
                <a:rPr kumimoji="0" lang="de-DE" sz="1000" b="0" i="0" u="none" strike="noStrike" kern="0" cap="none" spc="0" normalizeH="0" baseline="0" noProof="0" dirty="0">
                  <a:ln>
                    <a:noFill/>
                  </a:ln>
                  <a:solidFill>
                    <a:srgbClr val="333333">
                      <a:lumMod val="60000"/>
                      <a:lumOff val="40000"/>
                    </a:srgbClr>
                  </a:solidFill>
                  <a:effectLst/>
                  <a:uLnTx/>
                  <a:uFillTx/>
                  <a:latin typeface="Arial" panose="020B0604020202020204"/>
                  <a:ea typeface="+mn-ea"/>
                  <a:cs typeface="+mn-cs"/>
                </a:rPr>
                <a:t>(%)</a:t>
              </a:r>
              <a:b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br>
              <a:r>
                <a:rPr lang="de-DE" sz="1200" kern="0" dirty="0"/>
                <a:t>Ø </a:t>
              </a:r>
              <a:r>
                <a:rPr lang="de-DE" sz="3600" b="1" kern="0" dirty="0">
                  <a:ln w="9525">
                    <a:noFill/>
                  </a:ln>
                  <a:solidFill>
                    <a:srgbClr val="BBD03A"/>
                  </a:solidFill>
                  <a:latin typeface="Arial" panose="020B0604020202020204"/>
                </a:rPr>
                <a:t>75</a:t>
              </a:r>
              <a:endParaRPr kumimoji="0" lang="de-DE" sz="5000" b="1" i="0" u="none" strike="noStrike" kern="0" cap="none" spc="0" normalizeH="0" baseline="0" noProof="0" dirty="0">
                <a:ln w="9525">
                  <a:noFill/>
                </a:ln>
                <a:solidFill>
                  <a:srgbClr val="BBD03A"/>
                </a:solidFill>
                <a:effectLst/>
                <a:uLnTx/>
                <a:uFillTx/>
                <a:latin typeface="Arial" panose="020B0604020202020204"/>
                <a:ea typeface="+mn-ea"/>
                <a:cs typeface="+mn-cs"/>
              </a:endParaRPr>
            </a:p>
          </p:txBody>
        </p:sp>
        <p:cxnSp>
          <p:nvCxnSpPr>
            <p:cNvPr id="123" name="Gerader Verbinder 1023">
              <a:extLst>
                <a:ext uri="{FF2B5EF4-FFF2-40B4-BE49-F238E27FC236}">
                  <a16:creationId xmlns:a16="http://schemas.microsoft.com/office/drawing/2014/main" id="{69990384-6F3C-8F4B-AD35-06B5D3AD3592}"/>
                </a:ext>
              </a:extLst>
            </p:cNvPr>
            <p:cNvCxnSpPr>
              <a:cxnSpLocks/>
            </p:cNvCxnSpPr>
            <p:nvPr/>
          </p:nvCxnSpPr>
          <p:spPr>
            <a:xfrm>
              <a:off x="8552719" y="2239625"/>
              <a:ext cx="122177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6" name="Textfeld 85">
            <a:extLst>
              <a:ext uri="{FF2B5EF4-FFF2-40B4-BE49-F238E27FC236}">
                <a16:creationId xmlns:a16="http://schemas.microsoft.com/office/drawing/2014/main" id="{6706DD43-5FE4-4625-8ECE-4C542C6F5156}"/>
              </a:ext>
            </a:extLst>
          </p:cNvPr>
          <p:cNvSpPr txBox="1"/>
          <p:nvPr/>
        </p:nvSpPr>
        <p:spPr>
          <a:xfrm>
            <a:off x="523875" y="5872480"/>
            <a:ext cx="10919437" cy="426720"/>
          </a:xfrm>
          <a:prstGeom prst="rect">
            <a:avLst/>
          </a:prstGeom>
        </p:spPr>
        <p:txBody>
          <a:bodyPr vert="horz" wrap="square" lIns="0" tIns="0" rIns="0" bIns="0" rtlCol="0">
            <a:no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de-DE" sz="1000" b="0" i="1" u="none" strike="noStrike" kern="1200" cap="none" spc="0" normalizeH="0" baseline="0" noProof="0" dirty="0">
                <a:ln>
                  <a:noFill/>
                </a:ln>
                <a:solidFill>
                  <a:srgbClr val="333333"/>
                </a:solidFill>
                <a:effectLst/>
                <a:uLnTx/>
                <a:uFillTx/>
                <a:latin typeface="Arial" panose="020B0604020202020204"/>
                <a:ea typeface="+mn-ea"/>
                <a:cs typeface="+mn-cs"/>
              </a:rPr>
              <a:t> </a:t>
            </a:r>
          </a:p>
        </p:txBody>
      </p:sp>
      <p:grpSp>
        <p:nvGrpSpPr>
          <p:cNvPr id="87" name="Gruppieren 86">
            <a:extLst>
              <a:ext uri="{FF2B5EF4-FFF2-40B4-BE49-F238E27FC236}">
                <a16:creationId xmlns:a16="http://schemas.microsoft.com/office/drawing/2014/main" id="{E324A269-543C-4671-BDF0-AB0DFCC0F04F}"/>
              </a:ext>
            </a:extLst>
          </p:cNvPr>
          <p:cNvGrpSpPr/>
          <p:nvPr/>
        </p:nvGrpSpPr>
        <p:grpSpPr>
          <a:xfrm>
            <a:off x="2296916" y="5071437"/>
            <a:ext cx="2205273" cy="866952"/>
            <a:chOff x="8552718" y="2026305"/>
            <a:chExt cx="2034654" cy="866952"/>
          </a:xfrm>
        </p:grpSpPr>
        <p:sp>
          <p:nvSpPr>
            <p:cNvPr id="88" name="Textfeld 87">
              <a:extLst>
                <a:ext uri="{FF2B5EF4-FFF2-40B4-BE49-F238E27FC236}">
                  <a16:creationId xmlns:a16="http://schemas.microsoft.com/office/drawing/2014/main" id="{2ED716B3-389B-4FBF-B5B6-ECD00DAA9788}"/>
                </a:ext>
              </a:extLst>
            </p:cNvPr>
            <p:cNvSpPr txBox="1"/>
            <p:nvPr/>
          </p:nvSpPr>
          <p:spPr>
            <a:xfrm>
              <a:off x="8552718" y="2026305"/>
              <a:ext cx="2034653" cy="866952"/>
            </a:xfrm>
            <a:prstGeom prst="rect">
              <a:avLst/>
            </a:prstGeom>
            <a:solidFill>
              <a:schemeClr val="bg1"/>
            </a:solidFill>
          </p:spPr>
          <p:txBody>
            <a:bodyPr vert="horz" wrap="square" lIns="0" tIns="0" rIns="0" bIns="0" rtlCol="0" anchor="t" anchorCtr="0">
              <a:noAutofit/>
            </a:bodyPr>
            <a:lstStyle/>
            <a:p>
              <a:pPr marL="0" marR="0" lvl="0" indent="0" algn="l" defTabSz="914355" rtl="0" eaLnBrk="1" fontAlgn="auto" latinLnBrk="0" hangingPunct="1">
                <a:lnSpc>
                  <a:spcPct val="11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rPr>
                <a:t>Mitarbeiter Innendienst </a:t>
              </a:r>
              <a:r>
                <a:rPr kumimoji="0" lang="de-DE" sz="1000" b="0" i="0" u="none" strike="noStrike" kern="0" cap="none" spc="0" normalizeH="0" baseline="0" noProof="0" dirty="0">
                  <a:ln>
                    <a:noFill/>
                  </a:ln>
                  <a:solidFill>
                    <a:srgbClr val="333333">
                      <a:lumMod val="60000"/>
                      <a:lumOff val="40000"/>
                    </a:srgbClr>
                  </a:solidFill>
                  <a:effectLst/>
                  <a:uLnTx/>
                  <a:uFillTx/>
                  <a:latin typeface="Arial" panose="020B0604020202020204"/>
                  <a:ea typeface="+mn-ea"/>
                  <a:cs typeface="+mn-cs"/>
                </a:rPr>
                <a:t>(Anzahl)</a:t>
              </a:r>
              <a:b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br>
              <a:r>
                <a:rPr kumimoji="0" lang="de-DE" sz="3600" b="0" i="0" u="none" strike="noStrike" kern="0" cap="none" spc="0" normalizeH="0" baseline="0" noProof="0" dirty="0">
                  <a:ln w="9525">
                    <a:noFill/>
                  </a:ln>
                  <a:solidFill>
                    <a:srgbClr val="BBD03A"/>
                  </a:solidFill>
                  <a:effectLst/>
                  <a:uLnTx/>
                  <a:uFillTx/>
                  <a:latin typeface="Arial" panose="020B0604020202020204"/>
                  <a:ea typeface="+mn-ea"/>
                  <a:cs typeface="+mn-cs"/>
                </a:rPr>
                <a:t>187</a:t>
              </a:r>
              <a:endParaRPr kumimoji="0" lang="de-DE" sz="5000" b="0" i="0" u="none" strike="noStrike" kern="0" cap="none" spc="0" normalizeH="0" baseline="0" noProof="0" dirty="0">
                <a:ln w="9525">
                  <a:noFill/>
                </a:ln>
                <a:solidFill>
                  <a:srgbClr val="BBD03A"/>
                </a:solidFill>
                <a:effectLst/>
                <a:uLnTx/>
                <a:uFillTx/>
                <a:latin typeface="Arial" panose="020B0604020202020204"/>
                <a:ea typeface="+mn-ea"/>
                <a:cs typeface="+mn-cs"/>
              </a:endParaRPr>
            </a:p>
          </p:txBody>
        </p:sp>
        <p:cxnSp>
          <p:nvCxnSpPr>
            <p:cNvPr id="89" name="Gerader Verbinder 1023">
              <a:extLst>
                <a:ext uri="{FF2B5EF4-FFF2-40B4-BE49-F238E27FC236}">
                  <a16:creationId xmlns:a16="http://schemas.microsoft.com/office/drawing/2014/main" id="{C6FBE913-36D1-4B57-AF36-6B5AB2741C0C}"/>
                </a:ext>
              </a:extLst>
            </p:cNvPr>
            <p:cNvCxnSpPr>
              <a:cxnSpLocks/>
            </p:cNvCxnSpPr>
            <p:nvPr/>
          </p:nvCxnSpPr>
          <p:spPr>
            <a:xfrm>
              <a:off x="8552719" y="2239625"/>
              <a:ext cx="203465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 name="Gruppieren 1">
            <a:extLst>
              <a:ext uri="{FF2B5EF4-FFF2-40B4-BE49-F238E27FC236}">
                <a16:creationId xmlns:a16="http://schemas.microsoft.com/office/drawing/2014/main" id="{659BB401-B681-91BE-D96D-1C34FE0DAE08}"/>
              </a:ext>
            </a:extLst>
          </p:cNvPr>
          <p:cNvGrpSpPr/>
          <p:nvPr/>
        </p:nvGrpSpPr>
        <p:grpSpPr>
          <a:xfrm>
            <a:off x="5647676" y="4649603"/>
            <a:ext cx="2205273" cy="866952"/>
            <a:chOff x="8552718" y="2026305"/>
            <a:chExt cx="2034654" cy="866952"/>
          </a:xfrm>
        </p:grpSpPr>
        <p:sp>
          <p:nvSpPr>
            <p:cNvPr id="5" name="Textfeld 4">
              <a:extLst>
                <a:ext uri="{FF2B5EF4-FFF2-40B4-BE49-F238E27FC236}">
                  <a16:creationId xmlns:a16="http://schemas.microsoft.com/office/drawing/2014/main" id="{257DBD38-1107-038F-FF20-6DACF5007CBF}"/>
                </a:ext>
              </a:extLst>
            </p:cNvPr>
            <p:cNvSpPr txBox="1"/>
            <p:nvPr/>
          </p:nvSpPr>
          <p:spPr>
            <a:xfrm>
              <a:off x="8552718" y="2026305"/>
              <a:ext cx="2034653" cy="866952"/>
            </a:xfrm>
            <a:prstGeom prst="rect">
              <a:avLst/>
            </a:prstGeom>
            <a:solidFill>
              <a:schemeClr val="bg1"/>
            </a:solidFill>
          </p:spPr>
          <p:txBody>
            <a:bodyPr vert="horz" wrap="square" lIns="0" tIns="0" rIns="0" bIns="0" rtlCol="0" anchor="t" anchorCtr="0">
              <a:noAutofit/>
            </a:bodyPr>
            <a:lstStyle/>
            <a:p>
              <a:pPr marL="0" marR="0" lvl="0" indent="0" algn="l" defTabSz="914355" rtl="0" eaLnBrk="1" fontAlgn="auto" latinLnBrk="0" hangingPunct="1">
                <a:lnSpc>
                  <a:spcPct val="11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85172"/>
                  </a:solidFill>
                  <a:effectLst/>
                  <a:uLnTx/>
                  <a:uFillTx/>
                  <a:latin typeface="Arial" panose="020B0604020202020204"/>
                  <a:ea typeface="+mn-ea"/>
                  <a:cs typeface="+mn-cs"/>
                </a:rPr>
                <a:t>Fälle pro Tag </a:t>
              </a:r>
              <a:r>
                <a:rPr kumimoji="0" lang="de-DE" sz="1000" b="0" i="0" u="none" strike="noStrike" kern="0" cap="none" spc="0" normalizeH="0" baseline="0" noProof="0" dirty="0">
                  <a:ln>
                    <a:noFill/>
                  </a:ln>
                  <a:solidFill>
                    <a:srgbClr val="333333">
                      <a:lumMod val="60000"/>
                      <a:lumOff val="40000"/>
                    </a:srgbClr>
                  </a:solidFill>
                  <a:effectLst/>
                  <a:uLnTx/>
                  <a:uFillTx/>
                  <a:latin typeface="Arial" panose="020B0604020202020204"/>
                  <a:ea typeface="+mn-ea"/>
                  <a:cs typeface="+mn-cs"/>
                </a:rPr>
                <a:t>(Anzahl)</a:t>
              </a:r>
              <a:br>
                <a:rPr kumimoji="0" lang="de-DE" sz="1000" b="0" i="0" u="none" strike="noStrike" kern="0" cap="none" spc="0" normalizeH="0" baseline="0" noProof="0" dirty="0">
                  <a:ln>
                    <a:noFill/>
                  </a:ln>
                  <a:solidFill>
                    <a:srgbClr val="333333"/>
                  </a:solidFill>
                  <a:effectLst/>
                  <a:uLnTx/>
                  <a:uFillTx/>
                  <a:latin typeface="Arial" panose="020B0604020202020204"/>
                  <a:ea typeface="+mn-ea"/>
                  <a:cs typeface="+mn-cs"/>
                </a:rPr>
              </a:br>
              <a:r>
                <a:rPr kumimoji="0" lang="de-DE" sz="1200" b="0" i="0" u="none" strike="noStrike" kern="0" cap="none" spc="0" normalizeH="0" baseline="0" noProof="0" dirty="0">
                  <a:ln>
                    <a:noFill/>
                  </a:ln>
                  <a:solidFill>
                    <a:srgbClr val="333333"/>
                  </a:solidFill>
                  <a:effectLst/>
                  <a:uLnTx/>
                  <a:uFillTx/>
                  <a:latin typeface="Arial" panose="020B0604020202020204"/>
                  <a:ea typeface="+mn-ea"/>
                  <a:cs typeface="+mn-cs"/>
                </a:rPr>
                <a:t>ca. </a:t>
              </a:r>
              <a:r>
                <a:rPr lang="de-DE" sz="3600" b="1" kern="0" dirty="0">
                  <a:ln w="9525">
                    <a:noFill/>
                  </a:ln>
                  <a:solidFill>
                    <a:srgbClr val="BBD03A"/>
                  </a:solidFill>
                  <a:latin typeface="Arial" panose="020B0604020202020204"/>
                </a:rPr>
                <a:t>200</a:t>
              </a:r>
              <a:endParaRPr kumimoji="0" lang="de-DE" sz="5000" b="1" i="0" u="none" strike="noStrike" kern="0" cap="none" spc="0" normalizeH="0" baseline="0" noProof="0" dirty="0">
                <a:ln w="9525">
                  <a:noFill/>
                </a:ln>
                <a:solidFill>
                  <a:srgbClr val="BBD03A"/>
                </a:solidFill>
                <a:effectLst/>
                <a:uLnTx/>
                <a:uFillTx/>
                <a:latin typeface="Arial" panose="020B0604020202020204"/>
                <a:ea typeface="+mn-ea"/>
                <a:cs typeface="+mn-cs"/>
              </a:endParaRPr>
            </a:p>
          </p:txBody>
        </p:sp>
        <p:cxnSp>
          <p:nvCxnSpPr>
            <p:cNvPr id="47" name="Gerader Verbinder 1023">
              <a:extLst>
                <a:ext uri="{FF2B5EF4-FFF2-40B4-BE49-F238E27FC236}">
                  <a16:creationId xmlns:a16="http://schemas.microsoft.com/office/drawing/2014/main" id="{F5AF1887-B1D9-1233-F5D4-392346CEEDBD}"/>
                </a:ext>
              </a:extLst>
            </p:cNvPr>
            <p:cNvCxnSpPr>
              <a:cxnSpLocks/>
            </p:cNvCxnSpPr>
            <p:nvPr/>
          </p:nvCxnSpPr>
          <p:spPr>
            <a:xfrm>
              <a:off x="8552719" y="2239625"/>
              <a:ext cx="203465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 name="Fußzeilenplatzhalter 2">
            <a:extLst>
              <a:ext uri="{FF2B5EF4-FFF2-40B4-BE49-F238E27FC236}">
                <a16:creationId xmlns:a16="http://schemas.microsoft.com/office/drawing/2014/main" id="{9C6E0FC0-00E5-1291-810D-4AEC5A7F7C6F}"/>
              </a:ext>
            </a:extLst>
          </p:cNvPr>
          <p:cNvSpPr>
            <a:spLocks noGrp="1"/>
          </p:cNvSpPr>
          <p:nvPr>
            <p:ph type="ftr" sz="quarter" idx="3"/>
          </p:nvPr>
        </p:nvSpPr>
        <p:spPr/>
        <p:txBody>
          <a:bodyPr/>
          <a:lstStyle/>
          <a:p>
            <a:r>
              <a:rPr lang="de-DE"/>
              <a:t>Technischer Kundendienst</a:t>
            </a:r>
            <a:endParaRPr lang="de-DE" dirty="0"/>
          </a:p>
        </p:txBody>
      </p:sp>
      <p:sp>
        <p:nvSpPr>
          <p:cNvPr id="4" name="Foliennummernplatzhalter 3">
            <a:extLst>
              <a:ext uri="{FF2B5EF4-FFF2-40B4-BE49-F238E27FC236}">
                <a16:creationId xmlns:a16="http://schemas.microsoft.com/office/drawing/2014/main" id="{02C24019-873A-0997-DD43-002E3084F568}"/>
              </a:ext>
            </a:extLst>
          </p:cNvPr>
          <p:cNvSpPr>
            <a:spLocks noGrp="1"/>
          </p:cNvSpPr>
          <p:nvPr>
            <p:ph type="sldNum" sz="quarter" idx="4"/>
          </p:nvPr>
        </p:nvSpPr>
        <p:spPr/>
        <p:txBody>
          <a:bodyPr/>
          <a:lstStyle/>
          <a:p>
            <a:fld id="{8D57957C-F0F3-7842-B0E2-B762F92D6487}" type="slidenum">
              <a:rPr lang="de-DE" b="0" smtClean="0">
                <a:solidFill>
                  <a:schemeClr val="tx1"/>
                </a:solidFill>
              </a:rPr>
              <a:pPr/>
              <a:t>3</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50" name="Datumsplatzhalter 49">
            <a:extLst>
              <a:ext uri="{FF2B5EF4-FFF2-40B4-BE49-F238E27FC236}">
                <a16:creationId xmlns:a16="http://schemas.microsoft.com/office/drawing/2014/main" id="{0DCC22CA-4259-3224-86FF-EA9C68C653E4}"/>
              </a:ext>
            </a:extLst>
          </p:cNvPr>
          <p:cNvSpPr>
            <a:spLocks noGrp="1"/>
          </p:cNvSpPr>
          <p:nvPr>
            <p:ph type="dt" sz="half" idx="2"/>
          </p:nvPr>
        </p:nvSpPr>
        <p:spPr/>
        <p:txBody>
          <a:bodyPr/>
          <a:lstStyle/>
          <a:p>
            <a:fld id="{DC7AD8E2-F493-49EB-A575-6654E88C8CC2}" type="datetime1">
              <a:rPr lang="de-DE" smtClean="0"/>
              <a:pPr/>
              <a:t>20.04.2023</a:t>
            </a:fld>
            <a:endParaRPr lang="de-DE" dirty="0"/>
          </a:p>
        </p:txBody>
      </p:sp>
    </p:spTree>
    <p:extLst>
      <p:ext uri="{BB962C8B-B14F-4D97-AF65-F5344CB8AC3E}">
        <p14:creationId xmlns:p14="http://schemas.microsoft.com/office/powerpoint/2010/main" val="108077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A1C752-3F91-4CB3-A28C-9EC443639597}"/>
              </a:ext>
            </a:extLst>
          </p:cNvPr>
          <p:cNvSpPr>
            <a:spLocks noGrp="1"/>
          </p:cNvSpPr>
          <p:nvPr>
            <p:ph type="title" hasCustomPrompt="1"/>
          </p:nvPr>
        </p:nvSpPr>
        <p:spPr>
          <a:xfrm>
            <a:off x="515938" y="340234"/>
            <a:ext cx="11160125" cy="491194"/>
          </a:xfrm>
          <a:noFill/>
          <a:ln/>
          <a:extLst>
            <a:ext uri="{909E8E84-426E-40DD-AFC4-6F175D3DCCD1}">
              <a14:hiddenFill xmlns:a14="http://schemas.microsoft.com/office/drawing/2010/main">
                <a:solidFill>
                  <a:srgbClr val="FFFFFF">
                    <a:alpha val="0"/>
                  </a:srgbClr>
                </a:solidFill>
              </a14:hiddenFill>
            </a:ext>
          </a:extLst>
        </p:spPr>
        <p:txBody>
          <a:bodyPr lIns="0" tIns="0" rIns="0" bIns="0" anchor="t">
            <a:noAutofit/>
          </a:bodyPr>
          <a:lstStyle/>
          <a:p>
            <a:r>
              <a:rPr lang="de-DE" dirty="0">
                <a:solidFill>
                  <a:srgbClr val="333333"/>
                </a:solidFill>
                <a:latin typeface="Segoe UI" panose="020B0502040204020203" pitchFamily="34" charset="0"/>
              </a:rPr>
              <a:t>Technischer Kundendienst Deutschland</a:t>
            </a:r>
          </a:p>
        </p:txBody>
      </p:sp>
      <p:pic>
        <p:nvPicPr>
          <p:cNvPr id="18" name="Bildplatzhalter 21" descr="oragetblobPGRES679.jpg">
            <a:extLst>
              <a:ext uri="{FF2B5EF4-FFF2-40B4-BE49-F238E27FC236}">
                <a16:creationId xmlns:a16="http://schemas.microsoft.com/office/drawing/2014/main" id="{1A105AD9-4E3C-4C80-9A71-C11C7DFA1110}"/>
              </a:ext>
            </a:extLst>
          </p:cNvPr>
          <p:cNvPicPr>
            <a:picLocks noGrp="1" noChangeAspect="1"/>
          </p:cNvPicPr>
          <p:nvPr/>
        </p:nvPicPr>
        <p:blipFill rotWithShape="1">
          <a:blip r:embed="rId3" cstate="print"/>
          <a:srcRect t="7975" r="-6" b="3067"/>
          <a:stretch/>
        </p:blipFill>
        <p:spPr>
          <a:xfrm>
            <a:off x="1040936" y="1483200"/>
            <a:ext cx="2142517" cy="1510369"/>
          </a:xfrm>
          <a:prstGeom prst="rect">
            <a:avLst/>
          </a:prstGeom>
          <a:noFill/>
        </p:spPr>
      </p:pic>
      <p:pic>
        <p:nvPicPr>
          <p:cNvPr id="16" name="Bildplatzhalter 37" descr="oragetblobD8E2CEGE.jpg">
            <a:extLst>
              <a:ext uri="{FF2B5EF4-FFF2-40B4-BE49-F238E27FC236}">
                <a16:creationId xmlns:a16="http://schemas.microsoft.com/office/drawing/2014/main" id="{D249F001-15A9-4C45-9BF7-427469EAFD73}"/>
              </a:ext>
            </a:extLst>
          </p:cNvPr>
          <p:cNvPicPr>
            <a:picLocks noGrp="1" noChangeAspect="1"/>
          </p:cNvPicPr>
          <p:nvPr/>
        </p:nvPicPr>
        <p:blipFill rotWithShape="1">
          <a:blip r:embed="rId4" cstate="print"/>
          <a:srcRect r="708" b="6"/>
          <a:stretch/>
        </p:blipFill>
        <p:spPr>
          <a:xfrm>
            <a:off x="1040940" y="3386717"/>
            <a:ext cx="2142520" cy="1510369"/>
          </a:xfrm>
          <a:prstGeom prst="rect">
            <a:avLst/>
          </a:prstGeom>
          <a:noFill/>
        </p:spPr>
      </p:pic>
      <p:pic>
        <p:nvPicPr>
          <p:cNvPr id="14" name="Bildplatzhalter 23" descr="oragetblobAAB7UQR3.jpg">
            <a:extLst>
              <a:ext uri="{FF2B5EF4-FFF2-40B4-BE49-F238E27FC236}">
                <a16:creationId xmlns:a16="http://schemas.microsoft.com/office/drawing/2014/main" id="{DA7A7D0D-F35D-466D-9939-391E39FF03C1}"/>
              </a:ext>
            </a:extLst>
          </p:cNvPr>
          <p:cNvPicPr>
            <a:picLocks noGrp="1" noChangeAspect="1"/>
          </p:cNvPicPr>
          <p:nvPr/>
        </p:nvPicPr>
        <p:blipFill rotWithShape="1">
          <a:blip r:embed="rId5" cstate="print"/>
          <a:srcRect l="5312" r="1" b="1"/>
          <a:stretch/>
        </p:blipFill>
        <p:spPr>
          <a:xfrm>
            <a:off x="3826720" y="1483200"/>
            <a:ext cx="2142517" cy="1510369"/>
          </a:xfrm>
          <a:prstGeom prst="rect">
            <a:avLst/>
          </a:prstGeom>
          <a:noFill/>
        </p:spPr>
      </p:pic>
      <p:pic>
        <p:nvPicPr>
          <p:cNvPr id="12" name="Bildplatzhalter 14" descr="oragetblobI22AE1VH.jpg">
            <a:extLst>
              <a:ext uri="{FF2B5EF4-FFF2-40B4-BE49-F238E27FC236}">
                <a16:creationId xmlns:a16="http://schemas.microsoft.com/office/drawing/2014/main" id="{6C1E7B2F-A682-48BF-B3D7-D192811441D7}"/>
              </a:ext>
            </a:extLst>
          </p:cNvPr>
          <p:cNvPicPr>
            <a:picLocks noGrp="1" noChangeAspect="1"/>
          </p:cNvPicPr>
          <p:nvPr/>
        </p:nvPicPr>
        <p:blipFill rotWithShape="1">
          <a:blip r:embed="rId6" cstate="print"/>
          <a:srcRect l="5312" r="1" b="1"/>
          <a:stretch/>
        </p:blipFill>
        <p:spPr>
          <a:xfrm>
            <a:off x="6612500" y="1483200"/>
            <a:ext cx="2142517" cy="1510369"/>
          </a:xfrm>
          <a:prstGeom prst="rect">
            <a:avLst/>
          </a:prstGeom>
          <a:noFill/>
        </p:spPr>
      </p:pic>
      <p:pic>
        <p:nvPicPr>
          <p:cNvPr id="13" name="Bildplatzhalter 20" descr="oragetblobMCE266I2.jpg">
            <a:extLst>
              <a:ext uri="{FF2B5EF4-FFF2-40B4-BE49-F238E27FC236}">
                <a16:creationId xmlns:a16="http://schemas.microsoft.com/office/drawing/2014/main" id="{E74DE04A-D69D-4543-9B07-6A7D5183A5AE}"/>
              </a:ext>
            </a:extLst>
          </p:cNvPr>
          <p:cNvPicPr>
            <a:picLocks noGrp="1" noChangeAspect="1"/>
          </p:cNvPicPr>
          <p:nvPr/>
        </p:nvPicPr>
        <p:blipFill rotWithShape="1">
          <a:blip r:embed="rId7" cstate="print"/>
          <a:srcRect l="10135" r="10075" b="3"/>
          <a:stretch/>
        </p:blipFill>
        <p:spPr>
          <a:xfrm>
            <a:off x="9398282" y="1483200"/>
            <a:ext cx="2142517" cy="1510369"/>
          </a:xfrm>
          <a:prstGeom prst="rect">
            <a:avLst/>
          </a:prstGeom>
          <a:noFill/>
        </p:spPr>
      </p:pic>
      <p:pic>
        <p:nvPicPr>
          <p:cNvPr id="15" name="Bildplatzhalter 29" descr="oragetblobAY9VJGDM.jpg">
            <a:extLst>
              <a:ext uri="{FF2B5EF4-FFF2-40B4-BE49-F238E27FC236}">
                <a16:creationId xmlns:a16="http://schemas.microsoft.com/office/drawing/2014/main" id="{8B7EDE21-5346-46B2-91DF-12077834E46E}"/>
              </a:ext>
            </a:extLst>
          </p:cNvPr>
          <p:cNvPicPr>
            <a:picLocks noGrp="1" noChangeAspect="1"/>
          </p:cNvPicPr>
          <p:nvPr/>
        </p:nvPicPr>
        <p:blipFill rotWithShape="1">
          <a:blip r:embed="rId8" cstate="print"/>
          <a:srcRect r="5314" b="1"/>
          <a:stretch/>
        </p:blipFill>
        <p:spPr>
          <a:xfrm>
            <a:off x="3826716" y="3386717"/>
            <a:ext cx="2142519" cy="1510369"/>
          </a:xfrm>
          <a:prstGeom prst="rect">
            <a:avLst/>
          </a:prstGeom>
          <a:noFill/>
        </p:spPr>
      </p:pic>
      <p:sp>
        <p:nvSpPr>
          <p:cNvPr id="23" name="Textplatzhalter 4">
            <a:extLst>
              <a:ext uri="{FF2B5EF4-FFF2-40B4-BE49-F238E27FC236}">
                <a16:creationId xmlns:a16="http://schemas.microsoft.com/office/drawing/2014/main" id="{0AB6D1EC-2560-4116-8CD5-B7B0A33122BC}"/>
              </a:ext>
            </a:extLst>
          </p:cNvPr>
          <p:cNvSpPr txBox="1">
            <a:spLocks/>
          </p:cNvSpPr>
          <p:nvPr/>
        </p:nvSpPr>
        <p:spPr>
          <a:xfrm>
            <a:off x="515938" y="919611"/>
            <a:ext cx="11160000" cy="387798"/>
          </a:xfrm>
          <a:prstGeom prst="rect">
            <a:avLst/>
          </a:prstGeom>
          <a:noFill/>
        </p:spPr>
        <p:txBody>
          <a:bodyPr vert="horz" lIns="0" tIns="0" rIns="0" bIns="0" rtlCol="0">
            <a:noAutofit/>
          </a:bodyPr>
          <a:lst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60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6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6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6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6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600"/>
              </a:spcBef>
              <a:buClr>
                <a:schemeClr val="tx2"/>
              </a:buClr>
              <a:buFont typeface="Wingdings" panose="05000000000000000000" pitchFamily="2" charset="2"/>
              <a:buChar char="§"/>
              <a:defRPr sz="1600" kern="1200" baseline="0">
                <a:solidFill>
                  <a:schemeClr val="tx1"/>
                </a:solidFill>
                <a:latin typeface="+mn-lt"/>
                <a:ea typeface="+mn-ea"/>
                <a:cs typeface="+mn-cs"/>
              </a:defRPr>
            </a:lvl9pPr>
          </a:lstStyle>
          <a:p>
            <a:pPr marL="0" marR="0" lvl="0" indent="0" algn="l" defTabSz="914355" rtl="0" eaLnBrk="1" fontAlgn="auto" latinLnBrk="0" hangingPunct="1">
              <a:lnSpc>
                <a:spcPct val="100000"/>
              </a:lnSpc>
              <a:spcBef>
                <a:spcPts val="600"/>
              </a:spcBef>
              <a:spcAft>
                <a:spcPts val="600"/>
              </a:spcAft>
              <a:buClrTx/>
              <a:buSzTx/>
              <a:buFont typeface="Arial" panose="020B0604020202020204" pitchFamily="34" charset="0"/>
              <a:buNone/>
              <a:tabLst/>
              <a:defRPr/>
            </a:pPr>
            <a:endParaRPr kumimoji="0" lang="de-DE" sz="2800" b="0" i="0" u="none" strike="noStrike" kern="1200" cap="none" spc="0" normalizeH="0" baseline="0" noProof="0" dirty="0">
              <a:ln>
                <a:noFill/>
              </a:ln>
              <a:solidFill>
                <a:srgbClr val="285172"/>
              </a:solidFill>
              <a:effectLst/>
              <a:uLnTx/>
              <a:uFillTx/>
              <a:latin typeface="Arial" panose="020B0604020202020204"/>
              <a:ea typeface="+mn-ea"/>
              <a:cs typeface="Arial" panose="020B0604020202020204" pitchFamily="34" charset="0"/>
            </a:endParaRPr>
          </a:p>
        </p:txBody>
      </p:sp>
      <p:sp>
        <p:nvSpPr>
          <p:cNvPr id="24" name="Textfeld 23">
            <a:extLst>
              <a:ext uri="{FF2B5EF4-FFF2-40B4-BE49-F238E27FC236}">
                <a16:creationId xmlns:a16="http://schemas.microsoft.com/office/drawing/2014/main" id="{97483705-FF6B-47CB-AD6C-04109A1E1628}"/>
              </a:ext>
            </a:extLst>
          </p:cNvPr>
          <p:cNvSpPr txBox="1"/>
          <p:nvPr/>
        </p:nvSpPr>
        <p:spPr>
          <a:xfrm>
            <a:off x="6615883" y="2755181"/>
            <a:ext cx="970150" cy="276999"/>
          </a:xfrm>
          <a:prstGeom prst="rect">
            <a:avLst/>
          </a:prstGeom>
          <a:noFill/>
        </p:spPr>
        <p:txBody>
          <a:bodyPr vert="horz"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UBE</a:t>
            </a:r>
          </a:p>
        </p:txBody>
      </p:sp>
      <p:sp>
        <p:nvSpPr>
          <p:cNvPr id="25" name="Textfeld 24">
            <a:extLst>
              <a:ext uri="{FF2B5EF4-FFF2-40B4-BE49-F238E27FC236}">
                <a16:creationId xmlns:a16="http://schemas.microsoft.com/office/drawing/2014/main" id="{D195750F-511B-4B2E-BFA8-F245733422F8}"/>
              </a:ext>
            </a:extLst>
          </p:cNvPr>
          <p:cNvSpPr txBox="1"/>
          <p:nvPr/>
        </p:nvSpPr>
        <p:spPr>
          <a:xfrm>
            <a:off x="9408537" y="2755180"/>
            <a:ext cx="970150" cy="276999"/>
          </a:xfrm>
          <a:prstGeom prst="rect">
            <a:avLst/>
          </a:prstGeom>
          <a:noFill/>
        </p:spPr>
        <p:txBody>
          <a:bodyPr vert="horz"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PUNCH</a:t>
            </a:r>
          </a:p>
        </p:txBody>
      </p:sp>
      <p:sp>
        <p:nvSpPr>
          <p:cNvPr id="26" name="Textfeld 25">
            <a:extLst>
              <a:ext uri="{FF2B5EF4-FFF2-40B4-BE49-F238E27FC236}">
                <a16:creationId xmlns:a16="http://schemas.microsoft.com/office/drawing/2014/main" id="{84CDBE3C-1CAF-4E79-9246-4D9FB75F42CC}"/>
              </a:ext>
            </a:extLst>
          </p:cNvPr>
          <p:cNvSpPr txBox="1">
            <a:spLocks/>
          </p:cNvSpPr>
          <p:nvPr/>
        </p:nvSpPr>
        <p:spPr>
          <a:xfrm>
            <a:off x="1037444" y="2755181"/>
            <a:ext cx="970150" cy="276999"/>
          </a:xfrm>
          <a:prstGeom prst="rect">
            <a:avLst/>
          </a:prstGeom>
          <a:noFill/>
        </p:spPr>
        <p:txBody>
          <a:bodyPr vert="horz"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KOMBI</a:t>
            </a:r>
          </a:p>
        </p:txBody>
      </p:sp>
      <p:sp>
        <p:nvSpPr>
          <p:cNvPr id="27" name="Textfeld 26">
            <a:extLst>
              <a:ext uri="{FF2B5EF4-FFF2-40B4-BE49-F238E27FC236}">
                <a16:creationId xmlns:a16="http://schemas.microsoft.com/office/drawing/2014/main" id="{EE7CD1F6-E8C1-4A9B-90A6-12BB1A3E1421}"/>
              </a:ext>
            </a:extLst>
          </p:cNvPr>
          <p:cNvSpPr txBox="1"/>
          <p:nvPr/>
        </p:nvSpPr>
        <p:spPr>
          <a:xfrm>
            <a:off x="3836978" y="2755180"/>
            <a:ext cx="1138178" cy="276999"/>
          </a:xfrm>
          <a:prstGeom prst="rect">
            <a:avLst/>
          </a:prstGeom>
          <a:noFill/>
        </p:spPr>
        <p:txBody>
          <a:bodyPr vert="horz"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LASER2D</a:t>
            </a:r>
          </a:p>
        </p:txBody>
      </p:sp>
      <p:sp>
        <p:nvSpPr>
          <p:cNvPr id="28" name="Textfeld 27">
            <a:extLst>
              <a:ext uri="{FF2B5EF4-FFF2-40B4-BE49-F238E27FC236}">
                <a16:creationId xmlns:a16="http://schemas.microsoft.com/office/drawing/2014/main" id="{3CB1A497-A529-4115-95FD-8B921E0C34EB}"/>
              </a:ext>
            </a:extLst>
          </p:cNvPr>
          <p:cNvSpPr txBox="1"/>
          <p:nvPr/>
        </p:nvSpPr>
        <p:spPr>
          <a:xfrm>
            <a:off x="1037445" y="4657782"/>
            <a:ext cx="1138178" cy="276999"/>
          </a:xfrm>
          <a:prstGeom prst="rect">
            <a:avLst/>
          </a:prstGeom>
          <a:noFill/>
        </p:spPr>
        <p:txBody>
          <a:bodyPr vert="horz"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BEND</a:t>
            </a:r>
          </a:p>
        </p:txBody>
      </p:sp>
      <p:sp>
        <p:nvSpPr>
          <p:cNvPr id="29" name="Textfeld 28">
            <a:extLst>
              <a:ext uri="{FF2B5EF4-FFF2-40B4-BE49-F238E27FC236}">
                <a16:creationId xmlns:a16="http://schemas.microsoft.com/office/drawing/2014/main" id="{9A791E28-7346-491A-BAC9-55A8F6866C17}"/>
              </a:ext>
            </a:extLst>
          </p:cNvPr>
          <p:cNvSpPr txBox="1"/>
          <p:nvPr/>
        </p:nvSpPr>
        <p:spPr>
          <a:xfrm>
            <a:off x="3836974" y="4657781"/>
            <a:ext cx="1138178" cy="276999"/>
          </a:xfrm>
          <a:prstGeom prst="rect">
            <a:avLst/>
          </a:prstGeom>
          <a:noFill/>
        </p:spPr>
        <p:txBody>
          <a:bodyPr vert="horz"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CADCAM</a:t>
            </a:r>
          </a:p>
        </p:txBody>
      </p:sp>
      <p:pic>
        <p:nvPicPr>
          <p:cNvPr id="5" name="Bildplatzhalter 14">
            <a:extLst>
              <a:ext uri="{FF2B5EF4-FFF2-40B4-BE49-F238E27FC236}">
                <a16:creationId xmlns:a16="http://schemas.microsoft.com/office/drawing/2014/main" id="{0B275097-3907-7469-4B17-090A81C7667A}"/>
              </a:ext>
            </a:extLst>
          </p:cNvPr>
          <p:cNvPicPr>
            <a:picLocks noChangeAspect="1"/>
          </p:cNvPicPr>
          <p:nvPr/>
        </p:nvPicPr>
        <p:blipFill>
          <a:blip r:embed="rId9"/>
          <a:srcRect l="10104" r="10104"/>
          <a:stretch/>
        </p:blipFill>
        <p:spPr>
          <a:xfrm>
            <a:off x="6612492" y="3376262"/>
            <a:ext cx="2142517" cy="1510369"/>
          </a:xfrm>
          <a:prstGeom prst="rect">
            <a:avLst/>
          </a:prstGeom>
          <a:noFill/>
        </p:spPr>
      </p:pic>
      <p:pic>
        <p:nvPicPr>
          <p:cNvPr id="6" name="Bildplatzhalter 20">
            <a:extLst>
              <a:ext uri="{FF2B5EF4-FFF2-40B4-BE49-F238E27FC236}">
                <a16:creationId xmlns:a16="http://schemas.microsoft.com/office/drawing/2014/main" id="{73DD0DB7-D627-DA12-6E6C-FD2889DB72E3}"/>
              </a:ext>
            </a:extLst>
          </p:cNvPr>
          <p:cNvPicPr>
            <a:picLocks noChangeAspect="1"/>
          </p:cNvPicPr>
          <p:nvPr/>
        </p:nvPicPr>
        <p:blipFill>
          <a:blip r:embed="rId10"/>
          <a:srcRect l="2715" r="2715"/>
          <a:stretch/>
        </p:blipFill>
        <p:spPr>
          <a:xfrm>
            <a:off x="9398273" y="3376262"/>
            <a:ext cx="2142517" cy="1510369"/>
          </a:xfrm>
          <a:prstGeom prst="rect">
            <a:avLst/>
          </a:prstGeom>
          <a:noFill/>
        </p:spPr>
      </p:pic>
      <p:sp>
        <p:nvSpPr>
          <p:cNvPr id="7" name="Textfeld 6">
            <a:extLst>
              <a:ext uri="{FF2B5EF4-FFF2-40B4-BE49-F238E27FC236}">
                <a16:creationId xmlns:a16="http://schemas.microsoft.com/office/drawing/2014/main" id="{C8DA6842-9A51-E651-0CAE-3C5A9C18EF84}"/>
              </a:ext>
            </a:extLst>
          </p:cNvPr>
          <p:cNvSpPr txBox="1"/>
          <p:nvPr/>
        </p:nvSpPr>
        <p:spPr>
          <a:xfrm>
            <a:off x="6615872" y="4655119"/>
            <a:ext cx="1938920" cy="276999"/>
          </a:xfrm>
          <a:prstGeom prst="rect">
            <a:avLst/>
          </a:prstGeom>
          <a:noFill/>
        </p:spPr>
        <p:txBody>
          <a:bodyPr vert="horz"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de-DE" dirty="0">
                <a:solidFill>
                  <a:srgbClr val="FFFFFF"/>
                </a:solidFill>
                <a:latin typeface="Arial" panose="020B0604020202020204" pitchFamily="34" charset="0"/>
              </a:rPr>
              <a:t>SMART FACTORY</a:t>
            </a:r>
            <a:endParaRPr kumimoji="0" lang="de-DE"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 name="Textfeld 7">
            <a:extLst>
              <a:ext uri="{FF2B5EF4-FFF2-40B4-BE49-F238E27FC236}">
                <a16:creationId xmlns:a16="http://schemas.microsoft.com/office/drawing/2014/main" id="{0AA8EC88-22C6-59A8-5F85-FF9BF706C44C}"/>
              </a:ext>
            </a:extLst>
          </p:cNvPr>
          <p:cNvSpPr txBox="1"/>
          <p:nvPr/>
        </p:nvSpPr>
        <p:spPr>
          <a:xfrm>
            <a:off x="9401656" y="4655118"/>
            <a:ext cx="970150" cy="276999"/>
          </a:xfrm>
          <a:prstGeom prst="rect">
            <a:avLst/>
          </a:prstGeom>
          <a:noFill/>
        </p:spPr>
        <p:txBody>
          <a:bodyPr vert="horz" wrap="square" lIns="0" tIns="0" rIns="0" bIns="0" rtlCol="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lang="de-DE" dirty="0">
                <a:solidFill>
                  <a:srgbClr val="FFFFFF"/>
                </a:solidFill>
                <a:latin typeface="Arial" panose="020B0604020202020204" pitchFamily="34" charset="0"/>
              </a:rPr>
              <a:t>WELD</a:t>
            </a:r>
            <a:endParaRPr kumimoji="0" lang="de-DE"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 name="Fußzeilenplatzhalter 2">
            <a:extLst>
              <a:ext uri="{FF2B5EF4-FFF2-40B4-BE49-F238E27FC236}">
                <a16:creationId xmlns:a16="http://schemas.microsoft.com/office/drawing/2014/main" id="{BADD00C3-0D8C-6423-B2BD-CA26F561E244}"/>
              </a:ext>
            </a:extLst>
          </p:cNvPr>
          <p:cNvSpPr>
            <a:spLocks noGrp="1"/>
          </p:cNvSpPr>
          <p:nvPr>
            <p:ph type="ftr" sz="quarter" idx="3"/>
          </p:nvPr>
        </p:nvSpPr>
        <p:spPr/>
        <p:txBody>
          <a:bodyPr/>
          <a:lstStyle/>
          <a:p>
            <a:r>
              <a:rPr lang="de-DE"/>
              <a:t>Technischer Kundendienst</a:t>
            </a:r>
            <a:endParaRPr lang="de-DE" dirty="0"/>
          </a:p>
        </p:txBody>
      </p:sp>
      <p:sp>
        <p:nvSpPr>
          <p:cNvPr id="4" name="Foliennummernplatzhalter 3">
            <a:extLst>
              <a:ext uri="{FF2B5EF4-FFF2-40B4-BE49-F238E27FC236}">
                <a16:creationId xmlns:a16="http://schemas.microsoft.com/office/drawing/2014/main" id="{CC9E54BC-50C2-0C31-59DA-BD0E4D51AFFF}"/>
              </a:ext>
            </a:extLst>
          </p:cNvPr>
          <p:cNvSpPr>
            <a:spLocks noGrp="1"/>
          </p:cNvSpPr>
          <p:nvPr>
            <p:ph type="sldNum" sz="quarter" idx="4"/>
          </p:nvPr>
        </p:nvSpPr>
        <p:spPr/>
        <p:txBody>
          <a:bodyPr/>
          <a:lstStyle/>
          <a:p>
            <a:fld id="{8D57957C-F0F3-7842-B0E2-B762F92D6487}" type="slidenum">
              <a:rPr lang="de-DE" b="0" smtClean="0">
                <a:solidFill>
                  <a:schemeClr val="tx1"/>
                </a:solidFill>
              </a:rPr>
              <a:pPr/>
              <a:t>4</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7" name="Datumsplatzhalter 16">
            <a:extLst>
              <a:ext uri="{FF2B5EF4-FFF2-40B4-BE49-F238E27FC236}">
                <a16:creationId xmlns:a16="http://schemas.microsoft.com/office/drawing/2014/main" id="{7E294E94-A695-2072-A200-2EB60C35620C}"/>
              </a:ext>
            </a:extLst>
          </p:cNvPr>
          <p:cNvSpPr>
            <a:spLocks noGrp="1"/>
          </p:cNvSpPr>
          <p:nvPr>
            <p:ph type="dt" sz="half" idx="2"/>
          </p:nvPr>
        </p:nvSpPr>
        <p:spPr/>
        <p:txBody>
          <a:bodyPr/>
          <a:lstStyle/>
          <a:p>
            <a:fld id="{DC7AD8E2-F493-49EB-A575-6654E88C8CC2}" type="datetime1">
              <a:rPr lang="de-DE" smtClean="0"/>
              <a:pPr/>
              <a:t>20.04.2023</a:t>
            </a:fld>
            <a:endParaRPr lang="de-DE" dirty="0"/>
          </a:p>
        </p:txBody>
      </p:sp>
    </p:spTree>
    <p:extLst>
      <p:ext uri="{BB962C8B-B14F-4D97-AF65-F5344CB8AC3E}">
        <p14:creationId xmlns:p14="http://schemas.microsoft.com/office/powerpoint/2010/main" val="2750365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4972EDE-0966-CBF3-1B4C-CC0E662B334A}"/>
              </a:ext>
            </a:extLst>
          </p:cNvPr>
          <p:cNvSpPr>
            <a:spLocks noGrp="1"/>
          </p:cNvSpPr>
          <p:nvPr>
            <p:ph type="body" idx="14"/>
          </p:nvPr>
        </p:nvSpPr>
        <p:spPr>
          <a:solidFill>
            <a:schemeClr val="accent2"/>
          </a:solidFill>
        </p:spPr>
        <p:txBody>
          <a:bodyPr/>
          <a:lstStyle/>
          <a:p>
            <a:r>
              <a:rPr lang="de-DE" dirty="0">
                <a:solidFill>
                  <a:schemeClr val="tx1"/>
                </a:solidFill>
              </a:rPr>
              <a:t>Problemlösung mit</a:t>
            </a:r>
            <a:br>
              <a:rPr lang="de-DE" dirty="0">
                <a:solidFill>
                  <a:schemeClr val="tx1"/>
                </a:solidFill>
              </a:rPr>
            </a:br>
            <a:r>
              <a:rPr lang="de-DE" dirty="0">
                <a:solidFill>
                  <a:schemeClr val="tx1"/>
                </a:solidFill>
              </a:rPr>
              <a:t>Remote Support</a:t>
            </a:r>
          </a:p>
        </p:txBody>
      </p:sp>
      <p:pic>
        <p:nvPicPr>
          <p:cNvPr id="17" name="Bildplatzhalter 16">
            <a:extLst>
              <a:ext uri="{FF2B5EF4-FFF2-40B4-BE49-F238E27FC236}">
                <a16:creationId xmlns:a16="http://schemas.microsoft.com/office/drawing/2014/main" id="{5A43BB92-5ED5-F411-B5A7-04A8A14AAB44}"/>
              </a:ext>
            </a:extLst>
          </p:cNvPr>
          <p:cNvPicPr>
            <a:picLocks noGrp="1" noChangeAspect="1"/>
          </p:cNvPicPr>
          <p:nvPr>
            <p:ph type="pic" sz="quarter" idx="22"/>
          </p:nvPr>
        </p:nvPicPr>
        <p:blipFill>
          <a:blip r:embed="rId3"/>
          <a:srcRect l="5919" r="5919"/>
          <a:stretch>
            <a:fillRect/>
          </a:stretch>
        </p:blipFill>
        <p:spPr>
          <a:prstGeom prst="rect">
            <a:avLst/>
          </a:prstGeom>
        </p:spPr>
      </p:pic>
      <p:sp>
        <p:nvSpPr>
          <p:cNvPr id="4" name="Textplatzhalter 3">
            <a:extLst>
              <a:ext uri="{FF2B5EF4-FFF2-40B4-BE49-F238E27FC236}">
                <a16:creationId xmlns:a16="http://schemas.microsoft.com/office/drawing/2014/main" id="{7BF3D863-9EE2-B6AF-013F-C8C4CC1ACE9E}"/>
              </a:ext>
            </a:extLst>
          </p:cNvPr>
          <p:cNvSpPr>
            <a:spLocks noGrp="1"/>
          </p:cNvSpPr>
          <p:nvPr>
            <p:ph type="body" idx="26"/>
          </p:nvPr>
        </p:nvSpPr>
        <p:spPr>
          <a:solidFill>
            <a:schemeClr val="accent2"/>
          </a:solidFill>
        </p:spPr>
        <p:txBody>
          <a:bodyPr/>
          <a:lstStyle/>
          <a:p>
            <a:r>
              <a:rPr lang="de-DE" dirty="0">
                <a:solidFill>
                  <a:schemeClr val="tx1"/>
                </a:solidFill>
              </a:rPr>
              <a:t>Reparatur</a:t>
            </a:r>
          </a:p>
        </p:txBody>
      </p:sp>
      <p:pic>
        <p:nvPicPr>
          <p:cNvPr id="18" name="Bildplatzhalter 17">
            <a:extLst>
              <a:ext uri="{FF2B5EF4-FFF2-40B4-BE49-F238E27FC236}">
                <a16:creationId xmlns:a16="http://schemas.microsoft.com/office/drawing/2014/main" id="{3CE306EC-6C7F-BD8C-8753-D3D5666FA87F}"/>
              </a:ext>
            </a:extLst>
          </p:cNvPr>
          <p:cNvPicPr>
            <a:picLocks noGrp="1" noChangeAspect="1"/>
          </p:cNvPicPr>
          <p:nvPr>
            <p:ph type="pic" sz="quarter" idx="27"/>
          </p:nvPr>
        </p:nvPicPr>
        <p:blipFill>
          <a:blip r:embed="rId4"/>
          <a:srcRect l="6018" r="6018"/>
          <a:stretch>
            <a:fillRect/>
          </a:stretch>
        </p:blipFill>
        <p:spPr>
          <a:prstGeom prst="rect">
            <a:avLst/>
          </a:prstGeom>
        </p:spPr>
      </p:pic>
      <p:sp>
        <p:nvSpPr>
          <p:cNvPr id="6" name="Textplatzhalter 5">
            <a:extLst>
              <a:ext uri="{FF2B5EF4-FFF2-40B4-BE49-F238E27FC236}">
                <a16:creationId xmlns:a16="http://schemas.microsoft.com/office/drawing/2014/main" id="{25396CE6-D71B-D7E8-C46A-9EAF8762BF70}"/>
              </a:ext>
            </a:extLst>
          </p:cNvPr>
          <p:cNvSpPr>
            <a:spLocks noGrp="1"/>
          </p:cNvSpPr>
          <p:nvPr>
            <p:ph type="body" idx="28"/>
          </p:nvPr>
        </p:nvSpPr>
        <p:spPr>
          <a:solidFill>
            <a:schemeClr val="accent2"/>
          </a:solidFill>
        </p:spPr>
        <p:txBody>
          <a:bodyPr/>
          <a:lstStyle/>
          <a:p>
            <a:r>
              <a:rPr lang="de-DE" dirty="0">
                <a:solidFill>
                  <a:schemeClr val="tx1"/>
                </a:solidFill>
              </a:rPr>
              <a:t>Wartung</a:t>
            </a:r>
          </a:p>
        </p:txBody>
      </p:sp>
      <p:pic>
        <p:nvPicPr>
          <p:cNvPr id="19" name="Bildplatzhalter 18">
            <a:extLst>
              <a:ext uri="{FF2B5EF4-FFF2-40B4-BE49-F238E27FC236}">
                <a16:creationId xmlns:a16="http://schemas.microsoft.com/office/drawing/2014/main" id="{FEBC873D-DEA2-E62D-5185-DBB3F57BEAAB}"/>
              </a:ext>
            </a:extLst>
          </p:cNvPr>
          <p:cNvPicPr>
            <a:picLocks noGrp="1" noChangeAspect="1"/>
          </p:cNvPicPr>
          <p:nvPr>
            <p:ph type="pic" sz="quarter" idx="29"/>
          </p:nvPr>
        </p:nvPicPr>
        <p:blipFill>
          <a:blip r:embed="rId5"/>
          <a:srcRect l="12775" r="12775"/>
          <a:stretch>
            <a:fillRect/>
          </a:stretch>
        </p:blipFill>
        <p:spPr>
          <a:prstGeom prst="rect">
            <a:avLst/>
          </a:prstGeom>
        </p:spPr>
      </p:pic>
      <p:sp>
        <p:nvSpPr>
          <p:cNvPr id="8" name="Textplatzhalter 7">
            <a:extLst>
              <a:ext uri="{FF2B5EF4-FFF2-40B4-BE49-F238E27FC236}">
                <a16:creationId xmlns:a16="http://schemas.microsoft.com/office/drawing/2014/main" id="{DBC43150-5859-9C76-701E-BB76FB51D90E}"/>
              </a:ext>
            </a:extLst>
          </p:cNvPr>
          <p:cNvSpPr>
            <a:spLocks noGrp="1"/>
          </p:cNvSpPr>
          <p:nvPr>
            <p:ph type="body" idx="30"/>
          </p:nvPr>
        </p:nvSpPr>
        <p:spPr>
          <a:solidFill>
            <a:schemeClr val="accent2"/>
          </a:solidFill>
        </p:spPr>
        <p:txBody>
          <a:bodyPr/>
          <a:lstStyle/>
          <a:p>
            <a:r>
              <a:rPr lang="de-DE" dirty="0">
                <a:solidFill>
                  <a:schemeClr val="tx1"/>
                </a:solidFill>
              </a:rPr>
              <a:t>Installationen</a:t>
            </a:r>
          </a:p>
        </p:txBody>
      </p:sp>
      <p:pic>
        <p:nvPicPr>
          <p:cNvPr id="20" name="Bildplatzhalter 19">
            <a:extLst>
              <a:ext uri="{FF2B5EF4-FFF2-40B4-BE49-F238E27FC236}">
                <a16:creationId xmlns:a16="http://schemas.microsoft.com/office/drawing/2014/main" id="{667461DA-F2E4-3E87-DA33-FA2A7F175538}"/>
              </a:ext>
            </a:extLst>
          </p:cNvPr>
          <p:cNvPicPr>
            <a:picLocks noGrp="1" noChangeAspect="1"/>
          </p:cNvPicPr>
          <p:nvPr>
            <p:ph type="pic" sz="quarter" idx="31"/>
          </p:nvPr>
        </p:nvPicPr>
        <p:blipFill>
          <a:blip r:embed="rId6"/>
          <a:srcRect l="5886" r="5886"/>
          <a:stretch>
            <a:fillRect/>
          </a:stretch>
        </p:blipFill>
        <p:spPr>
          <a:prstGeom prst="rect">
            <a:avLst/>
          </a:prstGeom>
        </p:spPr>
      </p:pic>
      <p:pic>
        <p:nvPicPr>
          <p:cNvPr id="21" name="Bildplatzhalter 20">
            <a:extLst>
              <a:ext uri="{FF2B5EF4-FFF2-40B4-BE49-F238E27FC236}">
                <a16:creationId xmlns:a16="http://schemas.microsoft.com/office/drawing/2014/main" id="{DA5B6A4E-CBBD-FFE4-A29C-1162B5E80241}"/>
              </a:ext>
            </a:extLst>
          </p:cNvPr>
          <p:cNvPicPr>
            <a:picLocks noGrp="1" noChangeAspect="1"/>
          </p:cNvPicPr>
          <p:nvPr>
            <p:ph type="pic" sz="quarter" idx="33"/>
          </p:nvPr>
        </p:nvPicPr>
        <p:blipFill>
          <a:blip r:embed="rId7"/>
          <a:srcRect l="5886" r="5886"/>
          <a:stretch>
            <a:fillRect/>
          </a:stretch>
        </p:blipFill>
        <p:spPr>
          <a:prstGeom prst="rect">
            <a:avLst/>
          </a:prstGeom>
        </p:spPr>
      </p:pic>
      <p:sp>
        <p:nvSpPr>
          <p:cNvPr id="11" name="Titel 10">
            <a:extLst>
              <a:ext uri="{FF2B5EF4-FFF2-40B4-BE49-F238E27FC236}">
                <a16:creationId xmlns:a16="http://schemas.microsoft.com/office/drawing/2014/main" id="{FC706960-11A8-7101-802A-B0F60BEAE79D}"/>
              </a:ext>
            </a:extLst>
          </p:cNvPr>
          <p:cNvSpPr>
            <a:spLocks noGrp="1"/>
          </p:cNvSpPr>
          <p:nvPr>
            <p:ph type="title"/>
          </p:nvPr>
        </p:nvSpPr>
        <p:spPr>
          <a:xfrm>
            <a:off x="515938" y="340234"/>
            <a:ext cx="11160125" cy="485266"/>
          </a:xfrm>
          <a:noFill/>
          <a:ln/>
          <a:extLst>
            <a:ext uri="{909E8E84-426E-40DD-AFC4-6F175D3DCCD1}">
              <a14:hiddenFill xmlns:a14="http://schemas.microsoft.com/office/drawing/2010/main">
                <a:solidFill>
                  <a:srgbClr val="FFFFFF">
                    <a:alpha val="0"/>
                  </a:srgbClr>
                </a:solidFill>
              </a14:hiddenFill>
            </a:ext>
          </a:extLst>
        </p:spPr>
        <p:txBody>
          <a:bodyPr lIns="0" tIns="0" rIns="0" bIns="0" anchor="t">
            <a:noAutofit/>
          </a:bodyPr>
          <a:lstStyle/>
          <a:p>
            <a:r>
              <a:rPr lang="de-DE" dirty="0">
                <a:solidFill>
                  <a:srgbClr val="333333"/>
                </a:solidFill>
                <a:latin typeface="Segoe UI" panose="020B0502040204020203" pitchFamily="34" charset="0"/>
              </a:rPr>
              <a:t>Technischer Kundendienst</a:t>
            </a:r>
          </a:p>
        </p:txBody>
      </p:sp>
      <p:sp>
        <p:nvSpPr>
          <p:cNvPr id="12" name="Textplatzhalter 11">
            <a:extLst>
              <a:ext uri="{FF2B5EF4-FFF2-40B4-BE49-F238E27FC236}">
                <a16:creationId xmlns:a16="http://schemas.microsoft.com/office/drawing/2014/main" id="{43C5ED29-52DE-D404-4D8C-B1ADC62938B1}"/>
              </a:ext>
            </a:extLst>
          </p:cNvPr>
          <p:cNvSpPr>
            <a:spLocks noGrp="1"/>
          </p:cNvSpPr>
          <p:nvPr>
            <p:ph type="body" sz="quarter" idx="17"/>
          </p:nvPr>
        </p:nvSpPr>
        <p:spPr/>
        <p:txBody>
          <a:bodyPr/>
          <a:lstStyle/>
          <a:p>
            <a:r>
              <a:rPr lang="de-DE" sz="2400" dirty="0">
                <a:solidFill>
                  <a:schemeClr val="tx2"/>
                </a:solidFill>
                <a:latin typeface="+mj-lt"/>
              </a:rPr>
              <a:t>Unsere fünf Kernkompetenzen im Überblick</a:t>
            </a:r>
          </a:p>
        </p:txBody>
      </p:sp>
      <p:sp>
        <p:nvSpPr>
          <p:cNvPr id="14" name="Fußzeilenplatzhalter 13">
            <a:extLst>
              <a:ext uri="{FF2B5EF4-FFF2-40B4-BE49-F238E27FC236}">
                <a16:creationId xmlns:a16="http://schemas.microsoft.com/office/drawing/2014/main" id="{CC2ADE52-F17F-0C47-3206-816D34D59D30}"/>
              </a:ext>
            </a:extLst>
          </p:cNvPr>
          <p:cNvSpPr>
            <a:spLocks noGrp="1"/>
          </p:cNvSpPr>
          <p:nvPr>
            <p:ph type="ftr" sz="quarter" idx="3"/>
          </p:nvPr>
        </p:nvSpPr>
        <p:spPr/>
        <p:txBody>
          <a:bodyPr/>
          <a:lstStyle/>
          <a:p>
            <a:r>
              <a:rPr lang="de-DE"/>
              <a:t>Technischer Kundendienst</a:t>
            </a:r>
            <a:endParaRPr lang="de-DE" dirty="0"/>
          </a:p>
        </p:txBody>
      </p:sp>
      <p:sp>
        <p:nvSpPr>
          <p:cNvPr id="16" name="Textplatzhalter 15">
            <a:extLst>
              <a:ext uri="{FF2B5EF4-FFF2-40B4-BE49-F238E27FC236}">
                <a16:creationId xmlns:a16="http://schemas.microsoft.com/office/drawing/2014/main" id="{062E12F4-2109-3AD4-45F3-EA18A83D1A31}"/>
              </a:ext>
            </a:extLst>
          </p:cNvPr>
          <p:cNvSpPr>
            <a:spLocks noGrp="1"/>
          </p:cNvSpPr>
          <p:nvPr>
            <p:ph type="body" idx="34"/>
          </p:nvPr>
        </p:nvSpPr>
        <p:spPr>
          <a:solidFill>
            <a:schemeClr val="accent2"/>
          </a:solidFill>
        </p:spPr>
        <p:txBody>
          <a:bodyPr/>
          <a:lstStyle/>
          <a:p>
            <a:r>
              <a:rPr lang="de-DE" dirty="0">
                <a:solidFill>
                  <a:schemeClr val="tx1"/>
                </a:solidFill>
              </a:rPr>
              <a:t>Umbau &amp; Nachrüstungen</a:t>
            </a:r>
          </a:p>
          <a:p>
            <a:endParaRPr lang="de-DE" dirty="0"/>
          </a:p>
        </p:txBody>
      </p:sp>
      <p:sp>
        <p:nvSpPr>
          <p:cNvPr id="3" name="Foliennummernplatzhalter 2">
            <a:extLst>
              <a:ext uri="{FF2B5EF4-FFF2-40B4-BE49-F238E27FC236}">
                <a16:creationId xmlns:a16="http://schemas.microsoft.com/office/drawing/2014/main" id="{AF7C7A98-28E9-3BDA-AE31-280D8F6742AE}"/>
              </a:ext>
            </a:extLst>
          </p:cNvPr>
          <p:cNvSpPr>
            <a:spLocks noGrp="1"/>
          </p:cNvSpPr>
          <p:nvPr>
            <p:ph type="sldNum" sz="quarter" idx="4"/>
          </p:nvPr>
        </p:nvSpPr>
        <p:spPr/>
        <p:txBody>
          <a:bodyPr/>
          <a:lstStyle/>
          <a:p>
            <a:fld id="{8D57957C-F0F3-7842-B0E2-B762F92D6487}" type="slidenum">
              <a:rPr lang="de-DE" b="0" smtClean="0">
                <a:solidFill>
                  <a:schemeClr val="tx1"/>
                </a:solidFill>
              </a:rPr>
              <a:pPr/>
              <a:t>5</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7" name="Datumsplatzhalter 6">
            <a:extLst>
              <a:ext uri="{FF2B5EF4-FFF2-40B4-BE49-F238E27FC236}">
                <a16:creationId xmlns:a16="http://schemas.microsoft.com/office/drawing/2014/main" id="{5219838F-9D15-D5AD-9ED9-A41B1E1A49D5}"/>
              </a:ext>
            </a:extLst>
          </p:cNvPr>
          <p:cNvSpPr>
            <a:spLocks noGrp="1"/>
          </p:cNvSpPr>
          <p:nvPr>
            <p:ph type="dt" sz="half" idx="2"/>
          </p:nvPr>
        </p:nvSpPr>
        <p:spPr/>
        <p:txBody>
          <a:bodyPr/>
          <a:lstStyle/>
          <a:p>
            <a:fld id="{27C0C552-54B7-4F0D-B901-96BCDB04340B}" type="datetime1">
              <a:rPr lang="de-DE" smtClean="0"/>
              <a:pPr/>
              <a:t>20.04.2023</a:t>
            </a:fld>
            <a:endParaRPr lang="de-DE" dirty="0"/>
          </a:p>
        </p:txBody>
      </p:sp>
    </p:spTree>
    <p:extLst>
      <p:ext uri="{BB962C8B-B14F-4D97-AF65-F5344CB8AC3E}">
        <p14:creationId xmlns:p14="http://schemas.microsoft.com/office/powerpoint/2010/main" val="6511383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43AA78-E1C3-4C20-8F40-E3A5E3B6DF57}"/>
              </a:ext>
            </a:extLst>
          </p:cNvPr>
          <p:cNvSpPr>
            <a:spLocks noGrp="1"/>
          </p:cNvSpPr>
          <p:nvPr>
            <p:ph type="title" hasCustomPrompt="1"/>
          </p:nvPr>
        </p:nvSpPr>
        <p:spPr>
          <a:xfrm>
            <a:off x="515938" y="340234"/>
            <a:ext cx="11160125" cy="491194"/>
          </a:xfrm>
          <a:noFill/>
          <a:ln/>
          <a:extLst>
            <a:ext uri="{909E8E84-426E-40DD-AFC4-6F175D3DCCD1}">
              <a14:hiddenFill xmlns:a14="http://schemas.microsoft.com/office/drawing/2010/main">
                <a:solidFill>
                  <a:srgbClr val="FFFFFF">
                    <a:alpha val="0"/>
                  </a:srgbClr>
                </a:solidFill>
              </a14:hiddenFill>
            </a:ext>
          </a:extLst>
        </p:spPr>
        <p:txBody>
          <a:bodyPr lIns="0" tIns="0" rIns="0" bIns="0" anchor="t">
            <a:noAutofit/>
          </a:bodyPr>
          <a:lstStyle/>
          <a:p>
            <a:r>
              <a:rPr lang="de-DE" dirty="0">
                <a:solidFill>
                  <a:srgbClr val="333333"/>
                </a:solidFill>
                <a:latin typeface="Segoe UI" panose="020B0502040204020203" pitchFamily="34" charset="0"/>
              </a:rPr>
              <a:t>TRUMPF Service </a:t>
            </a:r>
            <a:r>
              <a:rPr lang="de-DE" dirty="0" err="1">
                <a:solidFill>
                  <a:srgbClr val="333333"/>
                </a:solidFill>
                <a:latin typeface="Segoe UI" panose="020B0502040204020203" pitchFamily="34" charset="0"/>
              </a:rPr>
              <a:t>Struktur</a:t>
            </a:r>
            <a:endParaRPr lang="de-DE" dirty="0">
              <a:solidFill>
                <a:srgbClr val="333333"/>
              </a:solidFill>
              <a:latin typeface="Segoe UI" panose="020B0502040204020203" pitchFamily="34" charset="0"/>
            </a:endParaRPr>
          </a:p>
        </p:txBody>
      </p:sp>
      <p:pic>
        <p:nvPicPr>
          <p:cNvPr id="7" name="Grafik 6">
            <a:extLst>
              <a:ext uri="{FF2B5EF4-FFF2-40B4-BE49-F238E27FC236}">
                <a16:creationId xmlns:a16="http://schemas.microsoft.com/office/drawing/2014/main" id="{D25EB362-4189-400E-B1BC-18D4DFF29704}"/>
              </a:ext>
            </a:extLst>
          </p:cNvPr>
          <p:cNvPicPr>
            <a:picLocks noChangeAspect="1"/>
          </p:cNvPicPr>
          <p:nvPr/>
        </p:nvPicPr>
        <p:blipFill>
          <a:blip r:embed="rId3"/>
          <a:stretch>
            <a:fillRect/>
          </a:stretch>
        </p:blipFill>
        <p:spPr>
          <a:xfrm>
            <a:off x="783771" y="1013794"/>
            <a:ext cx="10553414" cy="5319824"/>
          </a:xfrm>
          <a:prstGeom prst="rect">
            <a:avLst/>
          </a:prstGeom>
        </p:spPr>
      </p:pic>
      <p:sp>
        <p:nvSpPr>
          <p:cNvPr id="8" name="Textfeld 7">
            <a:extLst>
              <a:ext uri="{FF2B5EF4-FFF2-40B4-BE49-F238E27FC236}">
                <a16:creationId xmlns:a16="http://schemas.microsoft.com/office/drawing/2014/main" id="{9EB6876C-FBA4-46DE-A20B-C26F2B5B62BC}"/>
              </a:ext>
            </a:extLst>
          </p:cNvPr>
          <p:cNvSpPr txBox="1"/>
          <p:nvPr/>
        </p:nvSpPr>
        <p:spPr>
          <a:xfrm>
            <a:off x="10876718" y="3334415"/>
            <a:ext cx="432308" cy="215444"/>
          </a:xfrm>
          <a:prstGeom prst="rect">
            <a:avLst/>
          </a:prstGeom>
          <a:solidFill>
            <a:schemeClr val="bg2"/>
          </a:solidFill>
          <a:ln>
            <a:noFill/>
          </a:ln>
        </p:spPr>
        <p:txBody>
          <a:bodyPr wrap="square" lIns="0" tIns="0" rIns="0" bIns="0" rtlCol="0">
            <a:spAutoFit/>
          </a:bodyPr>
          <a:lstStyle/>
          <a:p>
            <a:pPr algn="l"/>
            <a:r>
              <a:rPr lang="de-DE" sz="1400" b="1" dirty="0">
                <a:solidFill>
                  <a:srgbClr val="93C11C"/>
                </a:solidFill>
              </a:rPr>
              <a:t>80%</a:t>
            </a:r>
          </a:p>
        </p:txBody>
      </p:sp>
      <p:sp>
        <p:nvSpPr>
          <p:cNvPr id="3" name="Fußzeilenplatzhalter 2">
            <a:extLst>
              <a:ext uri="{FF2B5EF4-FFF2-40B4-BE49-F238E27FC236}">
                <a16:creationId xmlns:a16="http://schemas.microsoft.com/office/drawing/2014/main" id="{AC14AEE4-5FBE-3B1C-5E13-9AF8D7D71691}"/>
              </a:ext>
            </a:extLst>
          </p:cNvPr>
          <p:cNvSpPr>
            <a:spLocks noGrp="1"/>
          </p:cNvSpPr>
          <p:nvPr>
            <p:ph type="ftr" sz="quarter" idx="3"/>
          </p:nvPr>
        </p:nvSpPr>
        <p:spPr/>
        <p:txBody>
          <a:bodyPr/>
          <a:lstStyle/>
          <a:p>
            <a:r>
              <a:rPr lang="de-DE"/>
              <a:t>Technischer Kundendienst</a:t>
            </a:r>
            <a:endParaRPr lang="de-DE" dirty="0"/>
          </a:p>
        </p:txBody>
      </p:sp>
      <p:sp>
        <p:nvSpPr>
          <p:cNvPr id="4" name="Foliennummernplatzhalter 3">
            <a:extLst>
              <a:ext uri="{FF2B5EF4-FFF2-40B4-BE49-F238E27FC236}">
                <a16:creationId xmlns:a16="http://schemas.microsoft.com/office/drawing/2014/main" id="{2D2B9EFF-082C-8B70-A293-EBEBD1E1774E}"/>
              </a:ext>
            </a:extLst>
          </p:cNvPr>
          <p:cNvSpPr>
            <a:spLocks noGrp="1"/>
          </p:cNvSpPr>
          <p:nvPr>
            <p:ph type="sldNum" sz="quarter" idx="4"/>
          </p:nvPr>
        </p:nvSpPr>
        <p:spPr/>
        <p:txBody>
          <a:bodyPr/>
          <a:lstStyle/>
          <a:p>
            <a:fld id="{8D57957C-F0F3-7842-B0E2-B762F92D6487}" type="slidenum">
              <a:rPr lang="de-DE" b="0" smtClean="0">
                <a:solidFill>
                  <a:schemeClr val="tx1"/>
                </a:solidFill>
              </a:rPr>
              <a:pPr/>
              <a:t>6</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0" name="Datumsplatzhalter 9">
            <a:extLst>
              <a:ext uri="{FF2B5EF4-FFF2-40B4-BE49-F238E27FC236}">
                <a16:creationId xmlns:a16="http://schemas.microsoft.com/office/drawing/2014/main" id="{1701AA5D-C2A2-B863-71D6-3C4A834C7DFC}"/>
              </a:ext>
            </a:extLst>
          </p:cNvPr>
          <p:cNvSpPr>
            <a:spLocks noGrp="1"/>
          </p:cNvSpPr>
          <p:nvPr>
            <p:ph type="dt" sz="half" idx="2"/>
          </p:nvPr>
        </p:nvSpPr>
        <p:spPr/>
        <p:txBody>
          <a:bodyPr/>
          <a:lstStyle/>
          <a:p>
            <a:fld id="{DC7AD8E2-F493-49EB-A575-6654E88C8CC2}" type="datetime1">
              <a:rPr lang="de-DE" smtClean="0"/>
              <a:pPr/>
              <a:t>20.04.2023</a:t>
            </a:fld>
            <a:endParaRPr lang="de-DE" dirty="0"/>
          </a:p>
        </p:txBody>
      </p:sp>
    </p:spTree>
    <p:extLst>
      <p:ext uri="{BB962C8B-B14F-4D97-AF65-F5344CB8AC3E}">
        <p14:creationId xmlns:p14="http://schemas.microsoft.com/office/powerpoint/2010/main" val="2809048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7">
            <a:extLst>
              <a:ext uri="{FF2B5EF4-FFF2-40B4-BE49-F238E27FC236}">
                <a16:creationId xmlns:a16="http://schemas.microsoft.com/office/drawing/2014/main" id="{8CB8277B-A9E7-4852-AA5A-53BE935B8A97}"/>
              </a:ext>
            </a:extLst>
          </p:cNvPr>
          <p:cNvPicPr>
            <a:picLocks noGrp="1" noChangeAspect="1"/>
          </p:cNvPicPr>
          <p:nvPr>
            <p:ph type="pic" sz="quarter" idx="11"/>
          </p:nvPr>
        </p:nvPicPr>
        <p:blipFill rotWithShape="1">
          <a:blip r:embed="rId3"/>
          <a:srcRect l="8159" r="8159"/>
          <a:stretch/>
        </p:blipFill>
        <p:spPr>
          <a:xfrm>
            <a:off x="3174" y="0"/>
            <a:ext cx="12188825" cy="6858000"/>
          </a:xfrm>
        </p:spPr>
      </p:pic>
      <p:sp>
        <p:nvSpPr>
          <p:cNvPr id="5" name="Untertitel 4">
            <a:extLst>
              <a:ext uri="{FF2B5EF4-FFF2-40B4-BE49-F238E27FC236}">
                <a16:creationId xmlns:a16="http://schemas.microsoft.com/office/drawing/2014/main" id="{D4482D4F-41ED-0886-D739-2B0FE4491A5E}"/>
              </a:ext>
            </a:extLst>
          </p:cNvPr>
          <p:cNvSpPr>
            <a:spLocks noGrp="1"/>
          </p:cNvSpPr>
          <p:nvPr>
            <p:ph type="subTitle" idx="1"/>
          </p:nvPr>
        </p:nvSpPr>
        <p:spPr/>
        <p:txBody>
          <a:bodyPr/>
          <a:lstStyle/>
          <a:p>
            <a:endParaRPr lang="de-DE"/>
          </a:p>
        </p:txBody>
      </p:sp>
      <p:sp>
        <p:nvSpPr>
          <p:cNvPr id="4" name="Title 3">
            <a:extLst>
              <a:ext uri="{FF2B5EF4-FFF2-40B4-BE49-F238E27FC236}">
                <a16:creationId xmlns:a16="http://schemas.microsoft.com/office/drawing/2014/main" id="{1BE73BC0-C76D-41AE-8790-1746CD3812D8}"/>
              </a:ext>
            </a:extLst>
          </p:cNvPr>
          <p:cNvSpPr>
            <a:spLocks noGrp="1"/>
          </p:cNvSpPr>
          <p:nvPr>
            <p:ph type="ctrTitle"/>
          </p:nvPr>
        </p:nvSpPr>
        <p:spPr>
          <a:xfrm>
            <a:off x="300037" y="4329257"/>
            <a:ext cx="4782951" cy="1064355"/>
          </a:xfrm>
          <a:noFill/>
          <a:ln/>
          <a:extLst>
            <a:ext uri="{909E8E84-426E-40DD-AFC4-6F175D3DCCD1}">
              <a14:hiddenFill xmlns:a14="http://schemas.microsoft.com/office/drawing/2010/main">
                <a:solidFill>
                  <a:srgbClr val="FFFFFF">
                    <a:alpha val="0"/>
                  </a:srgbClr>
                </a:solidFill>
              </a14:hiddenFill>
            </a:ext>
          </a:extLst>
        </p:spPr>
        <p:txBody>
          <a:bodyPr lIns="198000" tIns="0" rIns="0" bIns="0" anchor="b">
            <a:noAutofit/>
          </a:bodyPr>
          <a:lstStyle/>
          <a:p>
            <a:r>
              <a:rPr lang="de-DE" dirty="0">
                <a:solidFill>
                  <a:srgbClr val="333333"/>
                </a:solidFill>
                <a:latin typeface="Segoe UI" panose="020B0502040204020203" pitchFamily="34" charset="0"/>
              </a:rPr>
              <a:t>Remote Support </a:t>
            </a:r>
            <a:br>
              <a:rPr lang="de-DE" dirty="0">
                <a:solidFill>
                  <a:srgbClr val="333333"/>
                </a:solidFill>
                <a:latin typeface="Segoe UI" panose="020B0502040204020203" pitchFamily="34" charset="0"/>
              </a:rPr>
            </a:br>
            <a:r>
              <a:rPr lang="de-DE" dirty="0">
                <a:solidFill>
                  <a:srgbClr val="333333"/>
                </a:solidFill>
                <a:latin typeface="Segoe UI" panose="020B0502040204020203" pitchFamily="34" charset="0"/>
              </a:rPr>
              <a:t>Live Erleben</a:t>
            </a:r>
          </a:p>
        </p:txBody>
      </p:sp>
      <p:sp>
        <p:nvSpPr>
          <p:cNvPr id="2" name="Fußzeilenplatzhalter 1">
            <a:extLst>
              <a:ext uri="{FF2B5EF4-FFF2-40B4-BE49-F238E27FC236}">
                <a16:creationId xmlns:a16="http://schemas.microsoft.com/office/drawing/2014/main" id="{B7B91711-A5F8-4F69-AEA5-A905266CB3BF}"/>
              </a:ext>
            </a:extLst>
          </p:cNvPr>
          <p:cNvSpPr>
            <a:spLocks noGrp="1"/>
          </p:cNvSpPr>
          <p:nvPr>
            <p:ph type="ftr" sz="quarter" idx="13"/>
          </p:nvPr>
        </p:nvSpPr>
        <p:spPr/>
        <p:txBody>
          <a:bodyPr/>
          <a:lstStyle/>
          <a:p>
            <a:r>
              <a:rPr lang="de-DE">
                <a:latin typeface="Arial" panose="020B0604020202020204" pitchFamily="34" charset="0"/>
              </a:rPr>
              <a:t>Technischer Kundendienst</a:t>
            </a:r>
            <a:endParaRPr lang="de-DE" dirty="0">
              <a:latin typeface="Arial" panose="020B0604020202020204" pitchFamily="34" charset="0"/>
            </a:endParaRPr>
          </a:p>
        </p:txBody>
      </p:sp>
    </p:spTree>
    <p:extLst>
      <p:ext uri="{BB962C8B-B14F-4D97-AF65-F5344CB8AC3E}">
        <p14:creationId xmlns:p14="http://schemas.microsoft.com/office/powerpoint/2010/main" val="2472258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7">
            <a:extLst>
              <a:ext uri="{FF2B5EF4-FFF2-40B4-BE49-F238E27FC236}">
                <a16:creationId xmlns:a16="http://schemas.microsoft.com/office/drawing/2014/main" id="{8CB8277B-A9E7-4852-AA5A-53BE935B8A97}"/>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t="7802" b="7802"/>
          <a:stretch/>
        </p:blipFill>
        <p:spPr/>
      </p:pic>
      <p:sp>
        <p:nvSpPr>
          <p:cNvPr id="5" name="Untertitel 4">
            <a:extLst>
              <a:ext uri="{FF2B5EF4-FFF2-40B4-BE49-F238E27FC236}">
                <a16:creationId xmlns:a16="http://schemas.microsoft.com/office/drawing/2014/main" id="{D4482D4F-41ED-0886-D739-2B0FE4491A5E}"/>
              </a:ext>
            </a:extLst>
          </p:cNvPr>
          <p:cNvSpPr>
            <a:spLocks noGrp="1"/>
          </p:cNvSpPr>
          <p:nvPr>
            <p:ph type="subTitle" idx="1"/>
          </p:nvPr>
        </p:nvSpPr>
        <p:spPr/>
        <p:txBody>
          <a:bodyPr/>
          <a:lstStyle/>
          <a:p>
            <a:endParaRPr lang="de-DE"/>
          </a:p>
        </p:txBody>
      </p:sp>
      <p:sp>
        <p:nvSpPr>
          <p:cNvPr id="4" name="Title 3">
            <a:extLst>
              <a:ext uri="{FF2B5EF4-FFF2-40B4-BE49-F238E27FC236}">
                <a16:creationId xmlns:a16="http://schemas.microsoft.com/office/drawing/2014/main" id="{1BE73BC0-C76D-41AE-8790-1746CD3812D8}"/>
              </a:ext>
            </a:extLst>
          </p:cNvPr>
          <p:cNvSpPr>
            <a:spLocks noGrp="1"/>
          </p:cNvSpPr>
          <p:nvPr>
            <p:ph type="ctrTitle"/>
          </p:nvPr>
        </p:nvSpPr>
        <p:spPr>
          <a:xfrm>
            <a:off x="300037" y="4329257"/>
            <a:ext cx="4782951" cy="1064355"/>
          </a:xfrm>
          <a:noFill/>
          <a:ln/>
          <a:extLst>
            <a:ext uri="{909E8E84-426E-40DD-AFC4-6F175D3DCCD1}">
              <a14:hiddenFill xmlns:a14="http://schemas.microsoft.com/office/drawing/2010/main">
                <a:solidFill>
                  <a:srgbClr val="FFFFFF">
                    <a:alpha val="0"/>
                  </a:srgbClr>
                </a:solidFill>
              </a14:hiddenFill>
            </a:ext>
          </a:extLst>
        </p:spPr>
        <p:txBody>
          <a:bodyPr lIns="198000" tIns="0" rIns="0" bIns="0" anchor="b">
            <a:noAutofit/>
          </a:bodyPr>
          <a:lstStyle/>
          <a:p>
            <a:r>
              <a:rPr lang="de-DE" dirty="0" err="1">
                <a:solidFill>
                  <a:srgbClr val="333333"/>
                </a:solidFill>
                <a:latin typeface="Segoe UI" panose="020B0502040204020203" pitchFamily="34" charset="0"/>
              </a:rPr>
              <a:t>Predictive</a:t>
            </a:r>
            <a:r>
              <a:rPr lang="de-DE" dirty="0">
                <a:solidFill>
                  <a:srgbClr val="333333"/>
                </a:solidFill>
                <a:latin typeface="Segoe UI" panose="020B0502040204020203" pitchFamily="34" charset="0"/>
              </a:rPr>
              <a:t> </a:t>
            </a:r>
            <a:br>
              <a:rPr lang="de-DE" dirty="0">
                <a:solidFill>
                  <a:srgbClr val="333333"/>
                </a:solidFill>
                <a:latin typeface="Segoe UI" panose="020B0502040204020203" pitchFamily="34" charset="0"/>
              </a:rPr>
            </a:br>
            <a:r>
              <a:rPr lang="de-DE" dirty="0">
                <a:solidFill>
                  <a:srgbClr val="333333"/>
                </a:solidFill>
                <a:latin typeface="Segoe UI" panose="020B0502040204020203" pitchFamily="34" charset="0"/>
              </a:rPr>
              <a:t>Service Center</a:t>
            </a:r>
          </a:p>
        </p:txBody>
      </p:sp>
      <p:sp>
        <p:nvSpPr>
          <p:cNvPr id="2" name="Fußzeilenplatzhalter 1">
            <a:extLst>
              <a:ext uri="{FF2B5EF4-FFF2-40B4-BE49-F238E27FC236}">
                <a16:creationId xmlns:a16="http://schemas.microsoft.com/office/drawing/2014/main" id="{B7B91711-A5F8-4F69-AEA5-A905266CB3BF}"/>
              </a:ext>
            </a:extLst>
          </p:cNvPr>
          <p:cNvSpPr>
            <a:spLocks noGrp="1"/>
          </p:cNvSpPr>
          <p:nvPr>
            <p:ph type="ftr" sz="quarter" idx="13"/>
          </p:nvPr>
        </p:nvSpPr>
        <p:spPr/>
        <p:txBody>
          <a:bodyPr/>
          <a:lstStyle/>
          <a:p>
            <a:r>
              <a:rPr lang="de-DE">
                <a:latin typeface="Arial" panose="020B0604020202020204" pitchFamily="34" charset="0"/>
              </a:rPr>
              <a:t>Technischer Kundendienst</a:t>
            </a:r>
            <a:endParaRPr lang="de-DE" dirty="0">
              <a:latin typeface="Arial" panose="020B0604020202020204" pitchFamily="34" charset="0"/>
            </a:endParaRPr>
          </a:p>
        </p:txBody>
      </p:sp>
    </p:spTree>
    <p:extLst>
      <p:ext uri="{BB962C8B-B14F-4D97-AF65-F5344CB8AC3E}">
        <p14:creationId xmlns:p14="http://schemas.microsoft.com/office/powerpoint/2010/main" val="3401271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FC706960-11A8-7101-802A-B0F60BEAE79D}"/>
              </a:ext>
            </a:extLst>
          </p:cNvPr>
          <p:cNvSpPr>
            <a:spLocks noGrp="1"/>
          </p:cNvSpPr>
          <p:nvPr>
            <p:ph type="title"/>
          </p:nvPr>
        </p:nvSpPr>
        <p:spPr/>
        <p:txBody>
          <a:bodyPr/>
          <a:lstStyle/>
          <a:p>
            <a:r>
              <a:rPr lang="de-DE" dirty="0"/>
              <a:t>Agenda</a:t>
            </a:r>
          </a:p>
        </p:txBody>
      </p:sp>
      <p:sp>
        <p:nvSpPr>
          <p:cNvPr id="12" name="Textplatzhalter 11">
            <a:extLst>
              <a:ext uri="{FF2B5EF4-FFF2-40B4-BE49-F238E27FC236}">
                <a16:creationId xmlns:a16="http://schemas.microsoft.com/office/drawing/2014/main" id="{43C5ED29-52DE-D404-4D8C-B1ADC62938B1}"/>
              </a:ext>
            </a:extLst>
          </p:cNvPr>
          <p:cNvSpPr>
            <a:spLocks noGrp="1"/>
          </p:cNvSpPr>
          <p:nvPr>
            <p:ph type="body" sz="quarter" idx="17"/>
          </p:nvPr>
        </p:nvSpPr>
        <p:spPr/>
        <p:txBody>
          <a:bodyPr/>
          <a:lstStyle/>
          <a:p>
            <a:endParaRPr lang="de-DE" sz="2000" dirty="0"/>
          </a:p>
        </p:txBody>
      </p:sp>
      <p:sp>
        <p:nvSpPr>
          <p:cNvPr id="13" name="Foliennummernplatzhalter 12">
            <a:extLst>
              <a:ext uri="{FF2B5EF4-FFF2-40B4-BE49-F238E27FC236}">
                <a16:creationId xmlns:a16="http://schemas.microsoft.com/office/drawing/2014/main" id="{47C7963C-F72E-0091-783C-63323B969B2E}"/>
              </a:ext>
            </a:extLst>
          </p:cNvPr>
          <p:cNvSpPr>
            <a:spLocks noGrp="1"/>
          </p:cNvSpPr>
          <p:nvPr>
            <p:ph type="sldNum" sz="quarter" idx="4"/>
          </p:nvPr>
        </p:nvSpPr>
        <p:spPr/>
        <p:txBody>
          <a:bodyPr/>
          <a:lstStyle/>
          <a:p>
            <a:fld id="{8D57957C-F0F3-7842-B0E2-B762F92D6487}" type="slidenum">
              <a:rPr lang="de-DE" b="0" smtClean="0">
                <a:solidFill>
                  <a:schemeClr val="tx1"/>
                </a:solidFill>
              </a:rPr>
              <a:pPr/>
              <a:t>9</a:t>
            </a:fld>
            <a:r>
              <a:rPr lang="de-DE" dirty="0">
                <a:solidFill>
                  <a:schemeClr val="accent1"/>
                </a:solidFill>
              </a:rPr>
              <a:t>  </a:t>
            </a:r>
            <a:r>
              <a:rPr lang="de-DE" b="0" dirty="0">
                <a:solidFill>
                  <a:schemeClr val="accent1"/>
                </a:solidFill>
              </a:rPr>
              <a:t>|</a:t>
            </a:r>
            <a:endParaRPr lang="de-DE" sz="900" b="0" dirty="0">
              <a:solidFill>
                <a:schemeClr val="accent1"/>
              </a:solidFill>
            </a:endParaRPr>
          </a:p>
        </p:txBody>
      </p:sp>
      <p:sp>
        <p:nvSpPr>
          <p:cNvPr id="14" name="Fußzeilenplatzhalter 13">
            <a:extLst>
              <a:ext uri="{FF2B5EF4-FFF2-40B4-BE49-F238E27FC236}">
                <a16:creationId xmlns:a16="http://schemas.microsoft.com/office/drawing/2014/main" id="{CC2ADE52-F17F-0C47-3206-816D34D59D30}"/>
              </a:ext>
            </a:extLst>
          </p:cNvPr>
          <p:cNvSpPr>
            <a:spLocks noGrp="1"/>
          </p:cNvSpPr>
          <p:nvPr>
            <p:ph type="ftr" sz="quarter" idx="3"/>
          </p:nvPr>
        </p:nvSpPr>
        <p:spPr/>
        <p:txBody>
          <a:bodyPr/>
          <a:lstStyle/>
          <a:p>
            <a:r>
              <a:rPr lang="de-DE"/>
              <a:t>Technischer Kundendienst</a:t>
            </a:r>
            <a:endParaRPr lang="de-DE" dirty="0"/>
          </a:p>
        </p:txBody>
      </p:sp>
      <p:grpSp>
        <p:nvGrpSpPr>
          <p:cNvPr id="37" name="Gruppieren 36">
            <a:extLst>
              <a:ext uri="{FF2B5EF4-FFF2-40B4-BE49-F238E27FC236}">
                <a16:creationId xmlns:a16="http://schemas.microsoft.com/office/drawing/2014/main" id="{72C6A082-BE3D-1A14-0F94-D3D06F33315D}"/>
              </a:ext>
            </a:extLst>
          </p:cNvPr>
          <p:cNvGrpSpPr/>
          <p:nvPr>
            <p:custDataLst>
              <p:tags r:id="rId1"/>
            </p:custDataLst>
          </p:nvPr>
        </p:nvGrpSpPr>
        <p:grpSpPr>
          <a:xfrm>
            <a:off x="3931143" y="1494586"/>
            <a:ext cx="5666948" cy="3433445"/>
            <a:chOff x="3931143" y="1494586"/>
            <a:chExt cx="4290920" cy="3433445"/>
          </a:xfrm>
        </p:grpSpPr>
        <p:cxnSp>
          <p:nvCxnSpPr>
            <p:cNvPr id="38" name="MIO_AGENDA_ELEMENT_DECORATOR_4">
              <a:extLst>
                <a:ext uri="{FF2B5EF4-FFF2-40B4-BE49-F238E27FC236}">
                  <a16:creationId xmlns:a16="http://schemas.microsoft.com/office/drawing/2014/main" id="{6ACB65F3-F9E1-6B83-FD0A-AA65C23A97BA}"/>
                </a:ext>
              </a:extLst>
            </p:cNvPr>
            <p:cNvCxnSpPr>
              <a:cxnSpLocks/>
            </p:cNvCxnSpPr>
            <p:nvPr/>
          </p:nvCxnSpPr>
          <p:spPr>
            <a:xfrm>
              <a:off x="4622063" y="4910593"/>
              <a:ext cx="3600000" cy="17438"/>
            </a:xfrm>
            <a:prstGeom prst="line">
              <a:avLst/>
            </a:prstGeom>
            <a:ln w="19050" cap="flat" cmpd="sng" algn="ctr">
              <a:no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9" name="MIO_AGENDA_ELEMENT_DECORATOR_3">
              <a:extLst>
                <a:ext uri="{FF2B5EF4-FFF2-40B4-BE49-F238E27FC236}">
                  <a16:creationId xmlns:a16="http://schemas.microsoft.com/office/drawing/2014/main" id="{7E3D644E-1387-E034-4B8B-026900F551B0}"/>
                </a:ext>
              </a:extLst>
            </p:cNvPr>
            <p:cNvGrpSpPr>
              <a:grpSpLocks/>
            </p:cNvGrpSpPr>
            <p:nvPr>
              <p:custDataLst>
                <p:tags r:id="rId2"/>
              </p:custDataLst>
            </p:nvPr>
          </p:nvGrpSpPr>
          <p:grpSpPr>
            <a:xfrm>
              <a:off x="4622063" y="3771924"/>
              <a:ext cx="3600000" cy="877139"/>
              <a:chOff x="4622063" y="1494586"/>
              <a:chExt cx="3600000" cy="905392"/>
            </a:xfrm>
          </p:grpSpPr>
          <p:cxnSp>
            <p:nvCxnSpPr>
              <p:cNvPr id="52" name="MIO_AGENDA_ELEMENT_DECORATOR_3">
                <a:extLst>
                  <a:ext uri="{FF2B5EF4-FFF2-40B4-BE49-F238E27FC236}">
                    <a16:creationId xmlns:a16="http://schemas.microsoft.com/office/drawing/2014/main" id="{8F5C336C-429D-E760-0495-C692683DEF54}"/>
                  </a:ext>
                </a:extLst>
              </p:cNvPr>
              <p:cNvCxnSpPr>
                <a:cxnSpLocks/>
              </p:cNvCxnSpPr>
              <p:nvPr/>
            </p:nvCxnSpPr>
            <p:spPr>
              <a:xfrm>
                <a:off x="4622063" y="2381978"/>
                <a:ext cx="3600000" cy="18000"/>
              </a:xfrm>
              <a:prstGeom prst="line">
                <a:avLst/>
              </a:prstGeom>
              <a:ln w="19050" cap="flat"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MIO_AGENDA_ELEMENT_DECORATOR_3">
                <a:extLst>
                  <a:ext uri="{FF2B5EF4-FFF2-40B4-BE49-F238E27FC236}">
                    <a16:creationId xmlns:a16="http://schemas.microsoft.com/office/drawing/2014/main" id="{D4D07DFA-D7BB-B0B5-028E-5BCBCBC8B691}"/>
                  </a:ext>
                </a:extLst>
              </p:cNvPr>
              <p:cNvCxnSpPr>
                <a:cxnSpLocks/>
              </p:cNvCxnSpPr>
              <p:nvPr/>
            </p:nvCxnSpPr>
            <p:spPr>
              <a:xfrm>
                <a:off x="4622063" y="1494586"/>
                <a:ext cx="3600000" cy="18000"/>
              </a:xfrm>
              <a:prstGeom prst="line">
                <a:avLst/>
              </a:prstGeom>
              <a:ln w="19050" cap="flat" cmpd="sng" algn="ctr">
                <a:no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 name="MIO_AGENDA_ELEMENT_DECORATOR_2">
              <a:extLst>
                <a:ext uri="{FF2B5EF4-FFF2-40B4-BE49-F238E27FC236}">
                  <a16:creationId xmlns:a16="http://schemas.microsoft.com/office/drawing/2014/main" id="{2BD8C7B9-9268-C1D5-9F76-D34FBD7314A6}"/>
                </a:ext>
              </a:extLst>
            </p:cNvPr>
            <p:cNvGrpSpPr>
              <a:grpSpLocks/>
            </p:cNvGrpSpPr>
            <p:nvPr>
              <p:custDataLst>
                <p:tags r:id="rId3"/>
              </p:custDataLst>
            </p:nvPr>
          </p:nvGrpSpPr>
          <p:grpSpPr>
            <a:xfrm>
              <a:off x="4622063" y="2633255"/>
              <a:ext cx="3600000" cy="877139"/>
              <a:chOff x="4622063" y="1494586"/>
              <a:chExt cx="3600000" cy="905392"/>
            </a:xfrm>
          </p:grpSpPr>
          <p:cxnSp>
            <p:nvCxnSpPr>
              <p:cNvPr id="50" name="MIO_AGENDA_ELEMENT_DECORATOR_2">
                <a:extLst>
                  <a:ext uri="{FF2B5EF4-FFF2-40B4-BE49-F238E27FC236}">
                    <a16:creationId xmlns:a16="http://schemas.microsoft.com/office/drawing/2014/main" id="{BEF369D8-EA0F-8447-F427-29540E9BFB33}"/>
                  </a:ext>
                </a:extLst>
              </p:cNvPr>
              <p:cNvCxnSpPr>
                <a:cxnSpLocks/>
              </p:cNvCxnSpPr>
              <p:nvPr/>
            </p:nvCxnSpPr>
            <p:spPr>
              <a:xfrm>
                <a:off x="4622063" y="2381978"/>
                <a:ext cx="3600000" cy="18000"/>
              </a:xfrm>
              <a:prstGeom prst="line">
                <a:avLst/>
              </a:prstGeom>
              <a:ln w="19050" cap="flat"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MIO_AGENDA_ELEMENT_DECORATOR_2">
                <a:extLst>
                  <a:ext uri="{FF2B5EF4-FFF2-40B4-BE49-F238E27FC236}">
                    <a16:creationId xmlns:a16="http://schemas.microsoft.com/office/drawing/2014/main" id="{0AD07A1E-49A3-43F1-8133-FE6F0E88CB22}"/>
                  </a:ext>
                </a:extLst>
              </p:cNvPr>
              <p:cNvCxnSpPr>
                <a:cxnSpLocks/>
              </p:cNvCxnSpPr>
              <p:nvPr/>
            </p:nvCxnSpPr>
            <p:spPr>
              <a:xfrm>
                <a:off x="4622063" y="1494586"/>
                <a:ext cx="3600000" cy="18000"/>
              </a:xfrm>
              <a:prstGeom prst="line">
                <a:avLst/>
              </a:prstGeom>
              <a:ln w="19050" cap="flat" cmpd="sng" algn="ctr">
                <a:no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1">
              <a:extLst>
                <a:ext uri="{FF2B5EF4-FFF2-40B4-BE49-F238E27FC236}">
                  <a16:creationId xmlns:a16="http://schemas.microsoft.com/office/drawing/2014/main" id="{1D8EACF2-695A-8AC1-249D-742D87301938}"/>
                </a:ext>
              </a:extLst>
            </p:cNvPr>
            <p:cNvGrpSpPr>
              <a:grpSpLocks/>
            </p:cNvGrpSpPr>
            <p:nvPr>
              <p:custDataLst>
                <p:tags r:id="rId4"/>
              </p:custDataLst>
            </p:nvPr>
          </p:nvGrpSpPr>
          <p:grpSpPr>
            <a:xfrm>
              <a:off x="4622063" y="1494586"/>
              <a:ext cx="3600000" cy="877139"/>
              <a:chOff x="4622063" y="1494586"/>
              <a:chExt cx="3600000" cy="905392"/>
            </a:xfrm>
          </p:grpSpPr>
          <p:cxnSp>
            <p:nvCxnSpPr>
              <p:cNvPr id="48" name="MIO_AGENDA_ELEMENT_DECORATOR_1">
                <a:extLst>
                  <a:ext uri="{FF2B5EF4-FFF2-40B4-BE49-F238E27FC236}">
                    <a16:creationId xmlns:a16="http://schemas.microsoft.com/office/drawing/2014/main" id="{4D5A0208-D456-99C1-15D8-F341179488E7}"/>
                  </a:ext>
                </a:extLst>
              </p:cNvPr>
              <p:cNvCxnSpPr>
                <a:cxnSpLocks/>
              </p:cNvCxnSpPr>
              <p:nvPr/>
            </p:nvCxnSpPr>
            <p:spPr>
              <a:xfrm>
                <a:off x="4622063" y="2381978"/>
                <a:ext cx="3600000" cy="18000"/>
              </a:xfrm>
              <a:prstGeom prst="line">
                <a:avLst/>
              </a:prstGeom>
              <a:ln w="19050" cap="flat"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MIO_AGENDA_ELEMENT_DECORATOR_1">
                <a:extLst>
                  <a:ext uri="{FF2B5EF4-FFF2-40B4-BE49-F238E27FC236}">
                    <a16:creationId xmlns:a16="http://schemas.microsoft.com/office/drawing/2014/main" id="{EF9EDDEB-5A85-A5BA-01A6-E0AC385171B8}"/>
                  </a:ext>
                </a:extLst>
              </p:cNvPr>
              <p:cNvCxnSpPr>
                <a:cxnSpLocks/>
              </p:cNvCxnSpPr>
              <p:nvPr/>
            </p:nvCxnSpPr>
            <p:spPr>
              <a:xfrm>
                <a:off x="4622063" y="1494586"/>
                <a:ext cx="3600000" cy="18000"/>
              </a:xfrm>
              <a:prstGeom prst="line">
                <a:avLst/>
              </a:prstGeom>
              <a:ln w="19050" cap="flat" cmpd="sng" algn="ctr">
                <a:no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2" name="MIO_AGENDA_ELEMENT_TITEL_1">
              <a:hlinkClick r:id="rId13" action="ppaction://hlinksldjump"/>
              <a:extLst>
                <a:ext uri="{FF2B5EF4-FFF2-40B4-BE49-F238E27FC236}">
                  <a16:creationId xmlns:a16="http://schemas.microsoft.com/office/drawing/2014/main" id="{46FDD260-2C51-52BC-3CAC-F2D85175EAAF}"/>
                </a:ext>
              </a:extLst>
            </p:cNvPr>
            <p:cNvSpPr>
              <a:spLocks/>
            </p:cNvSpPr>
            <p:nvPr>
              <p:custDataLst>
                <p:tags r:id="rId5"/>
              </p:custDataLst>
            </p:nvPr>
          </p:nvSpPr>
          <p:spPr>
            <a:xfrm>
              <a:off x="4622063" y="1494586"/>
              <a:ext cx="3600000" cy="859701"/>
            </a:xfrm>
            <a:prstGeom prst="rect">
              <a:avLst/>
            </a:prstGeom>
          </p:spPr>
          <p:txBody>
            <a:bodyPr vert="horz" lIns="0" tIns="21600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600"/>
                </a:spcAft>
              </a:pPr>
              <a:r>
                <a:rPr lang="de-DE" dirty="0">
                  <a:solidFill>
                    <a:schemeClr val="tx1"/>
                  </a:solidFill>
                  <a:cs typeface="Arial" panose="020B0604020202020204" pitchFamily="34" charset="0"/>
                </a:rPr>
                <a:t>Vorstellung </a:t>
              </a:r>
              <a:r>
                <a:rPr lang="de-DE" dirty="0" err="1">
                  <a:solidFill>
                    <a:schemeClr val="tx1"/>
                  </a:solidFill>
                  <a:cs typeface="Arial" panose="020B0604020202020204" pitchFamily="34" charset="0"/>
                </a:rPr>
                <a:t>Predictive</a:t>
              </a:r>
              <a:r>
                <a:rPr lang="de-DE" dirty="0">
                  <a:solidFill>
                    <a:schemeClr val="tx1"/>
                  </a:solidFill>
                  <a:cs typeface="Arial" panose="020B0604020202020204" pitchFamily="34" charset="0"/>
                </a:rPr>
                <a:t> Service Center</a:t>
              </a:r>
            </a:p>
            <a:p>
              <a:pPr>
                <a:spcBef>
                  <a:spcPts val="600"/>
                </a:spcBef>
                <a:spcAft>
                  <a:spcPts val="600"/>
                </a:spcAft>
              </a:pPr>
              <a:r>
                <a:rPr lang="de-DE" dirty="0">
                  <a:solidFill>
                    <a:schemeClr val="tx1"/>
                  </a:solidFill>
                  <a:cs typeface="Arial" panose="020B0604020202020204" pitchFamily="34" charset="0"/>
                </a:rPr>
                <a:t> </a:t>
              </a:r>
            </a:p>
          </p:txBody>
        </p:sp>
        <p:sp>
          <p:nvSpPr>
            <p:cNvPr id="43" name="MIO_AGENDA_ELEMENT_ELEMENTNUMBER_1">
              <a:hlinkClick r:id="rId13" action="ppaction://hlinksldjump"/>
              <a:extLst>
                <a:ext uri="{FF2B5EF4-FFF2-40B4-BE49-F238E27FC236}">
                  <a16:creationId xmlns:a16="http://schemas.microsoft.com/office/drawing/2014/main" id="{25D58BED-BFC0-E563-2DF2-E3B8A752BE02}"/>
                </a:ext>
              </a:extLst>
            </p:cNvPr>
            <p:cNvSpPr>
              <a:spLocks/>
            </p:cNvSpPr>
            <p:nvPr>
              <p:custDataLst>
                <p:tags r:id="rId6"/>
              </p:custDataLst>
            </p:nvPr>
          </p:nvSpPr>
          <p:spPr>
            <a:xfrm>
              <a:off x="3931143" y="1494586"/>
              <a:ext cx="455253" cy="877139"/>
            </a:xfrm>
            <a:prstGeom prst="rect">
              <a:avLst/>
            </a:prstGeom>
            <a:noFill/>
          </p:spPr>
          <p:txBody>
            <a:bodyPr vert="horz" wrap="none" lIns="0" tIns="12600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spcAft>
                  <a:spcPts val="600"/>
                </a:spcAft>
              </a:pPr>
              <a:r>
                <a:rPr lang="de-DE" sz="3200" b="1" dirty="0">
                  <a:solidFill>
                    <a:schemeClr val="tx2"/>
                  </a:solidFill>
                </a:rPr>
                <a:t>01</a:t>
              </a:r>
            </a:p>
          </p:txBody>
        </p:sp>
        <p:sp>
          <p:nvSpPr>
            <p:cNvPr id="44" name="MIO_AGENDA_ELEMENT_TITEL_2">
              <a:hlinkClick r:id="rId14" action="ppaction://hlinksldjump"/>
              <a:extLst>
                <a:ext uri="{FF2B5EF4-FFF2-40B4-BE49-F238E27FC236}">
                  <a16:creationId xmlns:a16="http://schemas.microsoft.com/office/drawing/2014/main" id="{C7B96223-CE53-5CB5-F8E2-90C4869F2E2C}"/>
                </a:ext>
              </a:extLst>
            </p:cNvPr>
            <p:cNvSpPr>
              <a:spLocks/>
            </p:cNvSpPr>
            <p:nvPr>
              <p:custDataLst>
                <p:tags r:id="rId7"/>
              </p:custDataLst>
            </p:nvPr>
          </p:nvSpPr>
          <p:spPr>
            <a:xfrm>
              <a:off x="4622063" y="2633255"/>
              <a:ext cx="3600000" cy="859701"/>
            </a:xfrm>
            <a:prstGeom prst="rect">
              <a:avLst/>
            </a:prstGeom>
          </p:spPr>
          <p:txBody>
            <a:bodyPr vert="horz" lIns="0" tIns="21600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600"/>
                </a:spcAft>
              </a:pPr>
              <a:r>
                <a:rPr lang="de-DE" dirty="0" err="1">
                  <a:solidFill>
                    <a:schemeClr val="tx1"/>
                  </a:solidFill>
                  <a:cs typeface="Arial" panose="020B0604020202020204" pitchFamily="34" charset="0"/>
                </a:rPr>
                <a:t>Condition</a:t>
              </a:r>
              <a:r>
                <a:rPr lang="de-DE" dirty="0">
                  <a:solidFill>
                    <a:schemeClr val="tx1"/>
                  </a:solidFill>
                  <a:cs typeface="Arial" panose="020B0604020202020204" pitchFamily="34" charset="0"/>
                </a:rPr>
                <a:t> Monitoring – Wie es funktioniert</a:t>
              </a:r>
            </a:p>
            <a:p>
              <a:pPr>
                <a:spcBef>
                  <a:spcPts val="600"/>
                </a:spcBef>
                <a:spcAft>
                  <a:spcPts val="600"/>
                </a:spcAft>
              </a:pPr>
              <a:endParaRPr lang="de-DE" dirty="0">
                <a:solidFill>
                  <a:schemeClr val="tx1"/>
                </a:solidFill>
                <a:cs typeface="Arial" panose="020B0604020202020204" pitchFamily="34" charset="0"/>
              </a:endParaRPr>
            </a:p>
          </p:txBody>
        </p:sp>
        <p:sp>
          <p:nvSpPr>
            <p:cNvPr id="45" name="MIO_AGENDA_ELEMENT_ELEMENTNUMBER_2">
              <a:hlinkClick r:id="rId14" action="ppaction://hlinksldjump"/>
              <a:extLst>
                <a:ext uri="{FF2B5EF4-FFF2-40B4-BE49-F238E27FC236}">
                  <a16:creationId xmlns:a16="http://schemas.microsoft.com/office/drawing/2014/main" id="{AD97B49A-6917-48A5-83C8-85281C5FEF5C}"/>
                </a:ext>
              </a:extLst>
            </p:cNvPr>
            <p:cNvSpPr>
              <a:spLocks/>
            </p:cNvSpPr>
            <p:nvPr>
              <p:custDataLst>
                <p:tags r:id="rId8"/>
              </p:custDataLst>
            </p:nvPr>
          </p:nvSpPr>
          <p:spPr>
            <a:xfrm>
              <a:off x="3931143" y="2633255"/>
              <a:ext cx="455253" cy="877139"/>
            </a:xfrm>
            <a:prstGeom prst="rect">
              <a:avLst/>
            </a:prstGeom>
            <a:noFill/>
          </p:spPr>
          <p:txBody>
            <a:bodyPr vert="horz" wrap="none" lIns="0" tIns="12600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spcAft>
                  <a:spcPts val="600"/>
                </a:spcAft>
              </a:pPr>
              <a:r>
                <a:rPr lang="de-DE" sz="3200" b="1" dirty="0">
                  <a:solidFill>
                    <a:schemeClr val="tx2"/>
                  </a:solidFill>
                </a:rPr>
                <a:t>02</a:t>
              </a:r>
            </a:p>
          </p:txBody>
        </p:sp>
        <p:sp>
          <p:nvSpPr>
            <p:cNvPr id="46" name="MIO_AGENDA_ELEMENT_TITEL_3">
              <a:hlinkClick r:id="rId15" action="ppaction://hlinksldjump"/>
              <a:extLst>
                <a:ext uri="{FF2B5EF4-FFF2-40B4-BE49-F238E27FC236}">
                  <a16:creationId xmlns:a16="http://schemas.microsoft.com/office/drawing/2014/main" id="{147E05CB-B8B7-4A7A-86DA-5C05915578E3}"/>
                </a:ext>
              </a:extLst>
            </p:cNvPr>
            <p:cNvSpPr>
              <a:spLocks/>
            </p:cNvSpPr>
            <p:nvPr>
              <p:custDataLst>
                <p:tags r:id="rId9"/>
              </p:custDataLst>
            </p:nvPr>
          </p:nvSpPr>
          <p:spPr>
            <a:xfrm>
              <a:off x="4622063" y="3771924"/>
              <a:ext cx="3600000" cy="859701"/>
            </a:xfrm>
            <a:prstGeom prst="rect">
              <a:avLst/>
            </a:prstGeom>
          </p:spPr>
          <p:txBody>
            <a:bodyPr vert="horz" lIns="0" tIns="21600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600"/>
                </a:spcAft>
              </a:pPr>
              <a:r>
                <a:rPr lang="de-DE" dirty="0">
                  <a:solidFill>
                    <a:schemeClr val="tx1"/>
                  </a:solidFill>
                  <a:cs typeface="Arial" panose="020B0604020202020204" pitchFamily="34" charset="0"/>
                </a:rPr>
                <a:t>Beispiele </a:t>
              </a:r>
              <a:r>
                <a:rPr lang="de-DE" dirty="0" err="1">
                  <a:solidFill>
                    <a:schemeClr val="tx1"/>
                  </a:solidFill>
                  <a:cs typeface="Arial" panose="020B0604020202020204" pitchFamily="34" charset="0"/>
                </a:rPr>
                <a:t>Condition</a:t>
              </a:r>
              <a:r>
                <a:rPr lang="de-DE" dirty="0">
                  <a:solidFill>
                    <a:schemeClr val="tx1"/>
                  </a:solidFill>
                  <a:cs typeface="Arial" panose="020B0604020202020204" pitchFamily="34" charset="0"/>
                </a:rPr>
                <a:t> Monitoring</a:t>
              </a:r>
            </a:p>
          </p:txBody>
        </p:sp>
        <p:sp>
          <p:nvSpPr>
            <p:cNvPr id="47" name="MIO_AGENDA_ELEMENT_ELEMENTNUMBER_3">
              <a:hlinkClick r:id="rId15" action="ppaction://hlinksldjump"/>
              <a:extLst>
                <a:ext uri="{FF2B5EF4-FFF2-40B4-BE49-F238E27FC236}">
                  <a16:creationId xmlns:a16="http://schemas.microsoft.com/office/drawing/2014/main" id="{7C03BBB9-66E2-A25C-FE61-CDF5CF6CA4E0}"/>
                </a:ext>
              </a:extLst>
            </p:cNvPr>
            <p:cNvSpPr>
              <a:spLocks/>
            </p:cNvSpPr>
            <p:nvPr>
              <p:custDataLst>
                <p:tags r:id="rId10"/>
              </p:custDataLst>
            </p:nvPr>
          </p:nvSpPr>
          <p:spPr>
            <a:xfrm>
              <a:off x="3931143" y="3771924"/>
              <a:ext cx="455253" cy="877139"/>
            </a:xfrm>
            <a:prstGeom prst="rect">
              <a:avLst/>
            </a:prstGeom>
            <a:noFill/>
          </p:spPr>
          <p:txBody>
            <a:bodyPr vert="horz" wrap="none" lIns="0" tIns="126000" rIns="0" bIns="0" rtlCol="0" anchor="t">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600"/>
                </a:spcBef>
                <a:spcAft>
                  <a:spcPts val="600"/>
                </a:spcAft>
              </a:pPr>
              <a:r>
                <a:rPr lang="de-DE" sz="3200" b="1" dirty="0">
                  <a:solidFill>
                    <a:schemeClr val="tx2"/>
                  </a:solidFill>
                </a:rPr>
                <a:t>03</a:t>
              </a:r>
            </a:p>
          </p:txBody>
        </p:sp>
      </p:grpSp>
      <p:sp>
        <p:nvSpPr>
          <p:cNvPr id="55" name="Datumsplatzhalter 54">
            <a:extLst>
              <a:ext uri="{FF2B5EF4-FFF2-40B4-BE49-F238E27FC236}">
                <a16:creationId xmlns:a16="http://schemas.microsoft.com/office/drawing/2014/main" id="{834ED672-3BD6-0C35-3328-94B677B07D8D}"/>
              </a:ext>
            </a:extLst>
          </p:cNvPr>
          <p:cNvSpPr>
            <a:spLocks noGrp="1"/>
          </p:cNvSpPr>
          <p:nvPr>
            <p:ph type="dt" sz="half" idx="2"/>
          </p:nvPr>
        </p:nvSpPr>
        <p:spPr/>
        <p:txBody>
          <a:bodyPr/>
          <a:lstStyle/>
          <a:p>
            <a:fld id="{27C0C552-54B7-4F0D-B901-96BCDB04340B}" type="datetime1">
              <a:rPr lang="de-DE" smtClean="0"/>
              <a:pPr/>
              <a:t>20.04.2023</a:t>
            </a:fld>
            <a:endParaRPr lang="de-DE" dirty="0"/>
          </a:p>
        </p:txBody>
      </p:sp>
    </p:spTree>
    <p:extLst>
      <p:ext uri="{BB962C8B-B14F-4D97-AF65-F5344CB8AC3E}">
        <p14:creationId xmlns:p14="http://schemas.microsoft.com/office/powerpoint/2010/main" val="1812798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IO_CHANGETRACKING" val="true"/>
  <p:tag name="MIO_PRESENTATION_LANGUAGE" val="10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MIO_GUID" val="517ba038-093a-4003-8103-c2c49f313e9f"/>
  <p:tag name="MIO_EKGUID" val="567239fd-5ca3-4cb8-8867-588870f59777"/>
  <p:tag name="MIO_UPDATE" val="True"/>
  <p:tag name="MIO_VERSION" val="27.03.2019 12:36:27"/>
  <p:tag name="MIO_DBID" val="8236CE71-3243-41A3-904F-7EA9E80C736A"/>
  <p:tag name="MIO_LASTDOWNLOADED" val="03.05.2022 12:06:36.734"/>
  <p:tag name="MIO_OBJECTNAME" val="Hauptpforte"/>
  <p:tag name="MIO_LASTEDITORNAME" val="empower Branding"/>
</p:tagLst>
</file>

<file path=ppt/tags/tag26.xml><?xml version="1.0" encoding="utf-8"?>
<p:tagLst xmlns:a="http://schemas.openxmlformats.org/drawingml/2006/main" xmlns:r="http://schemas.openxmlformats.org/officeDocument/2006/relationships" xmlns:p="http://schemas.openxmlformats.org/presentationml/2006/main">
  <p:tag name="MIO_GUID" val="517ba038-093a-4003-8103-c2c49f313e9f"/>
  <p:tag name="MIO_EKGUID" val="567239fd-5ca3-4cb8-8867-588870f59777"/>
  <p:tag name="MIO_UPDATE" val="True"/>
  <p:tag name="MIO_VERSION" val="27.03.2019 12:36:27"/>
  <p:tag name="MIO_DBID" val="8236CE71-3243-41A3-904F-7EA9E80C736A"/>
  <p:tag name="MIO_LASTDOWNLOADED" val="03.05.2022 12:06:36.734"/>
  <p:tag name="MIO_OBJECTNAME" val="Hauptpforte"/>
  <p:tag name="MIO_LASTEDITORNAME" val="empower Branding"/>
</p:tagLst>
</file>

<file path=ppt/tags/tag27.xml><?xml version="1.0" encoding="utf-8"?>
<p:tagLst xmlns:a="http://schemas.openxmlformats.org/drawingml/2006/main" xmlns:r="http://schemas.openxmlformats.org/officeDocument/2006/relationships" xmlns:p="http://schemas.openxmlformats.org/presentationml/2006/main">
  <p:tag name="MIO_EKGUID" val="e009603a-cd96-4eb2-842d-b236f106e243"/>
  <p:tag name="MIO_GUID" val="6753ef92-76f0-415c-9dbf-7001bd7e9401"/>
  <p:tag name="MIO_UPDATE" val="True"/>
  <p:tag name="MIO_VERSION" val="24.11.2022 16:04:44"/>
  <p:tag name="MIO_DBID" val="8236CE71-3243-41A3-904F-7EA9E80C736A"/>
  <p:tag name="MIO_LASTDOWNLOADED" val="18.04.2023 14:10:30.874"/>
  <p:tag name="MIO_OBJECTNAME" val="Technical Service"/>
  <p:tag name="MIO_LASTEDITORNAME" val="empower Branding"/>
</p:tagLst>
</file>

<file path=ppt/tags/tag28.xml><?xml version="1.0" encoding="utf-8"?>
<p:tagLst xmlns:a="http://schemas.openxmlformats.org/drawingml/2006/main" xmlns:r="http://schemas.openxmlformats.org/officeDocument/2006/relationships" xmlns:p="http://schemas.openxmlformats.org/presentationml/2006/main">
  <p:tag name="TABLEFIRSTUPDATERUN" val="1"/>
  <p:tag name="LANGUAGE" val="de"/>
</p:tagLst>
</file>

<file path=ppt/tags/tag29.xml><?xml version="1.0" encoding="utf-8"?>
<p:tagLst xmlns:a="http://schemas.openxmlformats.org/drawingml/2006/main" xmlns:r="http://schemas.openxmlformats.org/officeDocument/2006/relationships" xmlns:p="http://schemas.openxmlformats.org/presentationml/2006/main">
  <p:tag name="TABLEFIRSTUPDATERUN" val="1"/>
  <p:tag name="LANGUAGE" val="de"/>
</p:tagLst>
</file>

<file path=ppt/tags/tag3.xml><?xml version="1.0" encoding="utf-8"?>
<p:tagLst xmlns:a="http://schemas.openxmlformats.org/drawingml/2006/main" xmlns:r="http://schemas.openxmlformats.org/officeDocument/2006/relationships" xmlns:p="http://schemas.openxmlformats.org/presentationml/2006/main">
  <p:tag name="MIO_PRESI_FIRST_SLIDENUMBER" val="1"/>
  <p:tag name="MIO_SHOW_DATE" val="True"/>
  <p:tag name="MIO_SHOW_FOOTER" val="True"/>
  <p:tag name="MIO_SHOW_PAGENUMBER" val="True"/>
  <p:tag name="MIO_AVOID_BLANK_LAYOUT" val="True"/>
  <p:tag name="MIO_CD_LAYOUT_VALID_AREA" val="False"/>
  <p:tag name="MIO_EMBED_FONT" val="False"/>
  <p:tag name="MIO_MATCH_COLOR_SCHEME" val="False"/>
  <p:tag name="MIO_HDS" val="True"/>
  <p:tag name="MIO_SKIPVERSION" val="01.01.0001 00:00:00"/>
  <p:tag name="MIO_UPDATE" val="True"/>
  <p:tag name="MIO_DBID" val="8236CE71-3243-41A3-904F-7EA9E80C736A"/>
  <p:tag name="MIO_LASTEDITORNAME" val="Katharina Kampen"/>
  <p:tag name="MIO_FALLBACK_LAYOUT" val="6"/>
  <p:tag name="MIO_NUMBER_OF_VALID_LAYOUTS" val="27"/>
  <p:tag name="MIO_EKGUID" val="aa0866db-8b1e-4441-9074-4271c62d3953"/>
  <p:tag name="MIO_VERSION" val="06.12.2022 13:56:25"/>
  <p:tag name="MIO_OBJECTNAME" val="TRUMPF Signet - 100 years DE | EN"/>
  <p:tag name="MIO_LASTDOWNLOADED" val="18.04.2023 14:09:10.766"/>
  <p:tag name="MIO_CDID" val="d30371fb-bd2b-4816-a0ce-bd6a1479ab6b"/>
</p:tagLst>
</file>

<file path=ppt/tags/tag30.xml><?xml version="1.0" encoding="utf-8"?>
<p:tagLst xmlns:a="http://schemas.openxmlformats.org/drawingml/2006/main" xmlns:r="http://schemas.openxmlformats.org/officeDocument/2006/relationships" xmlns:p="http://schemas.openxmlformats.org/presentationml/2006/main">
  <p:tag name="MIO_AGENDA_ELEMENTNAME" val="MIO_AGENDA_OVERVIEW_SLIDE"/>
  <p:tag name="MIO_AGENDA_SCALEMODE_FIT_TO_SLIDE_TAG" val="True"/>
  <p:tag name="MIO_EKGUID" val="56ab73ab-3ae1-464c-b691-54f37c31dca7"/>
  <p:tag name="MIO_GUID" val="596cace0-f009-4c22-8648-4c0495874702"/>
  <p:tag name="MIO_VERSION" val="31.12.9999 23:59:59"/>
  <p:tag name="MIO_DBID" val="8236CE71-3243-41A3-904F-7EA9E80C736A"/>
  <p:tag name="MIO_LASTDOWNLOADED" val="21.02.2023 16:44:18.850"/>
  <p:tag name="MIO_UPDATE" val="False"/>
</p:tagLst>
</file>

<file path=ppt/tags/tag3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IO_EKGUID" val="ab578608-cb1c-4ff1-9c36-ee66de33e00e"/>
  <p:tag name="MIO_GUID" val="83924d79-418e-4cef-ab76-d530836748d8"/>
  <p:tag name="MIO_UPDATE" val="True"/>
  <p:tag name="MIO_VERSION" val="24.11.2022 16:04:31"/>
  <p:tag name="MIO_DBID" val="8236CE71-3243-41A3-904F-7EA9E80C736A"/>
  <p:tag name="MIO_LASTDOWNLOADED" val="18.04.2023 17:11:15.095"/>
  <p:tag name="MIO_OBJECTNAME" val="Key Visual Services"/>
  <p:tag name="MIO_LASTEDITORNAME" val="empower Brandi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umpf PowerPoint 2019">
  <a:themeElements>
    <a:clrScheme name="Trumpf dezent">
      <a:dk1>
        <a:srgbClr val="333333"/>
      </a:dk1>
      <a:lt1>
        <a:srgbClr val="FFFFFF"/>
      </a:lt1>
      <a:dk2>
        <a:srgbClr val="285172"/>
      </a:dk2>
      <a:lt2>
        <a:srgbClr val="FFFFFF"/>
      </a:lt2>
      <a:accent1>
        <a:srgbClr val="575757"/>
      </a:accent1>
      <a:accent2>
        <a:srgbClr val="D0D0D0"/>
      </a:accent2>
      <a:accent3>
        <a:srgbClr val="285172"/>
      </a:accent3>
      <a:accent4>
        <a:srgbClr val="8094AF"/>
      </a:accent4>
      <a:accent5>
        <a:srgbClr val="BBD03A"/>
      </a:accent5>
      <a:accent6>
        <a:srgbClr val="6C955E"/>
      </a:accent6>
      <a:hlink>
        <a:srgbClr val="204461"/>
      </a:hlink>
      <a:folHlink>
        <a:srgbClr val="638EBD"/>
      </a:folHlink>
    </a:clrScheme>
    <a:fontScheme name="Benutzerdefiniert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extLst>
    <a:ext uri="{05A4C25C-085E-4340-85A3-A5531E510DB2}">
      <thm15:themeFamily xmlns:thm15="http://schemas.microsoft.com/office/thememl/2012/main" name="Präsentation2" id="{D746A209-D3A0-42EF-988A-4829135B642B}" vid="{7DF3D1B1-4C56-472B-9565-3D7A511C20EB}"/>
    </a:ext>
  </a:extLst>
</a:theme>
</file>

<file path=ppt/theme/theme2.xml><?xml version="1.0" encoding="utf-8"?>
<a:theme xmlns:a="http://schemas.openxmlformats.org/drawingml/2006/main" name="Office">
  <a:themeElements>
    <a:clrScheme name="Trumpf">
      <a:dk1>
        <a:srgbClr val="333333"/>
      </a:dk1>
      <a:lt1>
        <a:srgbClr val="FFFFFF"/>
      </a:lt1>
      <a:dk2>
        <a:srgbClr val="204461"/>
      </a:dk2>
      <a:lt2>
        <a:srgbClr val="FFFFFF"/>
      </a:lt2>
      <a:accent1>
        <a:srgbClr val="707070"/>
      </a:accent1>
      <a:accent2>
        <a:srgbClr val="D0D0D0"/>
      </a:accent2>
      <a:accent3>
        <a:srgbClr val="204461"/>
      </a:accent3>
      <a:accent4>
        <a:srgbClr val="638EBD"/>
      </a:accent4>
      <a:accent5>
        <a:srgbClr val="93C11C"/>
      </a:accent5>
      <a:accent6>
        <a:srgbClr val="6C955E"/>
      </a:accent6>
      <a:hlink>
        <a:srgbClr val="204461"/>
      </a:hlink>
      <a:folHlink>
        <a:srgbClr val="638EBD"/>
      </a:folHlink>
    </a:clrScheme>
    <a:fontScheme name="Benutzerdefiniert 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Trumpf">
      <a:dk1>
        <a:srgbClr val="333333"/>
      </a:dk1>
      <a:lt1>
        <a:srgbClr val="FFFFFF"/>
      </a:lt1>
      <a:dk2>
        <a:srgbClr val="204461"/>
      </a:dk2>
      <a:lt2>
        <a:srgbClr val="FFFFFF"/>
      </a:lt2>
      <a:accent1>
        <a:srgbClr val="707070"/>
      </a:accent1>
      <a:accent2>
        <a:srgbClr val="D0D0D0"/>
      </a:accent2>
      <a:accent3>
        <a:srgbClr val="204461"/>
      </a:accent3>
      <a:accent4>
        <a:srgbClr val="638EBD"/>
      </a:accent4>
      <a:accent5>
        <a:srgbClr val="93C11C"/>
      </a:accent5>
      <a:accent6>
        <a:srgbClr val="6C955E"/>
      </a:accent6>
      <a:hlink>
        <a:srgbClr val="204461"/>
      </a:hlink>
      <a:folHlink>
        <a:srgbClr val="638EBD"/>
      </a:folHlink>
    </a:clrScheme>
    <a:fontScheme name="Benutzerdefiniert 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pplication xmlns="http://www.sap.com/cof/ao/powerpoint/application">
  <com.sap.ip.bi.pioneer>
    <Version>4</Version>
    <AAO_Revision>2.4.3.69601</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2.xml><?xml version="1.0" encoding="utf-8"?>
<Application xmlns="http://www.sap.com/cof/powerpoint/application">
  <Version>2</Version>
  <Revision>2.4.3.69601</Revision>
</Application>
</file>

<file path=customXml/item3.xml><?xml version="1.0" encoding="utf-8"?>
<ct:contentTypeSchema xmlns:ct="http://schemas.microsoft.com/office/2006/metadata/contentType" xmlns:ma="http://schemas.microsoft.com/office/2006/metadata/properties/metaAttributes" ct:_="" ma:_="" ma:contentTypeName="Dokument" ma:contentTypeID="0x01010075DC99EB5B522442BFB271BE36A4F819" ma:contentTypeVersion="17" ma:contentTypeDescription="Ein neues Dokument erstellen." ma:contentTypeScope="" ma:versionID="a70fb71c8d03ff12ade853dbdbf2954b">
  <xsd:schema xmlns:xsd="http://www.w3.org/2001/XMLSchema" xmlns:xs="http://www.w3.org/2001/XMLSchema" xmlns:p="http://schemas.microsoft.com/office/2006/metadata/properties" xmlns:ns2="46a56ff4-038c-43a1-8198-66df79d5b4f2" xmlns:ns3="acc70353-449a-458c-af38-81fd801b6559" targetNamespace="http://schemas.microsoft.com/office/2006/metadata/properties" ma:root="true" ma:fieldsID="3065265883915d1102bea8f7b0131355" ns2:_="" ns3:_="">
    <xsd:import namespace="46a56ff4-038c-43a1-8198-66df79d5b4f2"/>
    <xsd:import namespace="acc70353-449a-458c-af38-81fd801b655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Uhrzeit" minOccurs="0"/>
                <xsd:element ref="ns2:MediaServiceLocation" minOccurs="0"/>
                <xsd:element ref="ns2:lcf76f155ced4ddcb4097134ff3c332f" minOccurs="0"/>
                <xsd:element ref="ns3:TaxCatchAll"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a56ff4-038c-43a1-8198-66df79d5b4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Uhrzeit" ma:index="18" nillable="true" ma:displayName="Uhrzeit" ma:format="DateOnly" ma:internalName="Uhrzeit">
      <xsd:simpleType>
        <xsd:restriction base="dms:DateTime"/>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5e9485e2-df4f-4880-8a81-872be8114f56" ma:termSetId="09814cd3-568e-fe90-9814-8d621ff8fb84" ma:anchorId="fba54fb3-c3e1-fe81-a776-ca4b69148c4d" ma:open="true" ma:isKeyword="false">
      <xsd:complexType>
        <xsd:sequence>
          <xsd:element ref="pc:Terms" minOccurs="0" maxOccurs="1"/>
        </xsd:sequence>
      </xsd:complex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70353-449a-458c-af38-81fd801b6559"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232400c1-fff9-468c-bdef-2fcd72bfa8a4}" ma:internalName="TaxCatchAll" ma:showField="CatchAllData" ma:web="acc70353-449a-458c-af38-81fd801b65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TaxCatchAll xmlns="acc70353-449a-458c-af38-81fd801b6559" xsi:nil="true"/>
    <lcf76f155ced4ddcb4097134ff3c332f xmlns="46a56ff4-038c-43a1-8198-66df79d5b4f2">
      <Terms xmlns="http://schemas.microsoft.com/office/infopath/2007/PartnerControls"/>
    </lcf76f155ced4ddcb4097134ff3c332f>
    <Uhrzeit xmlns="46a56ff4-038c-43a1-8198-66df79d5b4f2" xsi:nil="true"/>
  </documentManagement>
</p:properties>
</file>

<file path=customXml/itemProps1.xml><?xml version="1.0" encoding="utf-8"?>
<ds:datastoreItem xmlns:ds="http://schemas.openxmlformats.org/officeDocument/2006/customXml" ds:itemID="{761070EE-AAA1-4C63-9DFB-49F7BD86EAC4}">
  <ds:schemaRefs>
    <ds:schemaRef ds:uri="http://www.sap.com/cof/ao/powerpoint/application"/>
  </ds:schemaRefs>
</ds:datastoreItem>
</file>

<file path=customXml/itemProps2.xml><?xml version="1.0" encoding="utf-8"?>
<ds:datastoreItem xmlns:ds="http://schemas.openxmlformats.org/officeDocument/2006/customXml" ds:itemID="{726DDA66-6193-4B28-962F-F3E573DA8D1D}">
  <ds:schemaRefs>
    <ds:schemaRef ds:uri="http://www.sap.com/cof/powerpoint/application"/>
  </ds:schemaRefs>
</ds:datastoreItem>
</file>

<file path=customXml/itemProps3.xml><?xml version="1.0" encoding="utf-8"?>
<ds:datastoreItem xmlns:ds="http://schemas.openxmlformats.org/officeDocument/2006/customXml" ds:itemID="{B3EA7B5A-56D6-421F-8251-16F08AC53166}"/>
</file>

<file path=customXml/itemProps4.xml><?xml version="1.0" encoding="utf-8"?>
<ds:datastoreItem xmlns:ds="http://schemas.openxmlformats.org/officeDocument/2006/customXml" ds:itemID="{A278F2FD-C49E-46D3-96B6-234D4A7151A0}"/>
</file>

<file path=customXml/itemProps5.xml><?xml version="1.0" encoding="utf-8"?>
<ds:datastoreItem xmlns:ds="http://schemas.openxmlformats.org/officeDocument/2006/customXml" ds:itemID="{F82EDCEB-DD3D-448D-8A2F-C8C643A884AC}"/>
</file>

<file path=docProps/app.xml><?xml version="1.0" encoding="utf-8"?>
<Properties xmlns="http://schemas.openxmlformats.org/officeDocument/2006/extended-properties" xmlns:vt="http://schemas.openxmlformats.org/officeDocument/2006/docPropsVTypes">
  <Template>1902_Trumpf-Master_Dada_v9_Neues-Raster</Template>
  <TotalTime>0</TotalTime>
  <Words>1310</Words>
  <Application>Microsoft Office PowerPoint</Application>
  <PresentationFormat>Breitbild</PresentationFormat>
  <Paragraphs>249</Paragraphs>
  <Slides>16</Slides>
  <Notes>16</Notes>
  <HiddenSlides>1</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2" baseType="lpstr">
      <vt:lpstr>-apple-system</vt:lpstr>
      <vt:lpstr>Arial</vt:lpstr>
      <vt:lpstr>Segoe UI</vt:lpstr>
      <vt:lpstr>Wingdings</vt:lpstr>
      <vt:lpstr>Trumpf PowerPoint 2019</vt:lpstr>
      <vt:lpstr>think-cell Folie</vt:lpstr>
      <vt:lpstr>Remote Support</vt:lpstr>
      <vt:lpstr>Wie ist der TRUMPF Service organisiert?</vt:lpstr>
      <vt:lpstr>Auf einen Blick</vt:lpstr>
      <vt:lpstr>Technischer Kundendienst Deutschland</vt:lpstr>
      <vt:lpstr>Technischer Kundendienst</vt:lpstr>
      <vt:lpstr>TRUMPF Service Struktur</vt:lpstr>
      <vt:lpstr>Remote Support  Live Erleben</vt:lpstr>
      <vt:lpstr>Predictive  Service Center</vt:lpstr>
      <vt:lpstr>Agenda</vt:lpstr>
      <vt:lpstr>Predictive Service Center     </vt:lpstr>
      <vt:lpstr>Condition Monitoring – Wie es funktioniert</vt:lpstr>
      <vt:lpstr>Condition Monitoring für TruLaser</vt:lpstr>
      <vt:lpstr>Beispiele – Proactive Call </vt:lpstr>
      <vt:lpstr>Condition Monitoring für TruMatic und TruPunch</vt:lpstr>
      <vt:lpstr>Condition Monitoring für TruBend</vt:lpstr>
      <vt:lpstr>Remote Sup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 in zwei Zeilen</dc:title>
  <dc:creator>Katharina Kampen</dc:creator>
  <cp:lastModifiedBy>Daikeler, Ralph</cp:lastModifiedBy>
  <cp:revision>82</cp:revision>
  <cp:lastPrinted>2019-01-11T14:04:50Z</cp:lastPrinted>
  <dcterms:created xsi:type="dcterms:W3CDTF">2019-04-11T08:14:40Z</dcterms:created>
  <dcterms:modified xsi:type="dcterms:W3CDTF">2023-04-20T19:1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DC99EB5B522442BFB271BE36A4F819</vt:lpwstr>
  </property>
</Properties>
</file>